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metadata" ContentType="application/binary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57" r:id="rId4"/>
    <p:sldId id="258" r:id="rId5"/>
    <p:sldId id="259" r:id="rId6"/>
    <p:sldId id="260" r:id="rId7"/>
    <p:sldId id="261" r:id="rId8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3"/>
  </p:normalViewPr>
  <p:slideViewPr>
    <p:cSldViewPr snapToGrid="0">
      <p:cViewPr varScale="1">
        <p:scale>
          <a:sx n="115" d="100"/>
          <a:sy n="115" d="100"/>
        </p:scale>
        <p:origin x="1528" y="19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customXml" Target="../customXml/item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9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Overview</a:t>
            </a:r>
            <a:r>
              <a:rPr lang="en-AU" b="1" baseline="0" dirty="0"/>
              <a:t> of Regression Model for Pump Type ABC [2014-2015]</a:t>
            </a:r>
            <a:endParaRPr lang="en-AU" b="1" dirty="0"/>
          </a:p>
        </c:rich>
      </c:tx>
      <c:layout>
        <c:manualLayout>
          <c:xMode val="edge"/>
          <c:yMode val="edge"/>
          <c:x val="0.38548866394062686"/>
          <c:y val="1.99524910763661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Q6&amp;Q7'!$A$3</c:f>
              <c:strCache>
                <c:ptCount val="1"/>
                <c:pt idx="0">
                  <c:v>SURJEK_FLOW_METER_1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Q6&amp;Q7'!$A$4:$A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-0.52734380000000003</c:v>
                </c:pt>
                <c:pt idx="414">
                  <c:v>-0.52554822999999995</c:v>
                </c:pt>
                <c:pt idx="415">
                  <c:v>-0.52272894599999997</c:v>
                </c:pt>
                <c:pt idx="416">
                  <c:v>-0.52143735099999999</c:v>
                </c:pt>
                <c:pt idx="417">
                  <c:v>-0.52119138799999998</c:v>
                </c:pt>
                <c:pt idx="418">
                  <c:v>-0.51350128900000003</c:v>
                </c:pt>
                <c:pt idx="419">
                  <c:v>-0.50785669600000005</c:v>
                </c:pt>
                <c:pt idx="420">
                  <c:v>-0.50597909600000002</c:v>
                </c:pt>
                <c:pt idx="421">
                  <c:v>-0.50171018000000001</c:v>
                </c:pt>
                <c:pt idx="422">
                  <c:v>-0.50144819500000004</c:v>
                </c:pt>
                <c:pt idx="423">
                  <c:v>-0.50042653100000001</c:v>
                </c:pt>
                <c:pt idx="424">
                  <c:v>-0.49914480500000002</c:v>
                </c:pt>
                <c:pt idx="425">
                  <c:v>-0.49606956099999999</c:v>
                </c:pt>
                <c:pt idx="426">
                  <c:v>-0.49555776699999998</c:v>
                </c:pt>
                <c:pt idx="427">
                  <c:v>-0.49222451099999998</c:v>
                </c:pt>
                <c:pt idx="428">
                  <c:v>-0.48965721400000001</c:v>
                </c:pt>
                <c:pt idx="429">
                  <c:v>-0.48760773499999999</c:v>
                </c:pt>
                <c:pt idx="430">
                  <c:v>-0.48709786399999999</c:v>
                </c:pt>
                <c:pt idx="431">
                  <c:v>-0.478126039</c:v>
                </c:pt>
                <c:pt idx="432">
                  <c:v>-0.47581854800000001</c:v>
                </c:pt>
                <c:pt idx="433">
                  <c:v>-0.474792783</c:v>
                </c:pt>
                <c:pt idx="434">
                  <c:v>-0.473255225</c:v>
                </c:pt>
                <c:pt idx="435">
                  <c:v>-0.47273933000000001</c:v>
                </c:pt>
                <c:pt idx="436">
                  <c:v>-0.47146170599999998</c:v>
                </c:pt>
                <c:pt idx="437">
                  <c:v>-0.46863832</c:v>
                </c:pt>
                <c:pt idx="438">
                  <c:v>-0.46735864500000002</c:v>
                </c:pt>
                <c:pt idx="439">
                  <c:v>-0.46428340000000001</c:v>
                </c:pt>
                <c:pt idx="440">
                  <c:v>-0.46274584099999999</c:v>
                </c:pt>
                <c:pt idx="441">
                  <c:v>-0.46197206400000002</c:v>
                </c:pt>
                <c:pt idx="442">
                  <c:v>-0.46017841599999998</c:v>
                </c:pt>
                <c:pt idx="443">
                  <c:v>-0.45992450600000001</c:v>
                </c:pt>
                <c:pt idx="444">
                  <c:v>-0.45940861199999999</c:v>
                </c:pt>
                <c:pt idx="445">
                  <c:v>-0.45223440799999998</c:v>
                </c:pt>
                <c:pt idx="446">
                  <c:v>-0.45172261400000002</c:v>
                </c:pt>
                <c:pt idx="447">
                  <c:v>-0.451210693</c:v>
                </c:pt>
                <c:pt idx="448">
                  <c:v>-0.44992896700000001</c:v>
                </c:pt>
                <c:pt idx="449">
                  <c:v>-0.448903202</c:v>
                </c:pt>
                <c:pt idx="450">
                  <c:v>-0.44864736999999999</c:v>
                </c:pt>
                <c:pt idx="451">
                  <c:v>-0.44838935800000002</c:v>
                </c:pt>
                <c:pt idx="452">
                  <c:v>-0.44557007399999998</c:v>
                </c:pt>
                <c:pt idx="453">
                  <c:v>-0.44480231999999997</c:v>
                </c:pt>
                <c:pt idx="454">
                  <c:v>-0.44018746600000003</c:v>
                </c:pt>
                <c:pt idx="455">
                  <c:v>-0.43890573999999999</c:v>
                </c:pt>
                <c:pt idx="456">
                  <c:v>-0.43608645600000001</c:v>
                </c:pt>
                <c:pt idx="457">
                  <c:v>-0.43583049499999998</c:v>
                </c:pt>
                <c:pt idx="458">
                  <c:v>-0.425319061</c:v>
                </c:pt>
                <c:pt idx="459">
                  <c:v>-0.425063101</c:v>
                </c:pt>
                <c:pt idx="460">
                  <c:v>-0.42480726800000002</c:v>
                </c:pt>
                <c:pt idx="461">
                  <c:v>-0.422751765</c:v>
                </c:pt>
                <c:pt idx="462">
                  <c:v>-0.42224381700000002</c:v>
                </c:pt>
                <c:pt idx="463">
                  <c:v>-0.41967652</c:v>
                </c:pt>
                <c:pt idx="464">
                  <c:v>-0.41942453200000002</c:v>
                </c:pt>
                <c:pt idx="465">
                  <c:v>-0.41788492300000002</c:v>
                </c:pt>
                <c:pt idx="466">
                  <c:v>-0.416091404</c:v>
                </c:pt>
                <c:pt idx="467">
                  <c:v>-0.41455371800000002</c:v>
                </c:pt>
                <c:pt idx="468">
                  <c:v>-0.41352795199999998</c:v>
                </c:pt>
                <c:pt idx="469">
                  <c:v>-0.41301615899999999</c:v>
                </c:pt>
                <c:pt idx="470">
                  <c:v>-0.41249821399999997</c:v>
                </c:pt>
                <c:pt idx="471">
                  <c:v>-0.40686361900000001</c:v>
                </c:pt>
                <c:pt idx="472">
                  <c:v>-0.406605736</c:v>
                </c:pt>
                <c:pt idx="473">
                  <c:v>-0.40327453000000002</c:v>
                </c:pt>
                <c:pt idx="474">
                  <c:v>-0.40250472500000001</c:v>
                </c:pt>
                <c:pt idx="475">
                  <c:v>-0.39096560400000002</c:v>
                </c:pt>
                <c:pt idx="476">
                  <c:v>-0.389943812</c:v>
                </c:pt>
                <c:pt idx="477">
                  <c:v>-0.38892009700000002</c:v>
                </c:pt>
                <c:pt idx="478">
                  <c:v>-0.38865619000000001</c:v>
                </c:pt>
                <c:pt idx="479">
                  <c:v>-0.380972115</c:v>
                </c:pt>
                <c:pt idx="480">
                  <c:v>-0.37866667500000001</c:v>
                </c:pt>
                <c:pt idx="481">
                  <c:v>-0.37430765300000002</c:v>
                </c:pt>
                <c:pt idx="482">
                  <c:v>-0.37148247299999998</c:v>
                </c:pt>
                <c:pt idx="483">
                  <c:v>-0.37097247500000002</c:v>
                </c:pt>
                <c:pt idx="484">
                  <c:v>-0.37020267000000001</c:v>
                </c:pt>
                <c:pt idx="485">
                  <c:v>-0.36891504800000002</c:v>
                </c:pt>
                <c:pt idx="486">
                  <c:v>-0.36763934599999998</c:v>
                </c:pt>
                <c:pt idx="487">
                  <c:v>-0.36661755499999998</c:v>
                </c:pt>
                <c:pt idx="488">
                  <c:v>-0.36635172500000002</c:v>
                </c:pt>
                <c:pt idx="489">
                  <c:v>-0.36584377699999998</c:v>
                </c:pt>
                <c:pt idx="490">
                  <c:v>-0.36559191800000002</c:v>
                </c:pt>
                <c:pt idx="491">
                  <c:v>-0.36174276700000002</c:v>
                </c:pt>
                <c:pt idx="492">
                  <c:v>-0.36071507899999999</c:v>
                </c:pt>
                <c:pt idx="493">
                  <c:v>-0.35943745399999999</c:v>
                </c:pt>
                <c:pt idx="494">
                  <c:v>-0.33969426200000002</c:v>
                </c:pt>
                <c:pt idx="495">
                  <c:v>-0.33021256599999999</c:v>
                </c:pt>
                <c:pt idx="496">
                  <c:v>-0.32970474700000002</c:v>
                </c:pt>
                <c:pt idx="497">
                  <c:v>-0.32944083899999999</c:v>
                </c:pt>
                <c:pt idx="498">
                  <c:v>-0.32918885199999998</c:v>
                </c:pt>
                <c:pt idx="499">
                  <c:v>-0.32611168499999998</c:v>
                </c:pt>
                <c:pt idx="500">
                  <c:v>-0.325603737</c:v>
                </c:pt>
                <c:pt idx="501">
                  <c:v>-0.32432213900000001</c:v>
                </c:pt>
                <c:pt idx="502">
                  <c:v>-0.319697287</c:v>
                </c:pt>
                <c:pt idx="503">
                  <c:v>-0.31791171499999998</c:v>
                </c:pt>
                <c:pt idx="504">
                  <c:v>-0.31560230099999997</c:v>
                </c:pt>
                <c:pt idx="505">
                  <c:v>-0.31226904500000002</c:v>
                </c:pt>
                <c:pt idx="506">
                  <c:v>-0.31073546000000002</c:v>
                </c:pt>
                <c:pt idx="507">
                  <c:v>-0.31047155300000001</c:v>
                </c:pt>
                <c:pt idx="508">
                  <c:v>-0.30944976099999999</c:v>
                </c:pt>
                <c:pt idx="509">
                  <c:v>-0.30867995599999998</c:v>
                </c:pt>
                <c:pt idx="510">
                  <c:v>-0.30458291999999998</c:v>
                </c:pt>
                <c:pt idx="511">
                  <c:v>-0.30381516600000003</c:v>
                </c:pt>
                <c:pt idx="512">
                  <c:v>-0.30201357200000001</c:v>
                </c:pt>
                <c:pt idx="513">
                  <c:v>-0.30073787000000002</c:v>
                </c:pt>
                <c:pt idx="514">
                  <c:v>-0.29484141800000002</c:v>
                </c:pt>
                <c:pt idx="515">
                  <c:v>-0.28023102500000002</c:v>
                </c:pt>
                <c:pt idx="516">
                  <c:v>-0.27971513100000001</c:v>
                </c:pt>
                <c:pt idx="517">
                  <c:v>-0.27946122099999998</c:v>
                </c:pt>
                <c:pt idx="518">
                  <c:v>-0.27816949699999999</c:v>
                </c:pt>
                <c:pt idx="519">
                  <c:v>-0.27714770500000002</c:v>
                </c:pt>
                <c:pt idx="520">
                  <c:v>-0.27637597800000002</c:v>
                </c:pt>
                <c:pt idx="521">
                  <c:v>-0.27124920299999999</c:v>
                </c:pt>
                <c:pt idx="522">
                  <c:v>-0.27022343799999998</c:v>
                </c:pt>
                <c:pt idx="523">
                  <c:v>-0.26945363300000003</c:v>
                </c:pt>
                <c:pt idx="524">
                  <c:v>-0.26843197000000002</c:v>
                </c:pt>
                <c:pt idx="525">
                  <c:v>-0.26792607200000002</c:v>
                </c:pt>
                <c:pt idx="526">
                  <c:v>-0.267658063</c:v>
                </c:pt>
                <c:pt idx="527">
                  <c:v>-0.26561460799999997</c:v>
                </c:pt>
                <c:pt idx="528">
                  <c:v>-0.265096791</c:v>
                </c:pt>
                <c:pt idx="529">
                  <c:v>-0.26125174099999998</c:v>
                </c:pt>
                <c:pt idx="530">
                  <c:v>-0.25996796500000002</c:v>
                </c:pt>
                <c:pt idx="531">
                  <c:v>-0.25587105599999999</c:v>
                </c:pt>
                <c:pt idx="532">
                  <c:v>-0.25330568199999998</c:v>
                </c:pt>
                <c:pt idx="533">
                  <c:v>-0.24228232599999999</c:v>
                </c:pt>
                <c:pt idx="534">
                  <c:v>-0.240490858</c:v>
                </c:pt>
                <c:pt idx="535">
                  <c:v>-0.228193852</c:v>
                </c:pt>
                <c:pt idx="536">
                  <c:v>-0.22639828200000001</c:v>
                </c:pt>
                <c:pt idx="537">
                  <c:v>-0.225630528</c:v>
                </c:pt>
                <c:pt idx="538">
                  <c:v>-0.223067077</c:v>
                </c:pt>
                <c:pt idx="539">
                  <c:v>-0.22152554499999999</c:v>
                </c:pt>
                <c:pt idx="540">
                  <c:v>-0.22127163499999999</c:v>
                </c:pt>
                <c:pt idx="541">
                  <c:v>-0.20691707400000001</c:v>
                </c:pt>
                <c:pt idx="542">
                  <c:v>-0.19435218700000001</c:v>
                </c:pt>
                <c:pt idx="543">
                  <c:v>-0.19256264200000001</c:v>
                </c:pt>
                <c:pt idx="544">
                  <c:v>-0.189999318</c:v>
                </c:pt>
                <c:pt idx="545">
                  <c:v>-0.185384464</c:v>
                </c:pt>
                <c:pt idx="546">
                  <c:v>-0.184092741</c:v>
                </c:pt>
                <c:pt idx="547">
                  <c:v>-0.183842804</c:v>
                </c:pt>
                <c:pt idx="548">
                  <c:v>-0.18359094500000001</c:v>
                </c:pt>
                <c:pt idx="549">
                  <c:v>-0.18332498699999999</c:v>
                </c:pt>
                <c:pt idx="550">
                  <c:v>-0.18230127300000001</c:v>
                </c:pt>
                <c:pt idx="551">
                  <c:v>-0.180257689</c:v>
                </c:pt>
                <c:pt idx="552">
                  <c:v>-0.176658603</c:v>
                </c:pt>
                <c:pt idx="553">
                  <c:v>-0.17640866599999999</c:v>
                </c:pt>
                <c:pt idx="554">
                  <c:v>-0.174615147</c:v>
                </c:pt>
                <c:pt idx="555">
                  <c:v>-0.171279968</c:v>
                </c:pt>
                <c:pt idx="556">
                  <c:v>-0.17102605800000001</c:v>
                </c:pt>
                <c:pt idx="557">
                  <c:v>-0.17051016399999999</c:v>
                </c:pt>
                <c:pt idx="558">
                  <c:v>-0.16769690400000001</c:v>
                </c:pt>
                <c:pt idx="559">
                  <c:v>-0.167174985</c:v>
                </c:pt>
                <c:pt idx="560">
                  <c:v>-0.16666908799999999</c:v>
                </c:pt>
                <c:pt idx="561">
                  <c:v>-0.165647296</c:v>
                </c:pt>
                <c:pt idx="562">
                  <c:v>-0.16384185700000001</c:v>
                </c:pt>
                <c:pt idx="563">
                  <c:v>-0.16333198600000001</c:v>
                </c:pt>
                <c:pt idx="564">
                  <c:v>-0.16025264</c:v>
                </c:pt>
                <c:pt idx="565">
                  <c:v>-0.15999475599999999</c:v>
                </c:pt>
                <c:pt idx="566">
                  <c:v>-0.15538195299999999</c:v>
                </c:pt>
                <c:pt idx="567">
                  <c:v>-0.154360161</c:v>
                </c:pt>
                <c:pt idx="568">
                  <c:v>-0.15410817399999999</c:v>
                </c:pt>
                <c:pt idx="569">
                  <c:v>-0.13385318800000001</c:v>
                </c:pt>
                <c:pt idx="570">
                  <c:v>-0.13128589099999999</c:v>
                </c:pt>
                <c:pt idx="571">
                  <c:v>-0.13103390400000001</c:v>
                </c:pt>
                <c:pt idx="572">
                  <c:v>-0.12642699700000001</c:v>
                </c:pt>
                <c:pt idx="573">
                  <c:v>-0.12615911599999999</c:v>
                </c:pt>
                <c:pt idx="574">
                  <c:v>-0.12513732399999999</c:v>
                </c:pt>
                <c:pt idx="575">
                  <c:v>-0.123089895</c:v>
                </c:pt>
                <c:pt idx="576">
                  <c:v>-0.122574001</c:v>
                </c:pt>
                <c:pt idx="577">
                  <c:v>-0.120782404</c:v>
                </c:pt>
                <c:pt idx="578">
                  <c:v>-0.11283647300000001</c:v>
                </c:pt>
                <c:pt idx="579">
                  <c:v>-0.11000911400000001</c:v>
                </c:pt>
                <c:pt idx="580">
                  <c:v>-0.10975315300000001</c:v>
                </c:pt>
                <c:pt idx="581">
                  <c:v>-0.10386862099999999</c:v>
                </c:pt>
                <c:pt idx="582">
                  <c:v>-0.10283888300000001</c:v>
                </c:pt>
                <c:pt idx="583">
                  <c:v>-0.10181311799999999</c:v>
                </c:pt>
                <c:pt idx="584">
                  <c:v>-0.10154921</c:v>
                </c:pt>
                <c:pt idx="585">
                  <c:v>-9.8735950000000003E-2</c:v>
                </c:pt>
                <c:pt idx="586">
                  <c:v>-9.8473964999999997E-2</c:v>
                </c:pt>
                <c:pt idx="587">
                  <c:v>-9.7196341000000006E-2</c:v>
                </c:pt>
                <c:pt idx="588">
                  <c:v>-9.6944353999999996E-2</c:v>
                </c:pt>
                <c:pt idx="589">
                  <c:v>-9.6424486000000004E-2</c:v>
                </c:pt>
                <c:pt idx="590">
                  <c:v>-9.5652630000000002E-2</c:v>
                </c:pt>
                <c:pt idx="591">
                  <c:v>-9.4628915999999993E-2</c:v>
                </c:pt>
                <c:pt idx="592">
                  <c:v>-8.9766176000000003E-2</c:v>
                </c:pt>
                <c:pt idx="593">
                  <c:v>-8.4127479000000005E-2</c:v>
                </c:pt>
                <c:pt idx="594">
                  <c:v>-8.3607610999999998E-2</c:v>
                </c:pt>
                <c:pt idx="595">
                  <c:v>-7.1306759999999997E-2</c:v>
                </c:pt>
                <c:pt idx="596">
                  <c:v>-6.5918000000000004E-2</c:v>
                </c:pt>
                <c:pt idx="597">
                  <c:v>-6.5154219999999999E-2</c:v>
                </c:pt>
                <c:pt idx="598">
                  <c:v>-5.7720080999999999E-2</c:v>
                </c:pt>
                <c:pt idx="599">
                  <c:v>-4.9770047999999997E-2</c:v>
                </c:pt>
                <c:pt idx="600">
                  <c:v>-4.9258126999999999E-2</c:v>
                </c:pt>
                <c:pt idx="601">
                  <c:v>-4.8754280999999997E-2</c:v>
                </c:pt>
                <c:pt idx="602">
                  <c:v>-4.5928971999999998E-2</c:v>
                </c:pt>
                <c:pt idx="603">
                  <c:v>-4.5673011999999999E-2</c:v>
                </c:pt>
                <c:pt idx="604">
                  <c:v>-4.4641351000000003E-2</c:v>
                </c:pt>
                <c:pt idx="605">
                  <c:v>-4.2085973999999998E-2</c:v>
                </c:pt>
                <c:pt idx="606">
                  <c:v>-4.1833985999999997E-2</c:v>
                </c:pt>
                <c:pt idx="607">
                  <c:v>-3.7209134999999997E-2</c:v>
                </c:pt>
                <c:pt idx="608">
                  <c:v>-3.567555E-2</c:v>
                </c:pt>
                <c:pt idx="609">
                  <c:v>-3.5415615999999997E-2</c:v>
                </c:pt>
                <c:pt idx="610">
                  <c:v>-3.1056594E-2</c:v>
                </c:pt>
                <c:pt idx="611">
                  <c:v>-4.6571429999999999E-3</c:v>
                </c:pt>
                <c:pt idx="612">
                  <c:v>3.2828929999999998E-3</c:v>
                </c:pt>
                <c:pt idx="613">
                  <c:v>3.5487219999999998E-3</c:v>
                </c:pt>
                <c:pt idx="614">
                  <c:v>1.7897258999999999E-2</c:v>
                </c:pt>
                <c:pt idx="615">
                  <c:v>1.8157192999999999E-2</c:v>
                </c:pt>
                <c:pt idx="616">
                  <c:v>2.6619019000000001E-2</c:v>
                </c:pt>
                <c:pt idx="617">
                  <c:v>2.7402922999999999E-2</c:v>
                </c:pt>
                <c:pt idx="618">
                  <c:v>2.7644783999999999E-2</c:v>
                </c:pt>
                <c:pt idx="619">
                  <c:v>2.8150682E-2</c:v>
                </c:pt>
                <c:pt idx="620">
                  <c:v>2.8920485999999999E-2</c:v>
                </c:pt>
                <c:pt idx="621">
                  <c:v>2.9954198000000001E-2</c:v>
                </c:pt>
                <c:pt idx="622">
                  <c:v>4.3794787000000002E-2</c:v>
                </c:pt>
                <c:pt idx="623">
                  <c:v>4.4300684E-2</c:v>
                </c:pt>
                <c:pt idx="624">
                  <c:v>4.4564591000000001E-2</c:v>
                </c:pt>
                <c:pt idx="625">
                  <c:v>4.6354136999999997E-2</c:v>
                </c:pt>
                <c:pt idx="626">
                  <c:v>4.8917588999999997E-2</c:v>
                </c:pt>
                <c:pt idx="627">
                  <c:v>4.9173548999999997E-2</c:v>
                </c:pt>
                <c:pt idx="628">
                  <c:v>4.9691367E-2</c:v>
                </c:pt>
                <c:pt idx="629">
                  <c:v>5.0201237000000003E-2</c:v>
                </c:pt>
                <c:pt idx="630">
                  <c:v>5.0453223999999998E-2</c:v>
                </c:pt>
                <c:pt idx="631">
                  <c:v>5.0971042000000001E-2</c:v>
                </c:pt>
                <c:pt idx="632">
                  <c:v>5.1484886000000001E-2</c:v>
                </c:pt>
                <c:pt idx="633">
                  <c:v>5.5841856000000002E-2</c:v>
                </c:pt>
                <c:pt idx="634">
                  <c:v>5.6369671000000003E-2</c:v>
                </c:pt>
                <c:pt idx="635">
                  <c:v>5.7381465E-2</c:v>
                </c:pt>
                <c:pt idx="636">
                  <c:v>5.8661141E-2</c:v>
                </c:pt>
                <c:pt idx="637">
                  <c:v>5.9174984E-2</c:v>
                </c:pt>
                <c:pt idx="638">
                  <c:v>5.9680881999999998E-2</c:v>
                </c:pt>
                <c:pt idx="639">
                  <c:v>6.1496446000000003E-2</c:v>
                </c:pt>
                <c:pt idx="640">
                  <c:v>6.3020034000000003E-2</c:v>
                </c:pt>
                <c:pt idx="641">
                  <c:v>6.4829574000000001E-2</c:v>
                </c:pt>
                <c:pt idx="642">
                  <c:v>6.6601175999999998E-2</c:v>
                </c:pt>
                <c:pt idx="643">
                  <c:v>6.7121044000000005E-2</c:v>
                </c:pt>
                <c:pt idx="644">
                  <c:v>6.7370980999999996E-2</c:v>
                </c:pt>
                <c:pt idx="645">
                  <c:v>6.7636938999999993E-2</c:v>
                </c:pt>
                <c:pt idx="646">
                  <c:v>7.9162090000000004E-2</c:v>
                </c:pt>
                <c:pt idx="647">
                  <c:v>8.2247332000000006E-2</c:v>
                </c:pt>
                <c:pt idx="648">
                  <c:v>8.2761176000000006E-2</c:v>
                </c:pt>
                <c:pt idx="649">
                  <c:v>8.4566743E-2</c:v>
                </c:pt>
                <c:pt idx="650">
                  <c:v>8.7118147000000007E-2</c:v>
                </c:pt>
                <c:pt idx="651">
                  <c:v>0.109924408</c:v>
                </c:pt>
                <c:pt idx="652">
                  <c:v>0.11351362500000001</c:v>
                </c:pt>
                <c:pt idx="653">
                  <c:v>0.113789452</c:v>
                </c:pt>
                <c:pt idx="654">
                  <c:v>0.116594765</c:v>
                </c:pt>
                <c:pt idx="655">
                  <c:v>0.11761450699999999</c:v>
                </c:pt>
                <c:pt idx="656">
                  <c:v>0.11812847899999999</c:v>
                </c:pt>
                <c:pt idx="657">
                  <c:v>0.13607802399999999</c:v>
                </c:pt>
                <c:pt idx="658">
                  <c:v>0.14043486699999999</c:v>
                </c:pt>
                <c:pt idx="659">
                  <c:v>0.143254151</c:v>
                </c:pt>
                <c:pt idx="660">
                  <c:v>0.143504087</c:v>
                </c:pt>
                <c:pt idx="661">
                  <c:v>0.14709330400000001</c:v>
                </c:pt>
                <c:pt idx="662">
                  <c:v>0.14761317199999999</c:v>
                </c:pt>
                <c:pt idx="663">
                  <c:v>0.151728153</c:v>
                </c:pt>
                <c:pt idx="664">
                  <c:v>0.153523723</c:v>
                </c:pt>
                <c:pt idx="665">
                  <c:v>0.154535389</c:v>
                </c:pt>
                <c:pt idx="666">
                  <c:v>0.156836856</c:v>
                </c:pt>
                <c:pt idx="667">
                  <c:v>0.15838043900000001</c:v>
                </c:pt>
                <c:pt idx="668">
                  <c:v>0.15941825200000001</c:v>
                </c:pt>
                <c:pt idx="669">
                  <c:v>0.159912101</c:v>
                </c:pt>
                <c:pt idx="670">
                  <c:v>0.16580663000000001</c:v>
                </c:pt>
                <c:pt idx="671">
                  <c:v>0.16734623900000001</c:v>
                </c:pt>
                <c:pt idx="672">
                  <c:v>0.16838994900000001</c:v>
                </c:pt>
                <c:pt idx="673">
                  <c:v>0.18195663300000001</c:v>
                </c:pt>
                <c:pt idx="674">
                  <c:v>0.182218617</c:v>
                </c:pt>
                <c:pt idx="675">
                  <c:v>0.18247445000000001</c:v>
                </c:pt>
                <c:pt idx="676">
                  <c:v>0.185037902</c:v>
                </c:pt>
                <c:pt idx="677">
                  <c:v>0.18555379599999999</c:v>
                </c:pt>
                <c:pt idx="678">
                  <c:v>0.186335521</c:v>
                </c:pt>
                <c:pt idx="679">
                  <c:v>0.18734129099999999</c:v>
                </c:pt>
                <c:pt idx="680">
                  <c:v>0.19223005000000001</c:v>
                </c:pt>
                <c:pt idx="681">
                  <c:v>0.19375568800000001</c:v>
                </c:pt>
                <c:pt idx="682">
                  <c:v>0.194265559</c:v>
                </c:pt>
                <c:pt idx="683">
                  <c:v>0.19479350200000001</c:v>
                </c:pt>
                <c:pt idx="684">
                  <c:v>0.19529132399999999</c:v>
                </c:pt>
                <c:pt idx="685">
                  <c:v>0.19759881500000001</c:v>
                </c:pt>
                <c:pt idx="686">
                  <c:v>0.200945914</c:v>
                </c:pt>
                <c:pt idx="687">
                  <c:v>0.20400321499999999</c:v>
                </c:pt>
                <c:pt idx="688">
                  <c:v>0.205026929</c:v>
                </c:pt>
                <c:pt idx="689">
                  <c:v>0.205560768</c:v>
                </c:pt>
                <c:pt idx="690">
                  <c:v>0.20940581799999999</c:v>
                </c:pt>
                <c:pt idx="691">
                  <c:v>0.20990171699999999</c:v>
                </c:pt>
                <c:pt idx="692">
                  <c:v>0.21092350900000001</c:v>
                </c:pt>
                <c:pt idx="693">
                  <c:v>0.21119933699999999</c:v>
                </c:pt>
                <c:pt idx="694">
                  <c:v>0.212213182</c:v>
                </c:pt>
                <c:pt idx="695">
                  <c:v>0.21246504099999999</c:v>
                </c:pt>
                <c:pt idx="696">
                  <c:v>0.212717028</c:v>
                </c:pt>
                <c:pt idx="697">
                  <c:v>0.21325086700000001</c:v>
                </c:pt>
                <c:pt idx="698">
                  <c:v>0.214256637</c:v>
                </c:pt>
                <c:pt idx="699">
                  <c:v>0.21478855399999999</c:v>
                </c:pt>
                <c:pt idx="700">
                  <c:v>0.215030415</c:v>
                </c:pt>
                <c:pt idx="701">
                  <c:v>0.21528240300000001</c:v>
                </c:pt>
                <c:pt idx="702">
                  <c:v>0.21580021999999999</c:v>
                </c:pt>
                <c:pt idx="703">
                  <c:v>0.217095916</c:v>
                </c:pt>
                <c:pt idx="704">
                  <c:v>0.21810168699999999</c:v>
                </c:pt>
                <c:pt idx="705">
                  <c:v>0.219127452</c:v>
                </c:pt>
                <c:pt idx="706">
                  <c:v>0.219383413</c:v>
                </c:pt>
                <c:pt idx="707">
                  <c:v>0.22092904599999999</c:v>
                </c:pt>
                <c:pt idx="708">
                  <c:v>0.22171077</c:v>
                </c:pt>
                <c:pt idx="709">
                  <c:v>0.22194673600000001</c:v>
                </c:pt>
                <c:pt idx="710">
                  <c:v>0.225283966</c:v>
                </c:pt>
                <c:pt idx="711">
                  <c:v>0.22732934399999999</c:v>
                </c:pt>
                <c:pt idx="712">
                  <c:v>0.22784728900000001</c:v>
                </c:pt>
                <c:pt idx="713">
                  <c:v>0.22938689900000001</c:v>
                </c:pt>
                <c:pt idx="714">
                  <c:v>0.23041061299999999</c:v>
                </c:pt>
                <c:pt idx="715">
                  <c:v>0.23247611400000001</c:v>
                </c:pt>
                <c:pt idx="716">
                  <c:v>0.23886859399999999</c:v>
                </c:pt>
                <c:pt idx="717">
                  <c:v>0.24040820299999999</c:v>
                </c:pt>
                <c:pt idx="718">
                  <c:v>0.241431917</c:v>
                </c:pt>
                <c:pt idx="719">
                  <c:v>0.25014778199999999</c:v>
                </c:pt>
                <c:pt idx="720">
                  <c:v>0.25039964100000001</c:v>
                </c:pt>
                <c:pt idx="721">
                  <c:v>0.250675596</c:v>
                </c:pt>
                <c:pt idx="722">
                  <c:v>0.25425071399999999</c:v>
                </c:pt>
                <c:pt idx="723">
                  <c:v>0.25450270200000003</c:v>
                </c:pt>
                <c:pt idx="724">
                  <c:v>0.25477865700000002</c:v>
                </c:pt>
                <c:pt idx="725">
                  <c:v>0.257341981</c:v>
                </c:pt>
                <c:pt idx="726">
                  <c:v>0.25783582999999999</c:v>
                </c:pt>
                <c:pt idx="727">
                  <c:v>0.25939146000000002</c:v>
                </c:pt>
                <c:pt idx="728">
                  <c:v>0.265274069</c:v>
                </c:pt>
                <c:pt idx="729">
                  <c:v>0.26681162800000002</c:v>
                </c:pt>
                <c:pt idx="730">
                  <c:v>0.26785136399999998</c:v>
                </c:pt>
                <c:pt idx="731">
                  <c:v>0.26862116800000002</c:v>
                </c:pt>
                <c:pt idx="732">
                  <c:v>0.26886315799999999</c:v>
                </c:pt>
                <c:pt idx="733">
                  <c:v>0.269632963</c:v>
                </c:pt>
                <c:pt idx="734">
                  <c:v>0.27065667700000001</c:v>
                </c:pt>
                <c:pt idx="735">
                  <c:v>0.27116859900000001</c:v>
                </c:pt>
                <c:pt idx="736">
                  <c:v>0.27169641300000003</c:v>
                </c:pt>
                <c:pt idx="737">
                  <c:v>0.27219026200000002</c:v>
                </c:pt>
                <c:pt idx="738">
                  <c:v>0.279898433</c:v>
                </c:pt>
                <c:pt idx="739">
                  <c:v>0.28347150100000001</c:v>
                </c:pt>
                <c:pt idx="740">
                  <c:v>0.28372541099999998</c:v>
                </c:pt>
                <c:pt idx="741">
                  <c:v>0.28400136599999998</c:v>
                </c:pt>
                <c:pt idx="742">
                  <c:v>0.28526707000000001</c:v>
                </c:pt>
                <c:pt idx="743">
                  <c:v>0.28656469000000001</c:v>
                </c:pt>
                <c:pt idx="744">
                  <c:v>0.29039384600000001</c:v>
                </c:pt>
                <c:pt idx="745">
                  <c:v>0.29090961199999998</c:v>
                </c:pt>
                <c:pt idx="746">
                  <c:v>0.29169146499999998</c:v>
                </c:pt>
                <c:pt idx="747">
                  <c:v>0.29245921899999999</c:v>
                </c:pt>
                <c:pt idx="748">
                  <c:v>0.29295319600000003</c:v>
                </c:pt>
                <c:pt idx="749">
                  <c:v>0.29500459800000001</c:v>
                </c:pt>
                <c:pt idx="750">
                  <c:v>0.29526453200000002</c:v>
                </c:pt>
                <c:pt idx="751">
                  <c:v>0.29553651399999997</c:v>
                </c:pt>
                <c:pt idx="752">
                  <c:v>0.30450833900000002</c:v>
                </c:pt>
                <c:pt idx="753">
                  <c:v>0.30552000499999998</c:v>
                </c:pt>
                <c:pt idx="754">
                  <c:v>0.30604589799999998</c:v>
                </c:pt>
                <c:pt idx="755">
                  <c:v>0.308083457</c:v>
                </c:pt>
                <c:pt idx="756">
                  <c:v>0.30937915399999999</c:v>
                </c:pt>
                <c:pt idx="757">
                  <c:v>0.309634986</c:v>
                </c:pt>
                <c:pt idx="758">
                  <c:v>0.310146908</c:v>
                </c:pt>
                <c:pt idx="759">
                  <c:v>0.31064472999999998</c:v>
                </c:pt>
                <c:pt idx="760">
                  <c:v>0.31117267300000001</c:v>
                </c:pt>
                <c:pt idx="761">
                  <c:v>0.31141453499999999</c:v>
                </c:pt>
                <c:pt idx="762">
                  <c:v>0.311666522</c:v>
                </c:pt>
                <c:pt idx="763">
                  <c:v>0.32191994400000001</c:v>
                </c:pt>
                <c:pt idx="764">
                  <c:v>0.32245186100000001</c:v>
                </c:pt>
                <c:pt idx="765">
                  <c:v>0.323989419</c:v>
                </c:pt>
                <c:pt idx="766">
                  <c:v>0.32423345999999997</c:v>
                </c:pt>
                <c:pt idx="767">
                  <c:v>0.32604094900000002</c:v>
                </c:pt>
                <c:pt idx="768">
                  <c:v>0.33063580799999998</c:v>
                </c:pt>
                <c:pt idx="769">
                  <c:v>0.330911764</c:v>
                </c:pt>
                <c:pt idx="770">
                  <c:v>0.33653431099999997</c:v>
                </c:pt>
                <c:pt idx="771">
                  <c:v>0.34398447100000001</c:v>
                </c:pt>
                <c:pt idx="772">
                  <c:v>0.34449639199999998</c:v>
                </c:pt>
                <c:pt idx="773">
                  <c:v>0.34832542</c:v>
                </c:pt>
                <c:pt idx="774">
                  <c:v>0.350648933</c:v>
                </c:pt>
                <c:pt idx="775">
                  <c:v>0.35140463799999999</c:v>
                </c:pt>
                <c:pt idx="776">
                  <c:v>0.35166265000000002</c:v>
                </c:pt>
                <c:pt idx="777">
                  <c:v>0.35218649099999999</c:v>
                </c:pt>
                <c:pt idx="778">
                  <c:v>0.36064639399999998</c:v>
                </c:pt>
                <c:pt idx="779">
                  <c:v>0.36551720900000001</c:v>
                </c:pt>
                <c:pt idx="780">
                  <c:v>0.36652695299999999</c:v>
                </c:pt>
                <c:pt idx="781">
                  <c:v>0.36729470600000003</c:v>
                </c:pt>
                <c:pt idx="782">
                  <c:v>0.369106298</c:v>
                </c:pt>
                <c:pt idx="783">
                  <c:v>0.36960617099999998</c:v>
                </c:pt>
                <c:pt idx="784">
                  <c:v>0.37062988499999999</c:v>
                </c:pt>
                <c:pt idx="785">
                  <c:v>0.37498480499999998</c:v>
                </c:pt>
                <c:pt idx="786">
                  <c:v>0.37679639700000001</c:v>
                </c:pt>
                <c:pt idx="787">
                  <c:v>0.38115336700000002</c:v>
                </c:pt>
                <c:pt idx="788">
                  <c:v>0.38320476999999997</c:v>
                </c:pt>
                <c:pt idx="789">
                  <c:v>0.38344676</c:v>
                </c:pt>
                <c:pt idx="790">
                  <c:v>0.386010083</c:v>
                </c:pt>
                <c:pt idx="791">
                  <c:v>0.38628001499999998</c:v>
                </c:pt>
                <c:pt idx="792">
                  <c:v>0.38653597499999998</c:v>
                </c:pt>
                <c:pt idx="793">
                  <c:v>0.38857148400000002</c:v>
                </c:pt>
                <c:pt idx="794">
                  <c:v>0.390639036</c:v>
                </c:pt>
                <c:pt idx="795">
                  <c:v>0.39550780000000002</c:v>
                </c:pt>
                <c:pt idx="796">
                  <c:v>0.387473385</c:v>
                </c:pt>
                <c:pt idx="797">
                  <c:v>0.38505393700000001</c:v>
                </c:pt>
                <c:pt idx="798">
                  <c:v>0.383017789</c:v>
                </c:pt>
                <c:pt idx="799">
                  <c:v>0.38223527499999999</c:v>
                </c:pt>
                <c:pt idx="800">
                  <c:v>0.381003596</c:v>
                </c:pt>
                <c:pt idx="801">
                  <c:v>0.37740262200000002</c:v>
                </c:pt>
                <c:pt idx="802">
                  <c:v>0.37455898399999998</c:v>
                </c:pt>
                <c:pt idx="803">
                  <c:v>0.37174052400000002</c:v>
                </c:pt>
                <c:pt idx="804">
                  <c:v>0.37053079999999999</c:v>
                </c:pt>
                <c:pt idx="805">
                  <c:v>0.368918841</c:v>
                </c:pt>
                <c:pt idx="806">
                  <c:v>0.36854178399999998</c:v>
                </c:pt>
                <c:pt idx="807">
                  <c:v>0.36287646299999998</c:v>
                </c:pt>
                <c:pt idx="808">
                  <c:v>0.35524730399999999</c:v>
                </c:pt>
                <c:pt idx="809">
                  <c:v>0.35441785999999997</c:v>
                </c:pt>
                <c:pt idx="810">
                  <c:v>0.35079170799999998</c:v>
                </c:pt>
                <c:pt idx="811">
                  <c:v>0.35038947399999998</c:v>
                </c:pt>
                <c:pt idx="812">
                  <c:v>0.34879967099999998</c:v>
                </c:pt>
                <c:pt idx="813">
                  <c:v>0.34638022299999999</c:v>
                </c:pt>
                <c:pt idx="814">
                  <c:v>0.34437227300000001</c:v>
                </c:pt>
                <c:pt idx="815">
                  <c:v>0.33832365199999997</c:v>
                </c:pt>
                <c:pt idx="816">
                  <c:v>0.33792141799999997</c:v>
                </c:pt>
                <c:pt idx="817">
                  <c:v>0.327448621</c:v>
                </c:pt>
                <c:pt idx="818">
                  <c:v>0.31212121599999998</c:v>
                </c:pt>
                <c:pt idx="819">
                  <c:v>0.30771275199999998</c:v>
                </c:pt>
                <c:pt idx="820">
                  <c:v>0.30567338199999999</c:v>
                </c:pt>
                <c:pt idx="821">
                  <c:v>0.30446688</c:v>
                </c:pt>
                <c:pt idx="822">
                  <c:v>0.29963100399999998</c:v>
                </c:pt>
                <c:pt idx="823">
                  <c:v>0.29925394700000002</c:v>
                </c:pt>
                <c:pt idx="824">
                  <c:v>0.29642924300000001</c:v>
                </c:pt>
                <c:pt idx="825">
                  <c:v>0.29481728400000001</c:v>
                </c:pt>
                <c:pt idx="826">
                  <c:v>0.29399408399999999</c:v>
                </c:pt>
                <c:pt idx="827">
                  <c:v>0.29358862699999999</c:v>
                </c:pt>
                <c:pt idx="828">
                  <c:v>0.29321156999999998</c:v>
                </c:pt>
                <c:pt idx="829">
                  <c:v>0.29238212499999999</c:v>
                </c:pt>
                <c:pt idx="830">
                  <c:v>0.29117240100000003</c:v>
                </c:pt>
                <c:pt idx="831">
                  <c:v>0.28714421600000001</c:v>
                </c:pt>
                <c:pt idx="832">
                  <c:v>0.27871058799999998</c:v>
                </c:pt>
                <c:pt idx="833">
                  <c:v>0.27264303299999998</c:v>
                </c:pt>
                <c:pt idx="834">
                  <c:v>0.26780715700000002</c:v>
                </c:pt>
                <c:pt idx="835">
                  <c:v>0.26458646299999999</c:v>
                </c:pt>
                <c:pt idx="836">
                  <c:v>0.26420638499999999</c:v>
                </c:pt>
                <c:pt idx="837">
                  <c:v>0.25653009399999999</c:v>
                </c:pt>
                <c:pt idx="838">
                  <c:v>0.25614679299999998</c:v>
                </c:pt>
                <c:pt idx="839">
                  <c:v>0.25532036899999999</c:v>
                </c:pt>
                <c:pt idx="840">
                  <c:v>0.236791002</c:v>
                </c:pt>
                <c:pt idx="841">
                  <c:v>0.23074862400000001</c:v>
                </c:pt>
                <c:pt idx="842">
                  <c:v>0.23036532400000001</c:v>
                </c:pt>
                <c:pt idx="843">
                  <c:v>0.22994113499999999</c:v>
                </c:pt>
                <c:pt idx="844">
                  <c:v>0.22793016399999999</c:v>
                </c:pt>
                <c:pt idx="845">
                  <c:v>0.22631820599999999</c:v>
                </c:pt>
                <c:pt idx="846">
                  <c:v>0.225912749</c:v>
                </c:pt>
                <c:pt idx="847">
                  <c:v>0.21987037100000001</c:v>
                </c:pt>
                <c:pt idx="848">
                  <c:v>0.21221925699999999</c:v>
                </c:pt>
                <c:pt idx="849">
                  <c:v>0.210205064</c:v>
                </c:pt>
                <c:pt idx="850">
                  <c:v>0.20577162399999999</c:v>
                </c:pt>
                <c:pt idx="851">
                  <c:v>0.196910585</c:v>
                </c:pt>
                <c:pt idx="852">
                  <c:v>0.194111058</c:v>
                </c:pt>
                <c:pt idx="853">
                  <c:v>0.19328463500000001</c:v>
                </c:pt>
                <c:pt idx="854">
                  <c:v>0.184423797</c:v>
                </c:pt>
                <c:pt idx="855">
                  <c:v>0.18321407200000001</c:v>
                </c:pt>
                <c:pt idx="856">
                  <c:v>0.182428537</c:v>
                </c:pt>
                <c:pt idx="857">
                  <c:v>0.17396973199999999</c:v>
                </c:pt>
                <c:pt idx="858">
                  <c:v>0.16188497700000001</c:v>
                </c:pt>
                <c:pt idx="859">
                  <c:v>0.16146078799999999</c:v>
                </c:pt>
                <c:pt idx="860">
                  <c:v>0.16067525299999999</c:v>
                </c:pt>
                <c:pt idx="861">
                  <c:v>0.159848829</c:v>
                </c:pt>
                <c:pt idx="862">
                  <c:v>0.15783483800000001</c:v>
                </c:pt>
                <c:pt idx="863">
                  <c:v>0.157030369</c:v>
                </c:pt>
                <c:pt idx="864">
                  <c:v>0.156628135</c:v>
                </c:pt>
                <c:pt idx="865">
                  <c:v>0.146152115</c:v>
                </c:pt>
                <c:pt idx="866">
                  <c:v>0.140936161</c:v>
                </c:pt>
                <c:pt idx="867">
                  <c:v>0.14051519500000001</c:v>
                </c:pt>
                <c:pt idx="868">
                  <c:v>0.14010973800000001</c:v>
                </c:pt>
                <c:pt idx="869">
                  <c:v>0.12520652199999999</c:v>
                </c:pt>
                <c:pt idx="870">
                  <c:v>0.123192329</c:v>
                </c:pt>
                <c:pt idx="871">
                  <c:v>0.12279029599999999</c:v>
                </c:pt>
                <c:pt idx="872">
                  <c:v>0.118359877</c:v>
                </c:pt>
                <c:pt idx="873">
                  <c:v>0.11795442</c:v>
                </c:pt>
                <c:pt idx="874">
                  <c:v>0.10909358199999999</c:v>
                </c:pt>
                <c:pt idx="875">
                  <c:v>0.106677155</c:v>
                </c:pt>
                <c:pt idx="876">
                  <c:v>0.106271899</c:v>
                </c:pt>
                <c:pt idx="877">
                  <c:v>0.10425770600000001</c:v>
                </c:pt>
                <c:pt idx="878">
                  <c:v>9.8620786000000002E-2</c:v>
                </c:pt>
                <c:pt idx="879">
                  <c:v>9.7411060999999993E-2</c:v>
                </c:pt>
                <c:pt idx="880">
                  <c:v>9.7030781999999996E-2</c:v>
                </c:pt>
                <c:pt idx="881">
                  <c:v>9.4187144E-2</c:v>
                </c:pt>
                <c:pt idx="882">
                  <c:v>9.1770717000000002E-2</c:v>
                </c:pt>
                <c:pt idx="883">
                  <c:v>8.6938265000000001E-2</c:v>
                </c:pt>
                <c:pt idx="884">
                  <c:v>8.5728541000000005E-2</c:v>
                </c:pt>
                <c:pt idx="885">
                  <c:v>8.4924072000000003E-2</c:v>
                </c:pt>
                <c:pt idx="886">
                  <c:v>8.2909879000000006E-2</c:v>
                </c:pt>
                <c:pt idx="887">
                  <c:v>8.1297919999999996E-2</c:v>
                </c:pt>
                <c:pt idx="888">
                  <c:v>7.5657776999999996E-2</c:v>
                </c:pt>
                <c:pt idx="889">
                  <c:v>7.4853509999999998E-2</c:v>
                </c:pt>
                <c:pt idx="890">
                  <c:v>7.4451274999999997E-2</c:v>
                </c:pt>
                <c:pt idx="891">
                  <c:v>7.2433860000000003E-2</c:v>
                </c:pt>
                <c:pt idx="892">
                  <c:v>7.2031827000000007E-2</c:v>
                </c:pt>
                <c:pt idx="893">
                  <c:v>6.8405674999999999E-2</c:v>
                </c:pt>
                <c:pt idx="894">
                  <c:v>6.8003440999999998E-2</c:v>
                </c:pt>
                <c:pt idx="895">
                  <c:v>5.3926649E-2</c:v>
                </c:pt>
                <c:pt idx="896">
                  <c:v>4.0207979999999997E-2</c:v>
                </c:pt>
                <c:pt idx="897">
                  <c:v>3.8193787E-2</c:v>
                </c:pt>
                <c:pt idx="898">
                  <c:v>3.6179795000000001E-2</c:v>
                </c:pt>
                <c:pt idx="899">
                  <c:v>3.5777560999999999E-2</c:v>
                </c:pt>
                <c:pt idx="900">
                  <c:v>3.4165602000000003E-2</c:v>
                </c:pt>
                <c:pt idx="901">
                  <c:v>2.8525459E-2</c:v>
                </c:pt>
                <c:pt idx="902">
                  <c:v>2.1678612999999999E-2</c:v>
                </c:pt>
                <c:pt idx="903">
                  <c:v>1.9262386999999999E-2</c:v>
                </c:pt>
                <c:pt idx="904">
                  <c:v>1.6038469999999999E-2</c:v>
                </c:pt>
                <c:pt idx="905">
                  <c:v>1.5636234999999998E-2</c:v>
                </c:pt>
                <c:pt idx="906">
                  <c:v>1.5234001E-2</c:v>
                </c:pt>
                <c:pt idx="907">
                  <c:v>7.5175199999999995E-4</c:v>
                </c:pt>
                <c:pt idx="908">
                  <c:v>3.2756300000000001E-4</c:v>
                </c:pt>
                <c:pt idx="909">
                  <c:v>-4.7670500000000001E-4</c:v>
                </c:pt>
                <c:pt idx="910">
                  <c:v>-4.5050910000000001E-3</c:v>
                </c:pt>
                <c:pt idx="911">
                  <c:v>-8.1310410000000003E-3</c:v>
                </c:pt>
                <c:pt idx="912">
                  <c:v>-9.3407649999999991E-3</c:v>
                </c:pt>
                <c:pt idx="913">
                  <c:v>-1.7397335999999999E-2</c:v>
                </c:pt>
                <c:pt idx="914">
                  <c:v>-1.7799570000000001E-2</c:v>
                </c:pt>
                <c:pt idx="915">
                  <c:v>-1.8182871E-2</c:v>
                </c:pt>
                <c:pt idx="916">
                  <c:v>-1.9006071999999999E-2</c:v>
                </c:pt>
                <c:pt idx="917">
                  <c:v>-3.8342928999999998E-2</c:v>
                </c:pt>
                <c:pt idx="918">
                  <c:v>-4.5595031000000001E-2</c:v>
                </c:pt>
                <c:pt idx="919">
                  <c:v>-4.8011458E-2</c:v>
                </c:pt>
                <c:pt idx="920">
                  <c:v>-4.9221183000000002E-2</c:v>
                </c:pt>
                <c:pt idx="921">
                  <c:v>-5.3252590000000002E-2</c:v>
                </c:pt>
                <c:pt idx="922">
                  <c:v>-5.8484254999999999E-2</c:v>
                </c:pt>
                <c:pt idx="923">
                  <c:v>-5.8889509999999999E-2</c:v>
                </c:pt>
                <c:pt idx="924">
                  <c:v>-6.0498245999999999E-2</c:v>
                </c:pt>
                <c:pt idx="925">
                  <c:v>-6.0900480999999999E-2</c:v>
                </c:pt>
                <c:pt idx="926">
                  <c:v>-6.6521891999999999E-2</c:v>
                </c:pt>
                <c:pt idx="927">
                  <c:v>-6.7750348000000002E-2</c:v>
                </c:pt>
                <c:pt idx="928">
                  <c:v>-6.8554817000000004E-2</c:v>
                </c:pt>
                <c:pt idx="929">
                  <c:v>-7.0166776E-2</c:v>
                </c:pt>
                <c:pt idx="930">
                  <c:v>-7.1778733999999997E-2</c:v>
                </c:pt>
                <c:pt idx="931">
                  <c:v>-7.2985235999999995E-2</c:v>
                </c:pt>
                <c:pt idx="932">
                  <c:v>-7.4597195000000005E-2</c:v>
                </c:pt>
                <c:pt idx="933">
                  <c:v>-7.7418877999999997E-2</c:v>
                </c:pt>
                <c:pt idx="934">
                  <c:v>-7.7821111999999998E-2</c:v>
                </c:pt>
                <c:pt idx="935">
                  <c:v>-8.0639572000000007E-2</c:v>
                </c:pt>
                <c:pt idx="936">
                  <c:v>-8.4667756999999996E-2</c:v>
                </c:pt>
                <c:pt idx="937">
                  <c:v>-8.6279716000000006E-2</c:v>
                </c:pt>
                <c:pt idx="938">
                  <c:v>-8.6681949999999994E-2</c:v>
                </c:pt>
                <c:pt idx="939">
                  <c:v>-9.1112368999999999E-2</c:v>
                </c:pt>
                <c:pt idx="940">
                  <c:v>-9.2322092999999994E-2</c:v>
                </c:pt>
                <c:pt idx="941">
                  <c:v>-9.2727550000000006E-2</c:v>
                </c:pt>
                <c:pt idx="942">
                  <c:v>-9.5546011E-2</c:v>
                </c:pt>
                <c:pt idx="943">
                  <c:v>-0.102392655</c:v>
                </c:pt>
                <c:pt idx="944">
                  <c:v>-0.10279489</c:v>
                </c:pt>
                <c:pt idx="945">
                  <c:v>-0.103200347</c:v>
                </c:pt>
                <c:pt idx="946">
                  <c:v>-0.104809083</c:v>
                </c:pt>
                <c:pt idx="947">
                  <c:v>-0.10601880700000001</c:v>
                </c:pt>
                <c:pt idx="948">
                  <c:v>-0.11085146</c:v>
                </c:pt>
                <c:pt idx="949">
                  <c:v>-0.11165895000000001</c:v>
                </c:pt>
                <c:pt idx="950">
                  <c:v>-0.11407537800000001</c:v>
                </c:pt>
                <c:pt idx="951">
                  <c:v>-0.114879645</c:v>
                </c:pt>
                <c:pt idx="952">
                  <c:v>-0.12535566400000001</c:v>
                </c:pt>
                <c:pt idx="953">
                  <c:v>-0.12696440000000001</c:v>
                </c:pt>
                <c:pt idx="954">
                  <c:v>-0.12777189</c:v>
                </c:pt>
                <c:pt idx="955">
                  <c:v>-0.129383849</c:v>
                </c:pt>
                <c:pt idx="956">
                  <c:v>-0.130188318</c:v>
                </c:pt>
                <c:pt idx="957">
                  <c:v>-0.13542622600000001</c:v>
                </c:pt>
                <c:pt idx="958">
                  <c:v>-0.139052378</c:v>
                </c:pt>
                <c:pt idx="959">
                  <c:v>-0.13945461200000001</c:v>
                </c:pt>
                <c:pt idx="960">
                  <c:v>-0.14912294000000001</c:v>
                </c:pt>
                <c:pt idx="961">
                  <c:v>-0.15113713300000001</c:v>
                </c:pt>
                <c:pt idx="962">
                  <c:v>-0.151941401</c:v>
                </c:pt>
                <c:pt idx="963">
                  <c:v>-0.153553359</c:v>
                </c:pt>
                <c:pt idx="964">
                  <c:v>-0.168054542</c:v>
                </c:pt>
                <c:pt idx="965">
                  <c:v>-0.17570887800000001</c:v>
                </c:pt>
                <c:pt idx="966">
                  <c:v>-0.179737063</c:v>
                </c:pt>
                <c:pt idx="967">
                  <c:v>-0.20310210400000001</c:v>
                </c:pt>
                <c:pt idx="968">
                  <c:v>-0.218813011</c:v>
                </c:pt>
                <c:pt idx="969">
                  <c:v>-0.22324342999999999</c:v>
                </c:pt>
                <c:pt idx="970">
                  <c:v>-0.22767384900000001</c:v>
                </c:pt>
                <c:pt idx="971">
                  <c:v>-0.228079105</c:v>
                </c:pt>
                <c:pt idx="972">
                  <c:v>-0.23251274699999999</c:v>
                </c:pt>
                <c:pt idx="973">
                  <c:v>-0.23774441099999999</c:v>
                </c:pt>
                <c:pt idx="974">
                  <c:v>-0.24298252200000001</c:v>
                </c:pt>
                <c:pt idx="975">
                  <c:v>-0.243786789</c:v>
                </c:pt>
                <c:pt idx="976">
                  <c:v>-0.24459125800000001</c:v>
                </c:pt>
                <c:pt idx="977">
                  <c:v>-0.244996513</c:v>
                </c:pt>
                <c:pt idx="978">
                  <c:v>-0.247412941</c:v>
                </c:pt>
                <c:pt idx="979">
                  <c:v>-0.25869645000000002</c:v>
                </c:pt>
                <c:pt idx="980">
                  <c:v>-0.259095462</c:v>
                </c:pt>
                <c:pt idx="981">
                  <c:v>-0.26030216499999997</c:v>
                </c:pt>
                <c:pt idx="982">
                  <c:v>-0.26795629999999998</c:v>
                </c:pt>
                <c:pt idx="983">
                  <c:v>-0.27520840099999999</c:v>
                </c:pt>
                <c:pt idx="984">
                  <c:v>-0.28125077900000001</c:v>
                </c:pt>
                <c:pt idx="985">
                  <c:v>-0.282862738</c:v>
                </c:pt>
                <c:pt idx="986">
                  <c:v>-0.31267239099999999</c:v>
                </c:pt>
                <c:pt idx="987">
                  <c:v>-0.31710301200000002</c:v>
                </c:pt>
                <c:pt idx="988">
                  <c:v>-0.31750504499999999</c:v>
                </c:pt>
                <c:pt idx="989">
                  <c:v>-0.31992147199999998</c:v>
                </c:pt>
                <c:pt idx="990">
                  <c:v>-0.32958979999999999</c:v>
                </c:pt>
                <c:pt idx="991">
                  <c:v>-0.32369318600000002</c:v>
                </c:pt>
                <c:pt idx="992">
                  <c:v>-0.323437223</c:v>
                </c:pt>
                <c:pt idx="993">
                  <c:v>-0.32241145199999999</c:v>
                </c:pt>
                <c:pt idx="994">
                  <c:v>-0.32138568099999998</c:v>
                </c:pt>
                <c:pt idx="995">
                  <c:v>-0.32112984700000002</c:v>
                </c:pt>
                <c:pt idx="996">
                  <c:v>-0.31600304200000001</c:v>
                </c:pt>
                <c:pt idx="997">
                  <c:v>-0.31010847800000002</c:v>
                </c:pt>
                <c:pt idx="998">
                  <c:v>-0.30933866900000001</c:v>
                </c:pt>
                <c:pt idx="999">
                  <c:v>-0.30651539500000002</c:v>
                </c:pt>
                <c:pt idx="1000">
                  <c:v>-0.304723788</c:v>
                </c:pt>
                <c:pt idx="1001">
                  <c:v>-0.304467826</c:v>
                </c:pt>
                <c:pt idx="1002">
                  <c:v>-0.30241628300000001</c:v>
                </c:pt>
                <c:pt idx="1003">
                  <c:v>-0.29242068500000001</c:v>
                </c:pt>
                <c:pt idx="1004">
                  <c:v>-0.29139094100000001</c:v>
                </c:pt>
                <c:pt idx="1005">
                  <c:v>-0.29113907999999999</c:v>
                </c:pt>
                <c:pt idx="1006">
                  <c:v>-0.27857411999999998</c:v>
                </c:pt>
                <c:pt idx="1007">
                  <c:v>-0.27627058799999998</c:v>
                </c:pt>
                <c:pt idx="1008">
                  <c:v>-0.27575674100000003</c:v>
                </c:pt>
                <c:pt idx="1009">
                  <c:v>-0.27268147799999998</c:v>
                </c:pt>
                <c:pt idx="1010">
                  <c:v>-0.26781063500000002</c:v>
                </c:pt>
                <c:pt idx="1011">
                  <c:v>-0.266017106</c:v>
                </c:pt>
                <c:pt idx="1012">
                  <c:v>-0.26524332299999998</c:v>
                </c:pt>
                <c:pt idx="1013">
                  <c:v>-0.26370562800000003</c:v>
                </c:pt>
                <c:pt idx="1014">
                  <c:v>-0.261916072</c:v>
                </c:pt>
                <c:pt idx="1015">
                  <c:v>-0.26088632699999997</c:v>
                </c:pt>
                <c:pt idx="1016">
                  <c:v>-0.25832298799999998</c:v>
                </c:pt>
                <c:pt idx="1017">
                  <c:v>-0.25807099999999999</c:v>
                </c:pt>
                <c:pt idx="1018">
                  <c:v>-0.25781311499999998</c:v>
                </c:pt>
                <c:pt idx="1019">
                  <c:v>-0.25217066799999999</c:v>
                </c:pt>
                <c:pt idx="1020">
                  <c:v>-0.25165848699999999</c:v>
                </c:pt>
                <c:pt idx="1021">
                  <c:v>-0.25114412800000002</c:v>
                </c:pt>
                <c:pt idx="1022">
                  <c:v>-0.25037585699999998</c:v>
                </c:pt>
                <c:pt idx="1023">
                  <c:v>-0.248322776</c:v>
                </c:pt>
                <c:pt idx="1024">
                  <c:v>-0.24704014599999999</c:v>
                </c:pt>
                <c:pt idx="1025">
                  <c:v>-0.24550129700000001</c:v>
                </c:pt>
                <c:pt idx="1026">
                  <c:v>-0.24524328400000001</c:v>
                </c:pt>
                <c:pt idx="1027">
                  <c:v>-0.23756339400000001</c:v>
                </c:pt>
                <c:pt idx="1028">
                  <c:v>-0.23703506299999999</c:v>
                </c:pt>
                <c:pt idx="1029">
                  <c:v>-0.23576845399999999</c:v>
                </c:pt>
                <c:pt idx="1030">
                  <c:v>-0.23167446899999999</c:v>
                </c:pt>
                <c:pt idx="1031">
                  <c:v>-0.222952014</c:v>
                </c:pt>
                <c:pt idx="1032">
                  <c:v>-0.21858989400000001</c:v>
                </c:pt>
                <c:pt idx="1033">
                  <c:v>-0.21833393200000001</c:v>
                </c:pt>
                <c:pt idx="1034">
                  <c:v>-0.217051942</c:v>
                </c:pt>
                <c:pt idx="1035">
                  <c:v>-0.21089782800000001</c:v>
                </c:pt>
                <c:pt idx="1036">
                  <c:v>-0.206539678</c:v>
                </c:pt>
                <c:pt idx="1037">
                  <c:v>-0.20217960500000001</c:v>
                </c:pt>
                <c:pt idx="1038">
                  <c:v>-0.201667553</c:v>
                </c:pt>
                <c:pt idx="1039">
                  <c:v>-0.19807754599999999</c:v>
                </c:pt>
                <c:pt idx="1040">
                  <c:v>-0.195001386</c:v>
                </c:pt>
                <c:pt idx="1041">
                  <c:v>-0.19320542099999999</c:v>
                </c:pt>
                <c:pt idx="1042">
                  <c:v>-0.192179393</c:v>
                </c:pt>
                <c:pt idx="1043">
                  <c:v>-0.19141137899999999</c:v>
                </c:pt>
                <c:pt idx="1044">
                  <c:v>-0.19012938900000001</c:v>
                </c:pt>
                <c:pt idx="1045">
                  <c:v>-0.189375345</c:v>
                </c:pt>
                <c:pt idx="1046">
                  <c:v>-0.187837265</c:v>
                </c:pt>
                <c:pt idx="1047">
                  <c:v>-0.18475726000000001</c:v>
                </c:pt>
                <c:pt idx="1048">
                  <c:v>-0.18115520399999999</c:v>
                </c:pt>
                <c:pt idx="1049">
                  <c:v>-0.176559677</c:v>
                </c:pt>
                <c:pt idx="1050">
                  <c:v>-0.17604172900000001</c:v>
                </c:pt>
                <c:pt idx="1051">
                  <c:v>-0.17578974</c:v>
                </c:pt>
                <c:pt idx="1052">
                  <c:v>-0.17501787999999999</c:v>
                </c:pt>
                <c:pt idx="1053">
                  <c:v>-0.17347813400000001</c:v>
                </c:pt>
                <c:pt idx="1054">
                  <c:v>-0.171938388</c:v>
                </c:pt>
                <c:pt idx="1055">
                  <c:v>-0.17014460200000001</c:v>
                </c:pt>
                <c:pt idx="1056">
                  <c:v>-0.16961870700000001</c:v>
                </c:pt>
                <c:pt idx="1057">
                  <c:v>-0.16937466500000001</c:v>
                </c:pt>
                <c:pt idx="1058">
                  <c:v>-0.16835286699999999</c:v>
                </c:pt>
                <c:pt idx="1059">
                  <c:v>-0.16807896</c:v>
                </c:pt>
                <c:pt idx="1060">
                  <c:v>-0.16758292899999999</c:v>
                </c:pt>
                <c:pt idx="1061">
                  <c:v>-0.16525927500000001</c:v>
                </c:pt>
                <c:pt idx="1062">
                  <c:v>-0.16245573999999999</c:v>
                </c:pt>
                <c:pt idx="1063">
                  <c:v>-0.16219772700000001</c:v>
                </c:pt>
                <c:pt idx="1064">
                  <c:v>-0.16038804700000001</c:v>
                </c:pt>
                <c:pt idx="1065">
                  <c:v>-0.16014605600000001</c:v>
                </c:pt>
                <c:pt idx="1066">
                  <c:v>-0.14733589999999999</c:v>
                </c:pt>
                <c:pt idx="1067">
                  <c:v>-0.14579012899999999</c:v>
                </c:pt>
                <c:pt idx="1068">
                  <c:v>-0.14451634299999999</c:v>
                </c:pt>
                <c:pt idx="1069">
                  <c:v>-0.14092492600000001</c:v>
                </c:pt>
                <c:pt idx="1070">
                  <c:v>-0.133484463</c:v>
                </c:pt>
                <c:pt idx="1071">
                  <c:v>-0.131434844</c:v>
                </c:pt>
                <c:pt idx="1072">
                  <c:v>-0.13090689799999999</c:v>
                </c:pt>
                <c:pt idx="1073">
                  <c:v>-0.12348642999999999</c:v>
                </c:pt>
                <c:pt idx="1074">
                  <c:v>-0.12298258099999999</c:v>
                </c:pt>
                <c:pt idx="1075">
                  <c:v>-0.119127383</c:v>
                </c:pt>
                <c:pt idx="1076">
                  <c:v>-0.116827825</c:v>
                </c:pt>
                <c:pt idx="1077">
                  <c:v>-0.116551868</c:v>
                </c:pt>
                <c:pt idx="1078">
                  <c:v>-0.11630987700000001</c:v>
                </c:pt>
                <c:pt idx="1079">
                  <c:v>-0.115540068</c:v>
                </c:pt>
                <c:pt idx="1080">
                  <c:v>-0.114516219</c:v>
                </c:pt>
                <c:pt idx="1081">
                  <c:v>-0.114000322</c:v>
                </c:pt>
                <c:pt idx="1082">
                  <c:v>-9.9907278000000002E-2</c:v>
                </c:pt>
                <c:pt idx="1083">
                  <c:v>-9.8619649000000004E-2</c:v>
                </c:pt>
                <c:pt idx="1084">
                  <c:v>-9.6572080000000005E-2</c:v>
                </c:pt>
                <c:pt idx="1085">
                  <c:v>-9.5032461999999998E-2</c:v>
                </c:pt>
                <c:pt idx="1086">
                  <c:v>-9.3758675E-2</c:v>
                </c:pt>
                <c:pt idx="1087">
                  <c:v>-9.3492844000000005E-2</c:v>
                </c:pt>
                <c:pt idx="1088">
                  <c:v>-9.2982969999999998E-2</c:v>
                </c:pt>
                <c:pt idx="1089">
                  <c:v>-9.2722905999999994E-2</c:v>
                </c:pt>
                <c:pt idx="1090">
                  <c:v>-9.0931427999999995E-2</c:v>
                </c:pt>
                <c:pt idx="1091">
                  <c:v>-8.7596100999999996E-2</c:v>
                </c:pt>
                <c:pt idx="1092">
                  <c:v>-8.6814372000000001E-2</c:v>
                </c:pt>
                <c:pt idx="1093">
                  <c:v>-8.5292698E-2</c:v>
                </c:pt>
                <c:pt idx="1094">
                  <c:v>-8.4264876000000002E-2</c:v>
                </c:pt>
                <c:pt idx="1095">
                  <c:v>-8.3761027000000002E-2</c:v>
                </c:pt>
                <c:pt idx="1096">
                  <c:v>-8.2457375999999999E-2</c:v>
                </c:pt>
                <c:pt idx="1097">
                  <c:v>-8.1191663999999997E-2</c:v>
                </c:pt>
                <c:pt idx="1098">
                  <c:v>-8.0421726999999998E-2</c:v>
                </c:pt>
                <c:pt idx="1099">
                  <c:v>-7.7344541000000003E-2</c:v>
                </c:pt>
                <c:pt idx="1100">
                  <c:v>-7.4019212000000001E-2</c:v>
                </c:pt>
                <c:pt idx="1101">
                  <c:v>-7.3755302999999994E-2</c:v>
                </c:pt>
                <c:pt idx="1102">
                  <c:v>-7.2215685000000002E-2</c:v>
                </c:pt>
                <c:pt idx="1103">
                  <c:v>-6.9150420000000004E-2</c:v>
                </c:pt>
                <c:pt idx="1104">
                  <c:v>-6.8380482000000006E-2</c:v>
                </c:pt>
                <c:pt idx="1105">
                  <c:v>-6.7860611000000001E-2</c:v>
                </c:pt>
                <c:pt idx="1106">
                  <c:v>-6.7076831000000003E-2</c:v>
                </c:pt>
                <c:pt idx="1107">
                  <c:v>-6.5561181999999996E-2</c:v>
                </c:pt>
                <c:pt idx="1108">
                  <c:v>-5.8892834999999998E-2</c:v>
                </c:pt>
                <c:pt idx="1109">
                  <c:v>-5.7349115999999999E-2</c:v>
                </c:pt>
                <c:pt idx="1110">
                  <c:v>-5.5817573000000002E-2</c:v>
                </c:pt>
                <c:pt idx="1111">
                  <c:v>-5.5303597000000003E-2</c:v>
                </c:pt>
                <c:pt idx="1112">
                  <c:v>-5.3766029999999999E-2</c:v>
                </c:pt>
                <c:pt idx="1113">
                  <c:v>-5.2478272999999999E-2</c:v>
                </c:pt>
                <c:pt idx="1114">
                  <c:v>-5.2224360999999997E-2</c:v>
                </c:pt>
                <c:pt idx="1115">
                  <c:v>-5.1718461E-2</c:v>
                </c:pt>
                <c:pt idx="1116">
                  <c:v>-5.1452629E-2</c:v>
                </c:pt>
                <c:pt idx="1117">
                  <c:v>-5.1198590000000002E-2</c:v>
                </c:pt>
                <c:pt idx="1118">
                  <c:v>-4.9900963E-2</c:v>
                </c:pt>
                <c:pt idx="1119">
                  <c:v>-4.9661022999999999E-2</c:v>
                </c:pt>
                <c:pt idx="1120">
                  <c:v>-4.9409033999999998E-2</c:v>
                </c:pt>
                <c:pt idx="1121">
                  <c:v>-4.7357618999999997E-2</c:v>
                </c:pt>
                <c:pt idx="1122">
                  <c:v>-4.5815951000000001E-2</c:v>
                </c:pt>
                <c:pt idx="1123">
                  <c:v>-4.3762484999999997E-2</c:v>
                </c:pt>
                <c:pt idx="1124">
                  <c:v>-4.1464978E-2</c:v>
                </c:pt>
                <c:pt idx="1125">
                  <c:v>-3.6844072999999998E-2</c:v>
                </c:pt>
                <c:pt idx="1126">
                  <c:v>-3.2489127999999999E-2</c:v>
                </c:pt>
                <c:pt idx="1127">
                  <c:v>-3.2213169999999999E-2</c:v>
                </c:pt>
                <c:pt idx="1128">
                  <c:v>-2.9649832000000001E-2</c:v>
                </c:pt>
                <c:pt idx="1129">
                  <c:v>-2.9409891000000001E-2</c:v>
                </c:pt>
                <c:pt idx="1130">
                  <c:v>-2.8382198000000001E-2</c:v>
                </c:pt>
                <c:pt idx="1131">
                  <c:v>-2.1467887000000001E-2</c:v>
                </c:pt>
                <c:pt idx="1132">
                  <c:v>-2.1211925E-2</c:v>
                </c:pt>
                <c:pt idx="1133">
                  <c:v>-2.0438014000000001E-2</c:v>
                </c:pt>
                <c:pt idx="1134">
                  <c:v>-1.710884E-2</c:v>
                </c:pt>
                <c:pt idx="1135">
                  <c:v>-1.6591018999999999E-2</c:v>
                </c:pt>
                <c:pt idx="1136">
                  <c:v>-1.5821209999999999E-2</c:v>
                </c:pt>
                <c:pt idx="1137">
                  <c:v>-1.3521781E-2</c:v>
                </c:pt>
                <c:pt idx="1138">
                  <c:v>-1.3243773E-2</c:v>
                </c:pt>
                <c:pt idx="1139">
                  <c:v>-1.1210303E-2</c:v>
                </c:pt>
                <c:pt idx="1140">
                  <c:v>-7.8771550000000003E-3</c:v>
                </c:pt>
                <c:pt idx="1141">
                  <c:v>-3.772147E-3</c:v>
                </c:pt>
                <c:pt idx="1142">
                  <c:v>6.4814629999999998E-3</c:v>
                </c:pt>
                <c:pt idx="1143">
                  <c:v>8.031079E-3</c:v>
                </c:pt>
                <c:pt idx="1144">
                  <c:v>1.1344231999999999E-2</c:v>
                </c:pt>
                <c:pt idx="1145">
                  <c:v>1.186218E-2</c:v>
                </c:pt>
                <c:pt idx="1146">
                  <c:v>1.2114041000000001E-2</c:v>
                </c:pt>
                <c:pt idx="1147">
                  <c:v>1.7494757E-2</c:v>
                </c:pt>
                <c:pt idx="1148">
                  <c:v>1.8782387000000001E-2</c:v>
                </c:pt>
                <c:pt idx="1149">
                  <c:v>2.0849950999999999E-2</c:v>
                </c:pt>
                <c:pt idx="1150">
                  <c:v>2.6726570000000002E-2</c:v>
                </c:pt>
                <c:pt idx="1151">
                  <c:v>3.0061768999999999E-2</c:v>
                </c:pt>
                <c:pt idx="1152">
                  <c:v>3.3644855000000001E-2</c:v>
                </c:pt>
                <c:pt idx="1153">
                  <c:v>4.0587234999999999E-2</c:v>
                </c:pt>
                <c:pt idx="1154">
                  <c:v>4.0831148999999997E-2</c:v>
                </c:pt>
                <c:pt idx="1155">
                  <c:v>4.5955903999999999E-2</c:v>
                </c:pt>
                <c:pt idx="1156">
                  <c:v>4.6483721999999998E-2</c:v>
                </c:pt>
                <c:pt idx="1157">
                  <c:v>4.7251608E-2</c:v>
                </c:pt>
                <c:pt idx="1158">
                  <c:v>4.8001422000000002E-2</c:v>
                </c:pt>
                <c:pt idx="1159">
                  <c:v>5.0564761E-2</c:v>
                </c:pt>
                <c:pt idx="1160">
                  <c:v>5.0822645E-2</c:v>
                </c:pt>
                <c:pt idx="1161">
                  <c:v>5.1594504999999999E-2</c:v>
                </c:pt>
                <c:pt idx="1162">
                  <c:v>6.0068429E-2</c:v>
                </c:pt>
                <c:pt idx="1163">
                  <c:v>6.2873759000000001E-2</c:v>
                </c:pt>
                <c:pt idx="1164">
                  <c:v>6.9554152999999994E-2</c:v>
                </c:pt>
                <c:pt idx="1165">
                  <c:v>7.7244297000000003E-2</c:v>
                </c:pt>
                <c:pt idx="1166">
                  <c:v>0.111318154</c:v>
                </c:pt>
                <c:pt idx="1167">
                  <c:v>0.111835974</c:v>
                </c:pt>
                <c:pt idx="1168">
                  <c:v>0.112363792</c:v>
                </c:pt>
                <c:pt idx="1169">
                  <c:v>0.122617403</c:v>
                </c:pt>
                <c:pt idx="1170">
                  <c:v>0.13184511400000001</c:v>
                </c:pt>
                <c:pt idx="1171">
                  <c:v>0.13234306800000001</c:v>
                </c:pt>
                <c:pt idx="1172">
                  <c:v>0.14131084399999999</c:v>
                </c:pt>
                <c:pt idx="1173">
                  <c:v>0.14157077900000001</c:v>
                </c:pt>
                <c:pt idx="1174">
                  <c:v>0.142082703</c:v>
                </c:pt>
                <c:pt idx="1175">
                  <c:v>0.14362027099999999</c:v>
                </c:pt>
                <c:pt idx="1176">
                  <c:v>0.143892255</c:v>
                </c:pt>
                <c:pt idx="1177">
                  <c:v>0.145929698</c:v>
                </c:pt>
                <c:pt idx="1178">
                  <c:v>0.15260816999999999</c:v>
                </c:pt>
                <c:pt idx="1179">
                  <c:v>0.15361984200000001</c:v>
                </c:pt>
                <c:pt idx="1180">
                  <c:v>0.15387183099999999</c:v>
                </c:pt>
                <c:pt idx="1181">
                  <c:v>0.15541350000000001</c:v>
                </c:pt>
                <c:pt idx="1182">
                  <c:v>0.156951067</c:v>
                </c:pt>
                <c:pt idx="1183">
                  <c:v>0.15746491400000001</c:v>
                </c:pt>
                <c:pt idx="1184">
                  <c:v>0.16875826699999999</c:v>
                </c:pt>
                <c:pt idx="1185">
                  <c:v>0.173115135</c:v>
                </c:pt>
                <c:pt idx="1186">
                  <c:v>0.190784855</c:v>
                </c:pt>
                <c:pt idx="1187">
                  <c:v>0.197981147</c:v>
                </c:pt>
                <c:pt idx="1188">
                  <c:v>0.198992948</c:v>
                </c:pt>
                <c:pt idx="1189">
                  <c:v>0.20028865200000001</c:v>
                </c:pt>
                <c:pt idx="1190">
                  <c:v>0.218216257</c:v>
                </c:pt>
                <c:pt idx="1191">
                  <c:v>0.21873215400000001</c:v>
                </c:pt>
                <c:pt idx="1192">
                  <c:v>0.21925805000000001</c:v>
                </c:pt>
                <c:pt idx="1193">
                  <c:v>0.22129357</c:v>
                </c:pt>
                <c:pt idx="1194">
                  <c:v>0.22206338</c:v>
                </c:pt>
                <c:pt idx="1195">
                  <c:v>0.22231921399999999</c:v>
                </c:pt>
                <c:pt idx="1196">
                  <c:v>0.224128893</c:v>
                </c:pt>
                <c:pt idx="1197">
                  <c:v>0.22565248900000001</c:v>
                </c:pt>
                <c:pt idx="1198">
                  <c:v>0.22744409600000001</c:v>
                </c:pt>
                <c:pt idx="1199">
                  <c:v>0.237443668</c:v>
                </c:pt>
                <c:pt idx="1200">
                  <c:v>0.23923719700000001</c:v>
                </c:pt>
                <c:pt idx="1201">
                  <c:v>0.24154457400000001</c:v>
                </c:pt>
                <c:pt idx="1202">
                  <c:v>0.24771112100000001</c:v>
                </c:pt>
                <c:pt idx="1203">
                  <c:v>0.24897888400000001</c:v>
                </c:pt>
                <c:pt idx="1204">
                  <c:v>0.24923471799999999</c:v>
                </c:pt>
                <c:pt idx="1205">
                  <c:v>0.25487344699999998</c:v>
                </c:pt>
                <c:pt idx="1206">
                  <c:v>0.25538934499999999</c:v>
                </c:pt>
                <c:pt idx="1207">
                  <c:v>0.25641498800000001</c:v>
                </c:pt>
                <c:pt idx="1208">
                  <c:v>0.26770629000000001</c:v>
                </c:pt>
                <c:pt idx="1209">
                  <c:v>0.27871368800000001</c:v>
                </c:pt>
                <c:pt idx="1210">
                  <c:v>0.27948541999999998</c:v>
                </c:pt>
                <c:pt idx="1211">
                  <c:v>0.28231882000000003</c:v>
                </c:pt>
                <c:pt idx="1212">
                  <c:v>0.28513811999999999</c:v>
                </c:pt>
                <c:pt idx="1213">
                  <c:v>0.28923915500000003</c:v>
                </c:pt>
                <c:pt idx="1214">
                  <c:v>0.292828264</c:v>
                </c:pt>
                <c:pt idx="1215">
                  <c:v>0.29334006099999999</c:v>
                </c:pt>
                <c:pt idx="1216">
                  <c:v>0.29641737400000001</c:v>
                </c:pt>
                <c:pt idx="1217">
                  <c:v>0.29692929899999998</c:v>
                </c:pt>
                <c:pt idx="1218">
                  <c:v>0.29742712399999999</c:v>
                </c:pt>
                <c:pt idx="1219">
                  <c:v>0.301030205</c:v>
                </c:pt>
                <c:pt idx="1220">
                  <c:v>0.301288218</c:v>
                </c:pt>
                <c:pt idx="1221">
                  <c:v>0.302809891</c:v>
                </c:pt>
                <c:pt idx="1222">
                  <c:v>0.30768060600000002</c:v>
                </c:pt>
                <c:pt idx="1223">
                  <c:v>0.30795259000000003</c:v>
                </c:pt>
                <c:pt idx="1224">
                  <c:v>0.31000208200000001</c:v>
                </c:pt>
                <c:pt idx="1225">
                  <c:v>0.31564273399999998</c:v>
                </c:pt>
                <c:pt idx="1226">
                  <c:v>0.31844806399999998</c:v>
                </c:pt>
                <c:pt idx="1227">
                  <c:v>0.31871991999999999</c:v>
                </c:pt>
                <c:pt idx="1228">
                  <c:v>0.31972979699999998</c:v>
                </c:pt>
                <c:pt idx="1229">
                  <c:v>0.32205114499999998</c:v>
                </c:pt>
                <c:pt idx="1230">
                  <c:v>0.32282095399999999</c:v>
                </c:pt>
                <c:pt idx="1231">
                  <c:v>0.32511243699999998</c:v>
                </c:pt>
                <c:pt idx="1232">
                  <c:v>0.334340148</c:v>
                </c:pt>
                <c:pt idx="1233">
                  <c:v>0.337419513</c:v>
                </c:pt>
                <c:pt idx="1234">
                  <c:v>0.33871316600000001</c:v>
                </c:pt>
                <c:pt idx="1235">
                  <c:v>0.34255823800000001</c:v>
                </c:pt>
                <c:pt idx="1236">
                  <c:v>0.34357003800000002</c:v>
                </c:pt>
                <c:pt idx="1237">
                  <c:v>0.34536356800000001</c:v>
                </c:pt>
                <c:pt idx="1238">
                  <c:v>0.35895032599999999</c:v>
                </c:pt>
                <c:pt idx="1239">
                  <c:v>0.36458892799999998</c:v>
                </c:pt>
                <c:pt idx="1240">
                  <c:v>0.38125287200000002</c:v>
                </c:pt>
                <c:pt idx="1241">
                  <c:v>0.38229056300000003</c:v>
                </c:pt>
                <c:pt idx="1242">
                  <c:v>0.38331838499999998</c:v>
                </c:pt>
                <c:pt idx="1243">
                  <c:v>0.38357229700000001</c:v>
                </c:pt>
                <c:pt idx="1244">
                  <c:v>0.38458409700000001</c:v>
                </c:pt>
                <c:pt idx="1245">
                  <c:v>0.38485403000000001</c:v>
                </c:pt>
                <c:pt idx="1246">
                  <c:v>0.38535390600000002</c:v>
                </c:pt>
                <c:pt idx="1247">
                  <c:v>0.38765936000000001</c:v>
                </c:pt>
                <c:pt idx="1248">
                  <c:v>0.39227424100000002</c:v>
                </c:pt>
                <c:pt idx="1249">
                  <c:v>0.40613080400000001</c:v>
                </c:pt>
                <c:pt idx="1250">
                  <c:v>0.40972004200000001</c:v>
                </c:pt>
                <c:pt idx="1251">
                  <c:v>0.41177145700000001</c:v>
                </c:pt>
                <c:pt idx="1252">
                  <c:v>0.41433492300000002</c:v>
                </c:pt>
                <c:pt idx="1253">
                  <c:v>0.41484672</c:v>
                </c:pt>
                <c:pt idx="1254">
                  <c:v>0.415344673</c:v>
                </c:pt>
                <c:pt idx="1255">
                  <c:v>0.41611448200000001</c:v>
                </c:pt>
                <c:pt idx="1256">
                  <c:v>0.41869179200000001</c:v>
                </c:pt>
                <c:pt idx="1257">
                  <c:v>0.41920576700000001</c:v>
                </c:pt>
                <c:pt idx="1258">
                  <c:v>0.41946160100000002</c:v>
                </c:pt>
                <c:pt idx="1259">
                  <c:v>0.42176910499999998</c:v>
                </c:pt>
                <c:pt idx="1260">
                  <c:v>0.42330667300000002</c:v>
                </c:pt>
                <c:pt idx="1261">
                  <c:v>0.42510033000000003</c:v>
                </c:pt>
                <c:pt idx="1262">
                  <c:v>0.42688181200000003</c:v>
                </c:pt>
                <c:pt idx="1263">
                  <c:v>0.42715174500000003</c:v>
                </c:pt>
                <c:pt idx="1264">
                  <c:v>0.42766366900000002</c:v>
                </c:pt>
                <c:pt idx="1265">
                  <c:v>0.42867546899999998</c:v>
                </c:pt>
                <c:pt idx="1266">
                  <c:v>0.42944527799999999</c:v>
                </c:pt>
                <c:pt idx="1267">
                  <c:v>0.43099681699999998</c:v>
                </c:pt>
                <c:pt idx="1268">
                  <c:v>0.437917151</c:v>
                </c:pt>
                <c:pt idx="1269">
                  <c:v>0.43894292299999998</c:v>
                </c:pt>
                <c:pt idx="1270">
                  <c:v>0.440466519</c:v>
                </c:pt>
                <c:pt idx="1271">
                  <c:v>0.440738503</c:v>
                </c:pt>
                <c:pt idx="1272">
                  <c:v>0.44432761300000001</c:v>
                </c:pt>
                <c:pt idx="1273">
                  <c:v>0.45278564300000002</c:v>
                </c:pt>
                <c:pt idx="1274">
                  <c:v>0.454579173</c:v>
                </c:pt>
                <c:pt idx="1275">
                  <c:v>0.45483705800000002</c:v>
                </c:pt>
                <c:pt idx="1276">
                  <c:v>0.45714251099999997</c:v>
                </c:pt>
                <c:pt idx="1277">
                  <c:v>0.45841219599999999</c:v>
                </c:pt>
                <c:pt idx="1278">
                  <c:v>0.45893809200000002</c:v>
                </c:pt>
                <c:pt idx="1279">
                  <c:v>0.46073162099999998</c:v>
                </c:pt>
                <c:pt idx="1280">
                  <c:v>0.46201335500000001</c:v>
                </c:pt>
                <c:pt idx="1281">
                  <c:v>0.462271239</c:v>
                </c:pt>
                <c:pt idx="1282">
                  <c:v>0.46432085899999997</c:v>
                </c:pt>
                <c:pt idx="1283">
                  <c:v>0.46533253099999999</c:v>
                </c:pt>
                <c:pt idx="1284">
                  <c:v>0.46687214999999999</c:v>
                </c:pt>
                <c:pt idx="1285">
                  <c:v>0.47071529899999998</c:v>
                </c:pt>
                <c:pt idx="1286">
                  <c:v>0.47149907899999999</c:v>
                </c:pt>
                <c:pt idx="1287">
                  <c:v>0.473022675</c:v>
                </c:pt>
                <c:pt idx="1288">
                  <c:v>0.47457434199999998</c:v>
                </c:pt>
                <c:pt idx="1289">
                  <c:v>0.476369922</c:v>
                </c:pt>
                <c:pt idx="1290">
                  <c:v>0.47713768000000001</c:v>
                </c:pt>
                <c:pt idx="1291">
                  <c:v>0.48098275200000001</c:v>
                </c:pt>
                <c:pt idx="1292">
                  <c:v>0.48149659900000003</c:v>
                </c:pt>
                <c:pt idx="1293">
                  <c:v>0.482778333</c:v>
                </c:pt>
                <c:pt idx="1294">
                  <c:v>0.483546219</c:v>
                </c:pt>
                <c:pt idx="1295">
                  <c:v>0.48455994200000002</c:v>
                </c:pt>
                <c:pt idx="1296">
                  <c:v>0.48534167099999997</c:v>
                </c:pt>
                <c:pt idx="1297">
                  <c:v>0.49098040100000001</c:v>
                </c:pt>
                <c:pt idx="1298">
                  <c:v>0.49405758700000002</c:v>
                </c:pt>
                <c:pt idx="1299">
                  <c:v>0.49456951100000002</c:v>
                </c:pt>
                <c:pt idx="1300">
                  <c:v>0.51405083299999998</c:v>
                </c:pt>
                <c:pt idx="1301">
                  <c:v>0.515846413</c:v>
                </c:pt>
                <c:pt idx="1302">
                  <c:v>0.52456219999999998</c:v>
                </c:pt>
                <c:pt idx="1303">
                  <c:v>0.52507412499999995</c:v>
                </c:pt>
                <c:pt idx="1304">
                  <c:v>0.52609989599999996</c:v>
                </c:pt>
                <c:pt idx="1305">
                  <c:v>0.52635585799999995</c:v>
                </c:pt>
                <c:pt idx="1306">
                  <c:v>0.52686970499999997</c:v>
                </c:pt>
                <c:pt idx="1307">
                  <c:v>0.53276426899999996</c:v>
                </c:pt>
                <c:pt idx="1308">
                  <c:v>0.53302023099999996</c:v>
                </c:pt>
                <c:pt idx="1309">
                  <c:v>0.53430183600000003</c:v>
                </c:pt>
                <c:pt idx="1310">
                  <c:v>0.53917267899999999</c:v>
                </c:pt>
                <c:pt idx="1311">
                  <c:v>0.54096825999999998</c:v>
                </c:pt>
                <c:pt idx="1312">
                  <c:v>0.54148018399999998</c:v>
                </c:pt>
                <c:pt idx="1313">
                  <c:v>0.54378755999999995</c:v>
                </c:pt>
                <c:pt idx="1314">
                  <c:v>0.54404352199999995</c:v>
                </c:pt>
                <c:pt idx="1315">
                  <c:v>0.55737431900000001</c:v>
                </c:pt>
                <c:pt idx="1316">
                  <c:v>0.557886243</c:v>
                </c:pt>
                <c:pt idx="1317">
                  <c:v>0.55967977300000005</c:v>
                </c:pt>
                <c:pt idx="1318">
                  <c:v>0.56019361899999998</c:v>
                </c:pt>
                <c:pt idx="1319">
                  <c:v>0.56198714900000002</c:v>
                </c:pt>
                <c:pt idx="1320">
                  <c:v>0.56250112399999996</c:v>
                </c:pt>
                <c:pt idx="1321">
                  <c:v>0.56326888200000003</c:v>
                </c:pt>
                <c:pt idx="1322">
                  <c:v>0.56890953499999997</c:v>
                </c:pt>
                <c:pt idx="1323">
                  <c:v>0.56916549699999996</c:v>
                </c:pt>
                <c:pt idx="1324">
                  <c:v>0.57019126799999997</c:v>
                </c:pt>
                <c:pt idx="1325">
                  <c:v>0.57070306400000004</c:v>
                </c:pt>
                <c:pt idx="1326">
                  <c:v>0.57941897899999995</c:v>
                </c:pt>
                <c:pt idx="1327">
                  <c:v>0.57967494200000003</c:v>
                </c:pt>
                <c:pt idx="1328">
                  <c:v>0.582494242</c:v>
                </c:pt>
                <c:pt idx="1329">
                  <c:v>0.58352001399999998</c:v>
                </c:pt>
                <c:pt idx="1330">
                  <c:v>0.58531559399999999</c:v>
                </c:pt>
                <c:pt idx="1331">
                  <c:v>0.588902653</c:v>
                </c:pt>
                <c:pt idx="1332">
                  <c:v>0.5932617</c:v>
                </c:pt>
                <c:pt idx="1333">
                  <c:v>0.59462803399999997</c:v>
                </c:pt>
                <c:pt idx="1334">
                  <c:v>0.59479995799999996</c:v>
                </c:pt>
                <c:pt idx="1335">
                  <c:v>0.60283142000000001</c:v>
                </c:pt>
                <c:pt idx="1336">
                  <c:v>0.60454032099999999</c:v>
                </c:pt>
                <c:pt idx="1337">
                  <c:v>0.60488288700000004</c:v>
                </c:pt>
                <c:pt idx="1338">
                  <c:v>0.60522417100000003</c:v>
                </c:pt>
                <c:pt idx="1339">
                  <c:v>0.60642123000000003</c:v>
                </c:pt>
                <c:pt idx="1340">
                  <c:v>0.60693307100000005</c:v>
                </c:pt>
                <c:pt idx="1341">
                  <c:v>0.60727435500000004</c:v>
                </c:pt>
                <c:pt idx="1342">
                  <c:v>0.607787564</c:v>
                </c:pt>
                <c:pt idx="1343">
                  <c:v>0.608128848</c:v>
                </c:pt>
                <c:pt idx="1344">
                  <c:v>0.60915526499999995</c:v>
                </c:pt>
                <c:pt idx="1345">
                  <c:v>0.61103480700000001</c:v>
                </c:pt>
                <c:pt idx="1346">
                  <c:v>0.61479389200000001</c:v>
                </c:pt>
                <c:pt idx="1347">
                  <c:v>0.61564838399999999</c:v>
                </c:pt>
                <c:pt idx="1348">
                  <c:v>0.61667480100000005</c:v>
                </c:pt>
                <c:pt idx="1349">
                  <c:v>0.61940883599999996</c:v>
                </c:pt>
                <c:pt idx="1350">
                  <c:v>0.61975003500000003</c:v>
                </c:pt>
                <c:pt idx="1351">
                  <c:v>0.62026324300000002</c:v>
                </c:pt>
                <c:pt idx="1352">
                  <c:v>0.62094709400000003</c:v>
                </c:pt>
                <c:pt idx="1353">
                  <c:v>0.62214278499999998</c:v>
                </c:pt>
                <c:pt idx="1354">
                  <c:v>0.62265599400000005</c:v>
                </c:pt>
                <c:pt idx="1355">
                  <c:v>0.62316920200000003</c:v>
                </c:pt>
                <c:pt idx="1356">
                  <c:v>0.62351048600000003</c:v>
                </c:pt>
                <c:pt idx="1357">
                  <c:v>0.62368112899999995</c:v>
                </c:pt>
                <c:pt idx="1358">
                  <c:v>0.62914919899999999</c:v>
                </c:pt>
                <c:pt idx="1359">
                  <c:v>0.62966240699999998</c:v>
                </c:pt>
                <c:pt idx="1360">
                  <c:v>0.631030023</c:v>
                </c:pt>
                <c:pt idx="1361">
                  <c:v>0.63137130699999999</c:v>
                </c:pt>
                <c:pt idx="1362">
                  <c:v>0.63393469999999996</c:v>
                </c:pt>
                <c:pt idx="1363">
                  <c:v>0.63649809199999996</c:v>
                </c:pt>
                <c:pt idx="1364">
                  <c:v>0.64128359400000001</c:v>
                </c:pt>
                <c:pt idx="1365">
                  <c:v>0.64521331999999998</c:v>
                </c:pt>
                <c:pt idx="1366">
                  <c:v>0.64538532999999998</c:v>
                </c:pt>
                <c:pt idx="1367">
                  <c:v>0.655466891</c:v>
                </c:pt>
                <c:pt idx="1368">
                  <c:v>0.65837293600000002</c:v>
                </c:pt>
                <c:pt idx="1369">
                  <c:v>0.65871413499999998</c:v>
                </c:pt>
                <c:pt idx="1370">
                  <c:v>0.66025247799999998</c:v>
                </c:pt>
                <c:pt idx="1371">
                  <c:v>0.66059632599999996</c:v>
                </c:pt>
                <c:pt idx="1372">
                  <c:v>0.66213202000000004</c:v>
                </c:pt>
                <c:pt idx="1373">
                  <c:v>0.66281587099999995</c:v>
                </c:pt>
                <c:pt idx="1374">
                  <c:v>0.66332907900000004</c:v>
                </c:pt>
                <c:pt idx="1375">
                  <c:v>0.66349963599999995</c:v>
                </c:pt>
                <c:pt idx="1376">
                  <c:v>0.663670278</c:v>
                </c:pt>
                <c:pt idx="1377">
                  <c:v>0.67101925699999998</c:v>
                </c:pt>
                <c:pt idx="1378">
                  <c:v>0.67768430099999999</c:v>
                </c:pt>
                <c:pt idx="1379">
                  <c:v>0.67870943500000003</c:v>
                </c:pt>
                <c:pt idx="1380">
                  <c:v>0.67905063399999999</c:v>
                </c:pt>
                <c:pt idx="1381">
                  <c:v>0.68076226900000003</c:v>
                </c:pt>
                <c:pt idx="1382">
                  <c:v>0.68178603699999996</c:v>
                </c:pt>
                <c:pt idx="1383">
                  <c:v>0.69186759799999997</c:v>
                </c:pt>
                <c:pt idx="1384">
                  <c:v>0.694260349</c:v>
                </c:pt>
                <c:pt idx="1385">
                  <c:v>0.69853272700000002</c:v>
                </c:pt>
                <c:pt idx="1386">
                  <c:v>0.70041355100000002</c:v>
                </c:pt>
                <c:pt idx="1387">
                  <c:v>0.70058419299999997</c:v>
                </c:pt>
                <c:pt idx="1388">
                  <c:v>0.70092547800000005</c:v>
                </c:pt>
                <c:pt idx="1389">
                  <c:v>0.70314758600000005</c:v>
                </c:pt>
                <c:pt idx="1390">
                  <c:v>0.70348887000000004</c:v>
                </c:pt>
                <c:pt idx="1391">
                  <c:v>0.70417272099999995</c:v>
                </c:pt>
                <c:pt idx="1392">
                  <c:v>0.70485657099999999</c:v>
                </c:pt>
                <c:pt idx="1393">
                  <c:v>0.70491117299999995</c:v>
                </c:pt>
                <c:pt idx="1394">
                  <c:v>0.70844501400000004</c:v>
                </c:pt>
                <c:pt idx="1395">
                  <c:v>0.70912886399999997</c:v>
                </c:pt>
                <c:pt idx="1396">
                  <c:v>0.71003667699999995</c:v>
                </c:pt>
                <c:pt idx="1397">
                  <c:v>0.71015391400000005</c:v>
                </c:pt>
                <c:pt idx="1398">
                  <c:v>0.71117904899999995</c:v>
                </c:pt>
                <c:pt idx="1399">
                  <c:v>0.711521615</c:v>
                </c:pt>
                <c:pt idx="1400">
                  <c:v>0.71374508999999997</c:v>
                </c:pt>
                <c:pt idx="1401">
                  <c:v>0.71784682600000005</c:v>
                </c:pt>
                <c:pt idx="1402">
                  <c:v>0.71801473400000004</c:v>
                </c:pt>
                <c:pt idx="1403">
                  <c:v>0.72177518600000001</c:v>
                </c:pt>
                <c:pt idx="1404">
                  <c:v>0.72656068699999998</c:v>
                </c:pt>
                <c:pt idx="1405">
                  <c:v>0.72878151300000005</c:v>
                </c:pt>
                <c:pt idx="1406">
                  <c:v>0.72929472200000001</c:v>
                </c:pt>
                <c:pt idx="1407">
                  <c:v>0.72946536399999995</c:v>
                </c:pt>
                <c:pt idx="1408">
                  <c:v>0.73134490600000002</c:v>
                </c:pt>
                <c:pt idx="1409">
                  <c:v>0.73202875700000003</c:v>
                </c:pt>
                <c:pt idx="1410">
                  <c:v>0.73630105000000001</c:v>
                </c:pt>
                <c:pt idx="1411">
                  <c:v>0.73664233400000001</c:v>
                </c:pt>
                <c:pt idx="1412">
                  <c:v>0.73766875099999996</c:v>
                </c:pt>
                <c:pt idx="1413">
                  <c:v>0.73801003499999995</c:v>
                </c:pt>
                <c:pt idx="1414">
                  <c:v>0.73903508500000004</c:v>
                </c:pt>
                <c:pt idx="1415">
                  <c:v>0.74057607700000005</c:v>
                </c:pt>
                <c:pt idx="1416">
                  <c:v>0.74365002899999999</c:v>
                </c:pt>
                <c:pt idx="1417">
                  <c:v>0.75903038499999997</c:v>
                </c:pt>
                <c:pt idx="1418">
                  <c:v>0.75920094199999999</c:v>
                </c:pt>
                <c:pt idx="1419">
                  <c:v>0.75954359400000004</c:v>
                </c:pt>
                <c:pt idx="1420">
                  <c:v>0.760226077</c:v>
                </c:pt>
                <c:pt idx="1421">
                  <c:v>0.76056864300000004</c:v>
                </c:pt>
                <c:pt idx="1422">
                  <c:v>0.76894267199999999</c:v>
                </c:pt>
                <c:pt idx="1423">
                  <c:v>0.76945451300000001</c:v>
                </c:pt>
                <c:pt idx="1424">
                  <c:v>0.76962652300000001</c:v>
                </c:pt>
                <c:pt idx="1425">
                  <c:v>0.772189915</c:v>
                </c:pt>
                <c:pt idx="1426">
                  <c:v>0.77680349299999996</c:v>
                </c:pt>
                <c:pt idx="1427">
                  <c:v>0.79713999199999996</c:v>
                </c:pt>
                <c:pt idx="1428">
                  <c:v>0.80705227899999998</c:v>
                </c:pt>
                <c:pt idx="1429">
                  <c:v>0.81029952199999999</c:v>
                </c:pt>
                <c:pt idx="1430">
                  <c:v>0.811324657</c:v>
                </c:pt>
                <c:pt idx="1431">
                  <c:v>0.81457181499999998</c:v>
                </c:pt>
                <c:pt idx="1432">
                  <c:v>0.81935740199999996</c:v>
                </c:pt>
                <c:pt idx="1433">
                  <c:v>0.82602381199999997</c:v>
                </c:pt>
                <c:pt idx="1434">
                  <c:v>0.83149316399999995</c:v>
                </c:pt>
                <c:pt idx="1435">
                  <c:v>0.83183179900000004</c:v>
                </c:pt>
                <c:pt idx="1436">
                  <c:v>0.83422454999999995</c:v>
                </c:pt>
                <c:pt idx="1437">
                  <c:v>0.83576545700000004</c:v>
                </c:pt>
                <c:pt idx="1438">
                  <c:v>0.83610537399999996</c:v>
                </c:pt>
                <c:pt idx="1439">
                  <c:v>0.84448076999999999</c:v>
                </c:pt>
                <c:pt idx="1440">
                  <c:v>0.84482068700000001</c:v>
                </c:pt>
                <c:pt idx="1441">
                  <c:v>0.84533526299999995</c:v>
                </c:pt>
                <c:pt idx="1442">
                  <c:v>0.84584847100000005</c:v>
                </c:pt>
                <c:pt idx="1443">
                  <c:v>0.84635766300000004</c:v>
                </c:pt>
                <c:pt idx="1444">
                  <c:v>0.84892105600000001</c:v>
                </c:pt>
                <c:pt idx="1445">
                  <c:v>0.85011811500000001</c:v>
                </c:pt>
                <c:pt idx="1446">
                  <c:v>0.85028875699999995</c:v>
                </c:pt>
                <c:pt idx="1447">
                  <c:v>0.85268150799999998</c:v>
                </c:pt>
                <c:pt idx="1448">
                  <c:v>0.85387719900000003</c:v>
                </c:pt>
                <c:pt idx="1449">
                  <c:v>0.85473169199999999</c:v>
                </c:pt>
                <c:pt idx="1450">
                  <c:v>0.85644324100000002</c:v>
                </c:pt>
                <c:pt idx="1451">
                  <c:v>0.85951719299999996</c:v>
                </c:pt>
                <c:pt idx="1452">
                  <c:v>0.86173930099999996</c:v>
                </c:pt>
                <c:pt idx="1453">
                  <c:v>0.86225122799999998</c:v>
                </c:pt>
                <c:pt idx="1454">
                  <c:v>0.86259379400000002</c:v>
                </c:pt>
                <c:pt idx="1455">
                  <c:v>0.87284736500000004</c:v>
                </c:pt>
                <c:pt idx="1456">
                  <c:v>0.87626525099999997</c:v>
                </c:pt>
                <c:pt idx="1457">
                  <c:v>0.88498047800000001</c:v>
                </c:pt>
                <c:pt idx="1458">
                  <c:v>0.88515112100000004</c:v>
                </c:pt>
                <c:pt idx="1459">
                  <c:v>0.88566697800000005</c:v>
                </c:pt>
                <c:pt idx="1460">
                  <c:v>0.89027790600000001</c:v>
                </c:pt>
                <c:pt idx="1461">
                  <c:v>0.89062047200000005</c:v>
                </c:pt>
                <c:pt idx="1462">
                  <c:v>0.89831065099999996</c:v>
                </c:pt>
                <c:pt idx="1463">
                  <c:v>0.899335785</c:v>
                </c:pt>
                <c:pt idx="1464">
                  <c:v>0.89950634200000001</c:v>
                </c:pt>
                <c:pt idx="1465">
                  <c:v>0.90070340100000001</c:v>
                </c:pt>
                <c:pt idx="1466">
                  <c:v>0.90087669199999998</c:v>
                </c:pt>
                <c:pt idx="1467">
                  <c:v>0.90514633600000005</c:v>
                </c:pt>
                <c:pt idx="1468">
                  <c:v>0.90925072100000004</c:v>
                </c:pt>
                <c:pt idx="1469">
                  <c:v>0.90942136299999998</c:v>
                </c:pt>
                <c:pt idx="1470">
                  <c:v>0.91027585600000005</c:v>
                </c:pt>
                <c:pt idx="1471">
                  <c:v>0.91403493999999996</c:v>
                </c:pt>
                <c:pt idx="1472">
                  <c:v>0.91437750699999998</c:v>
                </c:pt>
                <c:pt idx="1473">
                  <c:v>0.91762338300000001</c:v>
                </c:pt>
                <c:pt idx="1474">
                  <c:v>0.91779539200000004</c:v>
                </c:pt>
                <c:pt idx="1475">
                  <c:v>0.91830458400000003</c:v>
                </c:pt>
                <c:pt idx="1476">
                  <c:v>0.92873281399999996</c:v>
                </c:pt>
                <c:pt idx="1477">
                  <c:v>0.944967577</c:v>
                </c:pt>
                <c:pt idx="1478">
                  <c:v>0.95163005700000003</c:v>
                </c:pt>
                <c:pt idx="1479">
                  <c:v>0.96342188600000001</c:v>
                </c:pt>
                <c:pt idx="1480">
                  <c:v>0.97094407100000002</c:v>
                </c:pt>
                <c:pt idx="1481">
                  <c:v>0.97128270699999997</c:v>
                </c:pt>
                <c:pt idx="1482">
                  <c:v>0.97247976599999997</c:v>
                </c:pt>
                <c:pt idx="1483">
                  <c:v>0.97402340700000001</c:v>
                </c:pt>
                <c:pt idx="1484">
                  <c:v>0.97436195699999995</c:v>
                </c:pt>
                <c:pt idx="1485">
                  <c:v>0.97777984200000001</c:v>
                </c:pt>
                <c:pt idx="1486">
                  <c:v>0.98512873599999995</c:v>
                </c:pt>
                <c:pt idx="1487">
                  <c:v>0.98598049399999999</c:v>
                </c:pt>
                <c:pt idx="1488">
                  <c:v>0.98683498700000005</c:v>
                </c:pt>
                <c:pt idx="1489">
                  <c:v>0.98734691399999996</c:v>
                </c:pt>
                <c:pt idx="1490">
                  <c:v>0.99845489200000004</c:v>
                </c:pt>
                <c:pt idx="1491">
                  <c:v>0.99897074900000005</c:v>
                </c:pt>
                <c:pt idx="1492">
                  <c:v>0.99999588399999995</c:v>
                </c:pt>
                <c:pt idx="1493">
                  <c:v>1.0003358010000001</c:v>
                </c:pt>
                <c:pt idx="1494">
                  <c:v>1.003240479</c:v>
                </c:pt>
                <c:pt idx="1495">
                  <c:v>1.0034137700000001</c:v>
                </c:pt>
                <c:pt idx="1496">
                  <c:v>1.012676898</c:v>
                </c:pt>
                <c:pt idx="1497">
                  <c:v>1.01349405</c:v>
                </c:pt>
                <c:pt idx="1498">
                  <c:v>1.0136646060000001</c:v>
                </c:pt>
                <c:pt idx="1499">
                  <c:v>1.015376241</c:v>
                </c:pt>
                <c:pt idx="1500">
                  <c:v>1.0158894489999999</c:v>
                </c:pt>
                <c:pt idx="1501">
                  <c:v>1.0165706510000001</c:v>
                </c:pt>
                <c:pt idx="1502">
                  <c:v>1.0234063360000001</c:v>
                </c:pt>
                <c:pt idx="1503">
                  <c:v>1.02443412</c:v>
                </c:pt>
                <c:pt idx="1504">
                  <c:v>1.025115236</c:v>
                </c:pt>
                <c:pt idx="1505">
                  <c:v>1.0264829369999999</c:v>
                </c:pt>
                <c:pt idx="1506">
                  <c:v>1.026657596</c:v>
                </c:pt>
                <c:pt idx="1507">
                  <c:v>1.0295609059999999</c:v>
                </c:pt>
                <c:pt idx="1508">
                  <c:v>1.0302446709999999</c:v>
                </c:pt>
                <c:pt idx="1509">
                  <c:v>1.033149348</c:v>
                </c:pt>
                <c:pt idx="1510">
                  <c:v>1.0471607220000001</c:v>
                </c:pt>
                <c:pt idx="1511">
                  <c:v>1.0514330140000001</c:v>
                </c:pt>
                <c:pt idx="1512">
                  <c:v>1.0526313549999999</c:v>
                </c:pt>
                <c:pt idx="1513">
                  <c:v>1.0529793039999999</c:v>
                </c:pt>
                <c:pt idx="1514">
                  <c:v>1.0548508999999999</c:v>
                </c:pt>
                <c:pt idx="1515">
                  <c:v>1.07040318</c:v>
                </c:pt>
                <c:pt idx="1516">
                  <c:v>1.0712656199999999</c:v>
                </c:pt>
                <c:pt idx="1517">
                  <c:v>1.0714348950000001</c:v>
                </c:pt>
                <c:pt idx="1518">
                  <c:v>1.075703257</c:v>
                </c:pt>
                <c:pt idx="1519">
                  <c:v>1.078434643</c:v>
                </c:pt>
                <c:pt idx="1520">
                  <c:v>1.080830043</c:v>
                </c:pt>
                <c:pt idx="1521">
                  <c:v>1.081512526</c:v>
                </c:pt>
                <c:pt idx="1522">
                  <c:v>1.0866393110000001</c:v>
                </c:pt>
                <c:pt idx="1523">
                  <c:v>1.086815251</c:v>
                </c:pt>
                <c:pt idx="1524">
                  <c:v>1.0869832450000001</c:v>
                </c:pt>
                <c:pt idx="1525">
                  <c:v>1.0900584790000001</c:v>
                </c:pt>
                <c:pt idx="1526">
                  <c:v>1.090747712</c:v>
                </c:pt>
                <c:pt idx="1527">
                  <c:v>1.0958664659999999</c:v>
                </c:pt>
                <c:pt idx="1528">
                  <c:v>1.099285633</c:v>
                </c:pt>
                <c:pt idx="1529">
                  <c:v>1.0994549929999999</c:v>
                </c:pt>
                <c:pt idx="1530">
                  <c:v>1.099802857</c:v>
                </c:pt>
                <c:pt idx="1531">
                  <c:v>1.100138759</c:v>
                </c:pt>
                <c:pt idx="1532">
                  <c:v>1.1085141549999999</c:v>
                </c:pt>
                <c:pt idx="1533">
                  <c:v>1.108854072</c:v>
                </c:pt>
                <c:pt idx="1534">
                  <c:v>1.1132996559999999</c:v>
                </c:pt>
                <c:pt idx="1535">
                  <c:v>1.117745325</c:v>
                </c:pt>
                <c:pt idx="1536">
                  <c:v>1.1191143079999999</c:v>
                </c:pt>
                <c:pt idx="1537">
                  <c:v>1.123386601</c:v>
                </c:pt>
                <c:pt idx="1538">
                  <c:v>1.124924944</c:v>
                </c:pt>
                <c:pt idx="1539">
                  <c:v>1.1266311950000001</c:v>
                </c:pt>
                <c:pt idx="1540">
                  <c:v>1.1269711120000001</c:v>
                </c:pt>
                <c:pt idx="1541">
                  <c:v>1.1274856879999999</c:v>
                </c:pt>
                <c:pt idx="1542">
                  <c:v>1.128342744</c:v>
                </c:pt>
                <c:pt idx="1543">
                  <c:v>1.128849287</c:v>
                </c:pt>
                <c:pt idx="1544">
                  <c:v>1.14253809</c:v>
                </c:pt>
                <c:pt idx="1545">
                  <c:v>1.143548528</c:v>
                </c:pt>
                <c:pt idx="1546">
                  <c:v>1.1454280699999999</c:v>
                </c:pt>
                <c:pt idx="1547">
                  <c:v>1.1456053770000001</c:v>
                </c:pt>
                <c:pt idx="1548">
                  <c:v>1.146453119</c:v>
                </c:pt>
                <c:pt idx="1549">
                  <c:v>1.1591141380000001</c:v>
                </c:pt>
                <c:pt idx="1550">
                  <c:v>1.1601245760000001</c:v>
                </c:pt>
                <c:pt idx="1551">
                  <c:v>1.16405567</c:v>
                </c:pt>
                <c:pt idx="1552">
                  <c:v>1.1642316100000001</c:v>
                </c:pt>
                <c:pt idx="1553">
                  <c:v>1.1645688780000001</c:v>
                </c:pt>
                <c:pt idx="1554">
                  <c:v>1.1666243599999999</c:v>
                </c:pt>
                <c:pt idx="1555">
                  <c:v>1.171580504</c:v>
                </c:pt>
                <c:pt idx="1556">
                  <c:v>1.1732841060000001</c:v>
                </c:pt>
                <c:pt idx="1557">
                  <c:v>1.1739719719999999</c:v>
                </c:pt>
                <c:pt idx="1558">
                  <c:v>1.174486462</c:v>
                </c:pt>
                <c:pt idx="1559">
                  <c:v>1.1749996709999999</c:v>
                </c:pt>
                <c:pt idx="1560">
                  <c:v>1.1790987580000001</c:v>
                </c:pt>
                <c:pt idx="1561">
                  <c:v>1.1799505159999999</c:v>
                </c:pt>
                <c:pt idx="1562">
                  <c:v>1.180126456</c:v>
                </c:pt>
                <c:pt idx="1563">
                  <c:v>1.1826831840000001</c:v>
                </c:pt>
                <c:pt idx="1564">
                  <c:v>1.1833737</c:v>
                </c:pt>
                <c:pt idx="1565">
                  <c:v>1.183552374</c:v>
                </c:pt>
                <c:pt idx="1566">
                  <c:v>1.18388161</c:v>
                </c:pt>
                <c:pt idx="1567">
                  <c:v>1.1924249140000001</c:v>
                </c:pt>
                <c:pt idx="1568">
                  <c:v>1.1926008539999999</c:v>
                </c:pt>
                <c:pt idx="1569">
                  <c:v>1.1946497570000001</c:v>
                </c:pt>
                <c:pt idx="1570">
                  <c:v>1.198578116</c:v>
                </c:pt>
                <c:pt idx="1571">
                  <c:v>1.1997778240000001</c:v>
                </c:pt>
                <c:pt idx="1572">
                  <c:v>1.201154839</c:v>
                </c:pt>
                <c:pt idx="1573">
                  <c:v>1.2013161670000001</c:v>
                </c:pt>
                <c:pt idx="1574">
                  <c:v>1.201484075</c:v>
                </c:pt>
                <c:pt idx="1575">
                  <c:v>1.2018293760000001</c:v>
                </c:pt>
                <c:pt idx="1576">
                  <c:v>1.2021692930000001</c:v>
                </c:pt>
                <c:pt idx="1577">
                  <c:v>1.2127654299999999</c:v>
                </c:pt>
                <c:pt idx="1578">
                  <c:v>1.2218233089999999</c:v>
                </c:pt>
                <c:pt idx="1579">
                  <c:v>1.2254117520000001</c:v>
                </c:pt>
                <c:pt idx="1580">
                  <c:v>1.226092953</c:v>
                </c:pt>
                <c:pt idx="1581">
                  <c:v>1.227463303</c:v>
                </c:pt>
                <c:pt idx="1582">
                  <c:v>1.231732947</c:v>
                </c:pt>
                <c:pt idx="1583">
                  <c:v>1.238912566</c:v>
                </c:pt>
                <c:pt idx="1584">
                  <c:v>1.239264446</c:v>
                </c:pt>
                <c:pt idx="1585">
                  <c:v>1.240110906</c:v>
                </c:pt>
                <c:pt idx="1586">
                  <c:v>1.24455256</c:v>
                </c:pt>
                <c:pt idx="1587">
                  <c:v>1.2447204679999999</c:v>
                </c:pt>
                <c:pt idx="1588">
                  <c:v>1.2515588870000001</c:v>
                </c:pt>
                <c:pt idx="1589">
                  <c:v>1.253779714</c:v>
                </c:pt>
                <c:pt idx="1590">
                  <c:v>1.2563404579999999</c:v>
                </c:pt>
                <c:pt idx="1591">
                  <c:v>1.257366875</c:v>
                </c:pt>
                <c:pt idx="1592">
                  <c:v>1.2606180490000001</c:v>
                </c:pt>
                <c:pt idx="1593">
                  <c:v>1.2618124580000001</c:v>
                </c:pt>
                <c:pt idx="1594">
                  <c:v>1.261980452</c:v>
                </c:pt>
                <c:pt idx="1595">
                  <c:v>1.2712088880000001</c:v>
                </c:pt>
                <c:pt idx="1596">
                  <c:v>1.275651823</c:v>
                </c:pt>
                <c:pt idx="1597">
                  <c:v>1.2761676799999999</c:v>
                </c:pt>
                <c:pt idx="1598">
                  <c:v>1.276508964</c:v>
                </c:pt>
                <c:pt idx="1599">
                  <c:v>1.281975667</c:v>
                </c:pt>
                <c:pt idx="1600">
                  <c:v>1.2905336679999999</c:v>
                </c:pt>
                <c:pt idx="1601">
                  <c:v>1.2915480370000001</c:v>
                </c:pt>
                <c:pt idx="1602">
                  <c:v>1.2956604540000001</c:v>
                </c:pt>
                <c:pt idx="1603">
                  <c:v>1.2966748219999999</c:v>
                </c:pt>
                <c:pt idx="1604">
                  <c:v>1.29963282</c:v>
                </c:pt>
                <c:pt idx="1605">
                  <c:v>1.303341233</c:v>
                </c:pt>
                <c:pt idx="1606">
                  <c:v>1.311370046</c:v>
                </c:pt>
                <c:pt idx="1607">
                  <c:v>1.3125697540000001</c:v>
                </c:pt>
                <c:pt idx="1608">
                  <c:v>1.313252238</c:v>
                </c:pt>
                <c:pt idx="1609">
                  <c:v>1.314790581</c:v>
                </c:pt>
                <c:pt idx="1610">
                  <c:v>1.3211130579999999</c:v>
                </c:pt>
                <c:pt idx="1611">
                  <c:v>1.325725268</c:v>
                </c:pt>
                <c:pt idx="1612">
                  <c:v>1.3259092400000001</c:v>
                </c:pt>
                <c:pt idx="1613">
                  <c:v>1.3320478309999999</c:v>
                </c:pt>
                <c:pt idx="1614">
                  <c:v>1.334103313</c:v>
                </c:pt>
                <c:pt idx="1615">
                  <c:v>1.3382036820000001</c:v>
                </c:pt>
                <c:pt idx="1616">
                  <c:v>1.341105625</c:v>
                </c:pt>
                <c:pt idx="1617">
                  <c:v>1.3412895970000001</c:v>
                </c:pt>
                <c:pt idx="1618">
                  <c:v>1.3418028049999999</c:v>
                </c:pt>
                <c:pt idx="1619">
                  <c:v>1.3477840830000001</c:v>
                </c:pt>
                <c:pt idx="1620">
                  <c:v>1.351704496</c:v>
                </c:pt>
                <c:pt idx="1621">
                  <c:v>1.3535853200000001</c:v>
                </c:pt>
                <c:pt idx="1622">
                  <c:v>1.3544491270000001</c:v>
                </c:pt>
                <c:pt idx="1623">
                  <c:v>1.354961053</c:v>
                </c:pt>
                <c:pt idx="1624">
                  <c:v>1.3573538039999999</c:v>
                </c:pt>
                <c:pt idx="1625">
                  <c:v>1.3588814659999999</c:v>
                </c:pt>
                <c:pt idx="1626">
                  <c:v>1.3593933069999999</c:v>
                </c:pt>
                <c:pt idx="1627">
                  <c:v>1.359746554</c:v>
                </c:pt>
                <c:pt idx="1628">
                  <c:v>1.360258481</c:v>
                </c:pt>
                <c:pt idx="1629">
                  <c:v>1.3607716889999999</c:v>
                </c:pt>
                <c:pt idx="1630">
                  <c:v>1.360942246</c:v>
                </c:pt>
                <c:pt idx="1631">
                  <c:v>1.3672660910000001</c:v>
                </c:pt>
                <c:pt idx="1632">
                  <c:v>1.367607375</c:v>
                </c:pt>
                <c:pt idx="1633">
                  <c:v>1.3708546180000001</c:v>
                </c:pt>
                <c:pt idx="1634">
                  <c:v>1.3716997120000001</c:v>
                </c:pt>
                <c:pt idx="1635">
                  <c:v>1.375810762</c:v>
                </c:pt>
                <c:pt idx="1636">
                  <c:v>1.3766545729999999</c:v>
                </c:pt>
                <c:pt idx="1637">
                  <c:v>1.3768358110000001</c:v>
                </c:pt>
                <c:pt idx="1638">
                  <c:v>1.3775196620000001</c:v>
                </c:pt>
                <c:pt idx="1639">
                  <c:v>1.3787060390000001</c:v>
                </c:pt>
                <c:pt idx="1640">
                  <c:v>1.3804136579999999</c:v>
                </c:pt>
                <c:pt idx="1641">
                  <c:v>1.3961472610000001</c:v>
                </c:pt>
                <c:pt idx="1642">
                  <c:v>1.397161715</c:v>
                </c:pt>
                <c:pt idx="1643">
                  <c:v>1.3973429530000001</c:v>
                </c:pt>
                <c:pt idx="1644">
                  <c:v>1.3980188570000001</c:v>
                </c:pt>
                <c:pt idx="1645">
                  <c:v>1.4105025680000001</c:v>
                </c:pt>
                <c:pt idx="1646">
                  <c:v>1.4197216909999999</c:v>
                </c:pt>
                <c:pt idx="1647">
                  <c:v>1.420404174</c:v>
                </c:pt>
                <c:pt idx="1648">
                  <c:v>1.424848476</c:v>
                </c:pt>
                <c:pt idx="1649">
                  <c:v>1.425199074</c:v>
                </c:pt>
                <c:pt idx="1650">
                  <c:v>1.4453608309999999</c:v>
                </c:pt>
                <c:pt idx="1651">
                  <c:v>1.4549288419999999</c:v>
                </c:pt>
                <c:pt idx="1652">
                  <c:v>1.4607397339999999</c:v>
                </c:pt>
                <c:pt idx="1653">
                  <c:v>1.4616037120000001</c:v>
                </c:pt>
                <c:pt idx="1654">
                  <c:v>1.4621170910000001</c:v>
                </c:pt>
                <c:pt idx="1655">
                  <c:v>1.4622784200000001</c:v>
                </c:pt>
                <c:pt idx="1656">
                  <c:v>1.4627864159999999</c:v>
                </c:pt>
                <c:pt idx="1657">
                  <c:v>1.463130434</c:v>
                </c:pt>
                <c:pt idx="1658">
                  <c:v>1.463299795</c:v>
                </c:pt>
                <c:pt idx="1659">
                  <c:v>1.463470437</c:v>
                </c:pt>
                <c:pt idx="1660">
                  <c:v>1.463709097</c:v>
                </c:pt>
                <c:pt idx="1661">
                  <c:v>1.4639971460000001</c:v>
                </c:pt>
                <c:pt idx="1662">
                  <c:v>1.464495828</c:v>
                </c:pt>
                <c:pt idx="1663">
                  <c:v>1.4646664700000001</c:v>
                </c:pt>
                <c:pt idx="1664">
                  <c:v>1.4648371979999999</c:v>
                </c:pt>
                <c:pt idx="1665">
                  <c:v>1.4651838660000001</c:v>
                </c:pt>
                <c:pt idx="1666">
                  <c:v>1.465350492</c:v>
                </c:pt>
                <c:pt idx="1667">
                  <c:v>1.465690494</c:v>
                </c:pt>
                <c:pt idx="1668">
                  <c:v>1.465862504</c:v>
                </c:pt>
                <c:pt idx="1669">
                  <c:v>1.4660398969999999</c:v>
                </c:pt>
                <c:pt idx="1670">
                  <c:v>1.4662065230000001</c:v>
                </c:pt>
                <c:pt idx="1671">
                  <c:v>1.466375883</c:v>
                </c:pt>
                <c:pt idx="1672">
                  <c:v>1.466546525</c:v>
                </c:pt>
                <c:pt idx="1673">
                  <c:v>1.466718535</c:v>
                </c:pt>
                <c:pt idx="1674">
                  <c:v>1.466886613</c:v>
                </c:pt>
                <c:pt idx="1675">
                  <c:v>1.467230547</c:v>
                </c:pt>
                <c:pt idx="1676">
                  <c:v>1.467401274</c:v>
                </c:pt>
                <c:pt idx="1677">
                  <c:v>1.467741277</c:v>
                </c:pt>
                <c:pt idx="1678">
                  <c:v>1.4679132859999999</c:v>
                </c:pt>
                <c:pt idx="1679">
                  <c:v>1.4679145680000001</c:v>
                </c:pt>
                <c:pt idx="1680">
                  <c:v>1.4680852959999999</c:v>
                </c:pt>
                <c:pt idx="1681">
                  <c:v>1.468254656</c:v>
                </c:pt>
                <c:pt idx="1682">
                  <c:v>1.46859859</c:v>
                </c:pt>
                <c:pt idx="1683">
                  <c:v>1.468941327</c:v>
                </c:pt>
                <c:pt idx="1684">
                  <c:v>1.4691093200000001</c:v>
                </c:pt>
                <c:pt idx="1685">
                  <c:v>1.4692799620000001</c:v>
                </c:pt>
                <c:pt idx="1686">
                  <c:v>1.4703053530000001</c:v>
                </c:pt>
                <c:pt idx="1687">
                  <c:v>1.470649372</c:v>
                </c:pt>
                <c:pt idx="1688">
                  <c:v>1.4709920240000001</c:v>
                </c:pt>
                <c:pt idx="1689">
                  <c:v>1.4715054030000001</c:v>
                </c:pt>
                <c:pt idx="1690">
                  <c:v>1.4716733959999999</c:v>
                </c:pt>
                <c:pt idx="1691">
                  <c:v>1.4720144150000001</c:v>
                </c:pt>
                <c:pt idx="1692">
                  <c:v>1.4723587849999999</c:v>
                </c:pt>
                <c:pt idx="1693">
                  <c:v>1.4725280599999999</c:v>
                </c:pt>
                <c:pt idx="1694">
                  <c:v>1.472698788</c:v>
                </c:pt>
                <c:pt idx="1695">
                  <c:v>1.473042806</c:v>
                </c:pt>
                <c:pt idx="1696">
                  <c:v>1.473213449</c:v>
                </c:pt>
                <c:pt idx="1697">
                  <c:v>1.4739654879999999</c:v>
                </c:pt>
                <c:pt idx="1698">
                  <c:v>1.4740681120000001</c:v>
                </c:pt>
                <c:pt idx="1699">
                  <c:v>1.4742388399999999</c:v>
                </c:pt>
                <c:pt idx="1700">
                  <c:v>1.4745788419999999</c:v>
                </c:pt>
                <c:pt idx="1701">
                  <c:v>1.474922861</c:v>
                </c:pt>
                <c:pt idx="1702">
                  <c:v>1.475092136</c:v>
                </c:pt>
                <c:pt idx="1703">
                  <c:v>1.4754361549999999</c:v>
                </c:pt>
                <c:pt idx="1704">
                  <c:v>1.475606883</c:v>
                </c:pt>
                <c:pt idx="1705">
                  <c:v>1.475777525</c:v>
                </c:pt>
                <c:pt idx="1706">
                  <c:v>1.4759468849999999</c:v>
                </c:pt>
                <c:pt idx="1707">
                  <c:v>1.4762909040000001</c:v>
                </c:pt>
                <c:pt idx="1708">
                  <c:v>1.4764588970000001</c:v>
                </c:pt>
                <c:pt idx="1709">
                  <c:v>1.476529564</c:v>
                </c:pt>
                <c:pt idx="1710">
                  <c:v>1.476632189</c:v>
                </c:pt>
                <c:pt idx="1711">
                  <c:v>1.476972191</c:v>
                </c:pt>
                <c:pt idx="1712">
                  <c:v>1.4773135610000001</c:v>
                </c:pt>
                <c:pt idx="1713">
                  <c:v>1.47748557</c:v>
                </c:pt>
                <c:pt idx="1714">
                  <c:v>1.478000231</c:v>
                </c:pt>
                <c:pt idx="1715">
                  <c:v>1.4781709590000001</c:v>
                </c:pt>
                <c:pt idx="1716">
                  <c:v>1.4785122429999999</c:v>
                </c:pt>
                <c:pt idx="1717">
                  <c:v>1.4786842529999999</c:v>
                </c:pt>
                <c:pt idx="1718">
                  <c:v>1.4790269039999999</c:v>
                </c:pt>
                <c:pt idx="1719">
                  <c:v>1.4790775759999999</c:v>
                </c:pt>
                <c:pt idx="1720">
                  <c:v>1.4791975470000001</c:v>
                </c:pt>
                <c:pt idx="1721">
                  <c:v>1.4795388309999999</c:v>
                </c:pt>
                <c:pt idx="1722">
                  <c:v>1.479706824</c:v>
                </c:pt>
                <c:pt idx="1723">
                  <c:v>1.4798774669999999</c:v>
                </c:pt>
                <c:pt idx="1724">
                  <c:v>1.4803920420000001</c:v>
                </c:pt>
                <c:pt idx="1725">
                  <c:v>1.485007414</c:v>
                </c:pt>
                <c:pt idx="1726">
                  <c:v>1.48569135</c:v>
                </c:pt>
                <c:pt idx="1727">
                  <c:v>1.485861992</c:v>
                </c:pt>
                <c:pt idx="1728">
                  <c:v>1.486031267</c:v>
                </c:pt>
                <c:pt idx="1729">
                  <c:v>1.486201909</c:v>
                </c:pt>
                <c:pt idx="1730">
                  <c:v>1.4863751999999999</c:v>
                </c:pt>
                <c:pt idx="1731">
                  <c:v>1.4865472099999999</c:v>
                </c:pt>
                <c:pt idx="1732">
                  <c:v>1.4867164850000001</c:v>
                </c:pt>
                <c:pt idx="1733">
                  <c:v>1.4867685230000001</c:v>
                </c:pt>
                <c:pt idx="1734">
                  <c:v>1.4868871269999999</c:v>
                </c:pt>
                <c:pt idx="1735">
                  <c:v>1.487056487</c:v>
                </c:pt>
                <c:pt idx="1736">
                  <c:v>1.488254999</c:v>
                </c:pt>
                <c:pt idx="1737">
                  <c:v>1.4884229069999999</c:v>
                </c:pt>
                <c:pt idx="1738">
                  <c:v>1.488594916</c:v>
                </c:pt>
                <c:pt idx="1739">
                  <c:v>1.4887655580000001</c:v>
                </c:pt>
                <c:pt idx="1740">
                  <c:v>1.488938849</c:v>
                </c:pt>
                <c:pt idx="1741">
                  <c:v>1.4891068430000001</c:v>
                </c:pt>
                <c:pt idx="1742">
                  <c:v>1.489281501</c:v>
                </c:pt>
                <c:pt idx="1743">
                  <c:v>1.4894521430000001</c:v>
                </c:pt>
                <c:pt idx="1744">
                  <c:v>1.4896227849999999</c:v>
                </c:pt>
                <c:pt idx="1745">
                  <c:v>1.4897934269999999</c:v>
                </c:pt>
                <c:pt idx="1746">
                  <c:v>1.4899640700000001</c:v>
                </c:pt>
                <c:pt idx="1747">
                  <c:v>1.4901347119999999</c:v>
                </c:pt>
                <c:pt idx="1748">
                  <c:v>1.4903039870000001</c:v>
                </c:pt>
                <c:pt idx="1749">
                  <c:v>1.4904746289999999</c:v>
                </c:pt>
                <c:pt idx="1750">
                  <c:v>1.49064792</c:v>
                </c:pt>
                <c:pt idx="1751">
                  <c:v>1.490815913</c:v>
                </c:pt>
                <c:pt idx="1752">
                  <c:v>1.490989205</c:v>
                </c:pt>
                <c:pt idx="1753">
                  <c:v>1.491159847</c:v>
                </c:pt>
                <c:pt idx="1754">
                  <c:v>1.491331856</c:v>
                </c:pt>
                <c:pt idx="1755">
                  <c:v>1.491502498</c:v>
                </c:pt>
                <c:pt idx="1756">
                  <c:v>1.4916731409999999</c:v>
                </c:pt>
                <c:pt idx="1757">
                  <c:v>1.491843783</c:v>
                </c:pt>
                <c:pt idx="1758">
                  <c:v>1.492186434</c:v>
                </c:pt>
                <c:pt idx="1759">
                  <c:v>1.4923570770000001</c:v>
                </c:pt>
                <c:pt idx="1760">
                  <c:v>1.4926969940000001</c:v>
                </c:pt>
                <c:pt idx="1761">
                  <c:v>1.492869003</c:v>
                </c:pt>
                <c:pt idx="1762">
                  <c:v>1.4932089200000001</c:v>
                </c:pt>
                <c:pt idx="1763">
                  <c:v>1.4933822109999999</c:v>
                </c:pt>
                <c:pt idx="1764">
                  <c:v>1.493550205</c:v>
                </c:pt>
                <c:pt idx="1765">
                  <c:v>1.493895505</c:v>
                </c:pt>
                <c:pt idx="1766">
                  <c:v>1.494234141</c:v>
                </c:pt>
                <c:pt idx="1767">
                  <c:v>1.4944100810000001</c:v>
                </c:pt>
                <c:pt idx="1768">
                  <c:v>1.4947513649999999</c:v>
                </c:pt>
                <c:pt idx="1769">
                  <c:v>1.4950886329999999</c:v>
                </c:pt>
                <c:pt idx="1770">
                  <c:v>1.49526201</c:v>
                </c:pt>
                <c:pt idx="1771">
                  <c:v>1.4956019270000001</c:v>
                </c:pt>
                <c:pt idx="1772">
                  <c:v>1.4957752179999999</c:v>
                </c:pt>
                <c:pt idx="1773">
                  <c:v>1.495943212</c:v>
                </c:pt>
                <c:pt idx="1774">
                  <c:v>1.49679779</c:v>
                </c:pt>
                <c:pt idx="1775">
                  <c:v>1.496972363</c:v>
                </c:pt>
                <c:pt idx="1776">
                  <c:v>1.4973136469999999</c:v>
                </c:pt>
                <c:pt idx="1777">
                  <c:v>1.497484289</c:v>
                </c:pt>
                <c:pt idx="1778">
                  <c:v>1.4976549320000001</c:v>
                </c:pt>
                <c:pt idx="1779">
                  <c:v>1.497824292</c:v>
                </c:pt>
                <c:pt idx="1780">
                  <c:v>1.4979975830000001</c:v>
                </c:pt>
                <c:pt idx="1781">
                  <c:v>1.4981682249999999</c:v>
                </c:pt>
                <c:pt idx="1782">
                  <c:v>1.4985068610000001</c:v>
                </c:pt>
                <c:pt idx="1783">
                  <c:v>1.4986801519999999</c:v>
                </c:pt>
                <c:pt idx="1784">
                  <c:v>1.4990228029999999</c:v>
                </c:pt>
                <c:pt idx="1785">
                  <c:v>1.499193446</c:v>
                </c:pt>
                <c:pt idx="1786">
                  <c:v>1.4993614390000001</c:v>
                </c:pt>
                <c:pt idx="1787">
                  <c:v>1.499586683</c:v>
                </c:pt>
                <c:pt idx="1788">
                  <c:v>1.4997066539999999</c:v>
                </c:pt>
                <c:pt idx="1789">
                  <c:v>1.4998746469999999</c:v>
                </c:pt>
                <c:pt idx="1790">
                  <c:v>1.500217299</c:v>
                </c:pt>
                <c:pt idx="1791">
                  <c:v>1.500389223</c:v>
                </c:pt>
                <c:pt idx="1792">
                  <c:v>1.500731874</c:v>
                </c:pt>
                <c:pt idx="1793">
                  <c:v>1.5009025170000001</c:v>
                </c:pt>
                <c:pt idx="1794">
                  <c:v>1.5010705099999999</c:v>
                </c:pt>
                <c:pt idx="1795">
                  <c:v>1.501243801</c:v>
                </c:pt>
                <c:pt idx="1796">
                  <c:v>1.5014158099999999</c:v>
                </c:pt>
                <c:pt idx="1797">
                  <c:v>1.501583718</c:v>
                </c:pt>
                <c:pt idx="1798">
                  <c:v>1.501925003</c:v>
                </c:pt>
                <c:pt idx="1799">
                  <c:v>1.5020996609999999</c:v>
                </c:pt>
                <c:pt idx="1800">
                  <c:v>1.502150332</c:v>
                </c:pt>
                <c:pt idx="1801">
                  <c:v>1.502270303</c:v>
                </c:pt>
                <c:pt idx="1802">
                  <c:v>1.502438296</c:v>
                </c:pt>
                <c:pt idx="1803">
                  <c:v>1.5026115879999999</c:v>
                </c:pt>
                <c:pt idx="1804">
                  <c:v>1.502779581</c:v>
                </c:pt>
                <c:pt idx="1805">
                  <c:v>1.5029528720000001</c:v>
                </c:pt>
                <c:pt idx="1806">
                  <c:v>1.5031222319999999</c:v>
                </c:pt>
                <c:pt idx="1807">
                  <c:v>1.5032955240000001</c:v>
                </c:pt>
                <c:pt idx="1808">
                  <c:v>1.5034635169999999</c:v>
                </c:pt>
                <c:pt idx="1809">
                  <c:v>1.503806083</c:v>
                </c:pt>
                <c:pt idx="1810">
                  <c:v>1.503976725</c:v>
                </c:pt>
                <c:pt idx="1811">
                  <c:v>1.5041500160000001</c:v>
                </c:pt>
                <c:pt idx="1812">
                  <c:v>1.50431801</c:v>
                </c:pt>
                <c:pt idx="1813">
                  <c:v>1.5044913010000001</c:v>
                </c:pt>
                <c:pt idx="1814">
                  <c:v>1.504660661</c:v>
                </c:pt>
                <c:pt idx="1815">
                  <c:v>1.504715263</c:v>
                </c:pt>
                <c:pt idx="1816">
                  <c:v>1.505005876</c:v>
                </c:pt>
                <c:pt idx="1817">
                  <c:v>1.505175237</c:v>
                </c:pt>
                <c:pt idx="1818">
                  <c:v>1.505345793</c:v>
                </c:pt>
                <c:pt idx="1819">
                  <c:v>1.505515154</c:v>
                </c:pt>
                <c:pt idx="1820">
                  <c:v>1.5056857960000001</c:v>
                </c:pt>
                <c:pt idx="1821">
                  <c:v>1.5058590869999999</c:v>
                </c:pt>
                <c:pt idx="1822">
                  <c:v>1.506026995</c:v>
                </c:pt>
                <c:pt idx="1823">
                  <c:v>1.5062002860000001</c:v>
                </c:pt>
                <c:pt idx="1824">
                  <c:v>1.5063696470000001</c:v>
                </c:pt>
                <c:pt idx="1825">
                  <c:v>1.506544219</c:v>
                </c:pt>
                <c:pt idx="1826">
                  <c:v>1.5068814880000001</c:v>
                </c:pt>
                <c:pt idx="1827">
                  <c:v>1.507053497</c:v>
                </c:pt>
                <c:pt idx="1828">
                  <c:v>1.5072267880000001</c:v>
                </c:pt>
                <c:pt idx="1829">
                  <c:v>1.5072827579999999</c:v>
                </c:pt>
                <c:pt idx="1830">
                  <c:v>1.507394782</c:v>
                </c:pt>
                <c:pt idx="1831">
                  <c:v>1.507565338</c:v>
                </c:pt>
                <c:pt idx="1832">
                  <c:v>1.5077387149999999</c:v>
                </c:pt>
                <c:pt idx="1833">
                  <c:v>1.507906623</c:v>
                </c:pt>
                <c:pt idx="1834">
                  <c:v>1.5080786319999999</c:v>
                </c:pt>
                <c:pt idx="1835">
                  <c:v>1.508251923</c:v>
                </c:pt>
                <c:pt idx="1836">
                  <c:v>1.5084198310000001</c:v>
                </c:pt>
                <c:pt idx="1837">
                  <c:v>1.5085904729999999</c:v>
                </c:pt>
                <c:pt idx="1838">
                  <c:v>1.508933125</c:v>
                </c:pt>
                <c:pt idx="1839">
                  <c:v>1.509105049</c:v>
                </c:pt>
                <c:pt idx="1840">
                  <c:v>1.5091064160000001</c:v>
                </c:pt>
                <c:pt idx="1841">
                  <c:v>1.5092743239999999</c:v>
                </c:pt>
                <c:pt idx="1842">
                  <c:v>1.509444966</c:v>
                </c:pt>
                <c:pt idx="1843">
                  <c:v>1.5096169749999999</c:v>
                </c:pt>
                <c:pt idx="1844">
                  <c:v>1.5099609089999999</c:v>
                </c:pt>
                <c:pt idx="1845">
                  <c:v>1.5101288159999999</c:v>
                </c:pt>
                <c:pt idx="1846">
                  <c:v>1.5108127520000001</c:v>
                </c:pt>
                <c:pt idx="1847">
                  <c:v>1.510983309</c:v>
                </c:pt>
                <c:pt idx="1848">
                  <c:v>1.5111539510000001</c:v>
                </c:pt>
                <c:pt idx="1849">
                  <c:v>1.5114966030000001</c:v>
                </c:pt>
                <c:pt idx="1850">
                  <c:v>1.5116711759999999</c:v>
                </c:pt>
                <c:pt idx="1851">
                  <c:v>1.511840536</c:v>
                </c:pt>
                <c:pt idx="1852">
                  <c:v>1.512181735</c:v>
                </c:pt>
                <c:pt idx="1853">
                  <c:v>1.512351096</c:v>
                </c:pt>
                <c:pt idx="1854">
                  <c:v>1.512521652</c:v>
                </c:pt>
                <c:pt idx="1855">
                  <c:v>1.512865586</c:v>
                </c:pt>
                <c:pt idx="1856">
                  <c:v>1.5130349460000001</c:v>
                </c:pt>
                <c:pt idx="1857">
                  <c:v>1.5132055879999999</c:v>
                </c:pt>
                <c:pt idx="1858">
                  <c:v>1.5133761450000001</c:v>
                </c:pt>
                <c:pt idx="1859">
                  <c:v>1.5135495219999999</c:v>
                </c:pt>
                <c:pt idx="1860">
                  <c:v>1.51371743</c:v>
                </c:pt>
                <c:pt idx="1861">
                  <c:v>1.5138907210000001</c:v>
                </c:pt>
                <c:pt idx="1862">
                  <c:v>1.5142306379999999</c:v>
                </c:pt>
                <c:pt idx="1863">
                  <c:v>1.514404015</c:v>
                </c:pt>
                <c:pt idx="1864">
                  <c:v>1.51457329</c:v>
                </c:pt>
                <c:pt idx="1865">
                  <c:v>1.514743932</c:v>
                </c:pt>
                <c:pt idx="1866">
                  <c:v>1.5150878649999999</c:v>
                </c:pt>
                <c:pt idx="1867">
                  <c:v>1.515255773</c:v>
                </c:pt>
                <c:pt idx="1868">
                  <c:v>1.5154290640000001</c:v>
                </c:pt>
                <c:pt idx="1869">
                  <c:v>1.5157690669999999</c:v>
                </c:pt>
                <c:pt idx="1870">
                  <c:v>1.515939623</c:v>
                </c:pt>
                <c:pt idx="1871">
                  <c:v>1.516113</c:v>
                </c:pt>
                <c:pt idx="1872">
                  <c:v>1.709172194</c:v>
                </c:pt>
                <c:pt idx="1873">
                  <c:v>2.1031505159999999</c:v>
                </c:pt>
                <c:pt idx="1874">
                  <c:v>2.303873136</c:v>
                </c:pt>
                <c:pt idx="1875">
                  <c:v>2.4985043170000001</c:v>
                </c:pt>
                <c:pt idx="1876">
                  <c:v>2.6916617760000001</c:v>
                </c:pt>
                <c:pt idx="1877">
                  <c:v>3.4825658850000001</c:v>
                </c:pt>
                <c:pt idx="1878">
                  <c:v>3.6771970660000002</c:v>
                </c:pt>
                <c:pt idx="1879">
                  <c:v>3.8719265119999999</c:v>
                </c:pt>
                <c:pt idx="1880">
                  <c:v>4.0711754109999996</c:v>
                </c:pt>
                <c:pt idx="1881">
                  <c:v>4.2642346050000004</c:v>
                </c:pt>
                <c:pt idx="1882">
                  <c:v>4.65664094</c:v>
                </c:pt>
                <c:pt idx="1883">
                  <c:v>4.8544160940000003</c:v>
                </c:pt>
                <c:pt idx="1884">
                  <c:v>5.0536649929999999</c:v>
                </c:pt>
                <c:pt idx="1885">
                  <c:v>5.2467241869999999</c:v>
                </c:pt>
                <c:pt idx="1886">
                  <c:v>5.6421762299999996</c:v>
                </c:pt>
                <c:pt idx="1887">
                  <c:v>5.8369056759999998</c:v>
                </c:pt>
                <c:pt idx="1888">
                  <c:v>6.0361545750000003</c:v>
                </c:pt>
                <c:pt idx="1889">
                  <c:v>6.4254169369999996</c:v>
                </c:pt>
                <c:pt idx="1890">
                  <c:v>6.6231920899999999</c:v>
                </c:pt>
                <c:pt idx="1891">
                  <c:v>6.8224409660000003</c:v>
                </c:pt>
                <c:pt idx="1892">
                  <c:v>7.214847324</c:v>
                </c:pt>
                <c:pt idx="1893">
                  <c:v>7.4079065179999999</c:v>
                </c:pt>
                <c:pt idx="1894">
                  <c:v>7.6071553940000003</c:v>
                </c:pt>
                <c:pt idx="1895">
                  <c:v>7.9979897649999998</c:v>
                </c:pt>
                <c:pt idx="1896">
                  <c:v>8.1988106270000003</c:v>
                </c:pt>
                <c:pt idx="1897">
                  <c:v>8.3934418080000004</c:v>
                </c:pt>
                <c:pt idx="1898">
                  <c:v>8.7858481659999992</c:v>
                </c:pt>
                <c:pt idx="1899">
                  <c:v>8.9804793469999993</c:v>
                </c:pt>
                <c:pt idx="1900">
                  <c:v>9.1798264879999998</c:v>
                </c:pt>
                <c:pt idx="1901">
                  <c:v>9.3728856819999997</c:v>
                </c:pt>
                <c:pt idx="1902">
                  <c:v>10.159172099999999</c:v>
                </c:pt>
                <c:pt idx="1903">
                  <c:v>10.355375260000001</c:v>
                </c:pt>
                <c:pt idx="1904">
                  <c:v>10.55462414</c:v>
                </c:pt>
                <c:pt idx="1905">
                  <c:v>10.94545851</c:v>
                </c:pt>
                <c:pt idx="1906">
                  <c:v>11.144707390000001</c:v>
                </c:pt>
                <c:pt idx="1907">
                  <c:v>11.337864850000001</c:v>
                </c:pt>
                <c:pt idx="1908">
                  <c:v>11.535640000000001</c:v>
                </c:pt>
                <c:pt idx="1909">
                  <c:v>12.181631619999999</c:v>
                </c:pt>
                <c:pt idx="1910">
                  <c:v>12.817670039999999</c:v>
                </c:pt>
                <c:pt idx="1911">
                  <c:v>13.468798700000001</c:v>
                </c:pt>
                <c:pt idx="1912">
                  <c:v>14.75114978</c:v>
                </c:pt>
                <c:pt idx="1913">
                  <c:v>15.38718828</c:v>
                </c:pt>
                <c:pt idx="1914">
                  <c:v>16.03863806</c:v>
                </c:pt>
                <c:pt idx="1915">
                  <c:v>16.669539360000002</c:v>
                </c:pt>
                <c:pt idx="1916">
                  <c:v>17.310714900000001</c:v>
                </c:pt>
                <c:pt idx="1917">
                  <c:v>17.95702756</c:v>
                </c:pt>
                <c:pt idx="1918">
                  <c:v>18.59788206</c:v>
                </c:pt>
                <c:pt idx="1919">
                  <c:v>19.239057599999999</c:v>
                </c:pt>
                <c:pt idx="1920">
                  <c:v>20.531361799999999</c:v>
                </c:pt>
                <c:pt idx="1921">
                  <c:v>21.162584219999999</c:v>
                </c:pt>
                <c:pt idx="1922">
                  <c:v>21.818850000000001</c:v>
                </c:pt>
                <c:pt idx="1923">
                  <c:v>23.495703580000001</c:v>
                </c:pt>
                <c:pt idx="1924">
                  <c:v>24.389167220000001</c:v>
                </c:pt>
                <c:pt idx="1925">
                  <c:v>25.654692839999999</c:v>
                </c:pt>
                <c:pt idx="1926">
                  <c:v>26.960128090000001</c:v>
                </c:pt>
                <c:pt idx="1927">
                  <c:v>32.102049999999998</c:v>
                </c:pt>
                <c:pt idx="1928">
                  <c:v>35.65186542</c:v>
                </c:pt>
                <c:pt idx="1929">
                  <c:v>36.090362910000003</c:v>
                </c:pt>
                <c:pt idx="1930">
                  <c:v>36.525540149999998</c:v>
                </c:pt>
                <c:pt idx="1931">
                  <c:v>37.412938689999997</c:v>
                </c:pt>
                <c:pt idx="1932">
                  <c:v>37.861839680000003</c:v>
                </c:pt>
                <c:pt idx="1933">
                  <c:v>38.297016919999997</c:v>
                </c:pt>
                <c:pt idx="1934">
                  <c:v>38.739056040000001</c:v>
                </c:pt>
                <c:pt idx="1935">
                  <c:v>39.626454580000001</c:v>
                </c:pt>
                <c:pt idx="1936">
                  <c:v>40.068493699999998</c:v>
                </c:pt>
                <c:pt idx="1937">
                  <c:v>40.520714990000002</c:v>
                </c:pt>
                <c:pt idx="1938">
                  <c:v>41.39793135</c:v>
                </c:pt>
                <c:pt idx="1939">
                  <c:v>41.84683235</c:v>
                </c:pt>
                <c:pt idx="1940">
                  <c:v>42.282009590000001</c:v>
                </c:pt>
                <c:pt idx="1941">
                  <c:v>43.176270000000002</c:v>
                </c:pt>
                <c:pt idx="1942">
                  <c:v>43.769878310000003</c:v>
                </c:pt>
                <c:pt idx="1943">
                  <c:v>44.382206670000002</c:v>
                </c:pt>
                <c:pt idx="1944">
                  <c:v>45.587841419999997</c:v>
                </c:pt>
                <c:pt idx="1945">
                  <c:v>46.181449729999997</c:v>
                </c:pt>
                <c:pt idx="1946">
                  <c:v>46.793778080000003</c:v>
                </c:pt>
                <c:pt idx="1947">
                  <c:v>47.994883819999998</c:v>
                </c:pt>
                <c:pt idx="1948">
                  <c:v>48.607212169999997</c:v>
                </c:pt>
                <c:pt idx="1949">
                  <c:v>49.200820479999997</c:v>
                </c:pt>
                <c:pt idx="1950">
                  <c:v>50.420646259999998</c:v>
                </c:pt>
                <c:pt idx="1951">
                  <c:v>51.014254569999999</c:v>
                </c:pt>
                <c:pt idx="1952">
                  <c:v>51.617222900000002</c:v>
                </c:pt>
                <c:pt idx="1953">
                  <c:v>52.82768858</c:v>
                </c:pt>
                <c:pt idx="1954">
                  <c:v>53.440017009999998</c:v>
                </c:pt>
                <c:pt idx="1955">
                  <c:v>54.645953669999997</c:v>
                </c:pt>
                <c:pt idx="1956">
                  <c:v>55.239260000000002</c:v>
                </c:pt>
                <c:pt idx="1957">
                  <c:v>56.027448460000002</c:v>
                </c:pt>
                <c:pt idx="1958">
                  <c:v>56.419970290000002</c:v>
                </c:pt>
                <c:pt idx="1959">
                  <c:v>56.821533629999998</c:v>
                </c:pt>
                <c:pt idx="1960">
                  <c:v>57.603432300000001</c:v>
                </c:pt>
                <c:pt idx="1961">
                  <c:v>58.394569060000002</c:v>
                </c:pt>
                <c:pt idx="1962">
                  <c:v>58.77785274</c:v>
                </c:pt>
                <c:pt idx="1963">
                  <c:v>59.176467770000002</c:v>
                </c:pt>
                <c:pt idx="1964">
                  <c:v>59.958366439999999</c:v>
                </c:pt>
                <c:pt idx="1965">
                  <c:v>60.356981470000001</c:v>
                </c:pt>
                <c:pt idx="1966">
                  <c:v>60.743409999999997</c:v>
                </c:pt>
                <c:pt idx="1967">
                  <c:v>61.53140192</c:v>
                </c:pt>
                <c:pt idx="1968">
                  <c:v>61.923923700000003</c:v>
                </c:pt>
                <c:pt idx="1969">
                  <c:v>62.316445479999999</c:v>
                </c:pt>
                <c:pt idx="1970">
                  <c:v>63.101489039999997</c:v>
                </c:pt>
                <c:pt idx="1971">
                  <c:v>63.50010408</c:v>
                </c:pt>
                <c:pt idx="1972">
                  <c:v>63.88948096</c:v>
                </c:pt>
                <c:pt idx="1973">
                  <c:v>64.680617769999998</c:v>
                </c:pt>
                <c:pt idx="1974">
                  <c:v>65.069994660000006</c:v>
                </c:pt>
                <c:pt idx="1975">
                  <c:v>65.462516440000002</c:v>
                </c:pt>
                <c:pt idx="1976">
                  <c:v>66.247559999999993</c:v>
                </c:pt>
                <c:pt idx="1977">
                  <c:v>66.147246580000001</c:v>
                </c:pt>
                <c:pt idx="1978">
                  <c:v>66.046078789999996</c:v>
                </c:pt>
                <c:pt idx="1979">
                  <c:v>65.944157149999995</c:v>
                </c:pt>
                <c:pt idx="1980">
                  <c:v>65.542752710000002</c:v>
                </c:pt>
                <c:pt idx="1981">
                  <c:v>65.441584910000003</c:v>
                </c:pt>
                <c:pt idx="1982">
                  <c:v>65.240103700000006</c:v>
                </c:pt>
                <c:pt idx="1983">
                  <c:v>65.207939080000003</c:v>
                </c:pt>
                <c:pt idx="1984">
                  <c:v>65.142102120000004</c:v>
                </c:pt>
                <c:pt idx="1985">
                  <c:v>65.04098458</c:v>
                </c:pt>
                <c:pt idx="1986">
                  <c:v>64.840257230000006</c:v>
                </c:pt>
                <c:pt idx="1987">
                  <c:v>64.739893559999999</c:v>
                </c:pt>
                <c:pt idx="1988">
                  <c:v>64.637971919999998</c:v>
                </c:pt>
                <c:pt idx="1989">
                  <c:v>64.538412350000002</c:v>
                </c:pt>
                <c:pt idx="1990">
                  <c:v>64.337684999999993</c:v>
                </c:pt>
                <c:pt idx="1991">
                  <c:v>64.235763360000007</c:v>
                </c:pt>
                <c:pt idx="1992">
                  <c:v>64.136957649999999</c:v>
                </c:pt>
                <c:pt idx="1993">
                  <c:v>63.935476440000002</c:v>
                </c:pt>
                <c:pt idx="1994">
                  <c:v>63.833554800000002</c:v>
                </c:pt>
                <c:pt idx="1995">
                  <c:v>63.734749090000001</c:v>
                </c:pt>
                <c:pt idx="1996">
                  <c:v>63.533267879999997</c:v>
                </c:pt>
                <c:pt idx="1997">
                  <c:v>63.432904209999997</c:v>
                </c:pt>
                <c:pt idx="1998">
                  <c:v>63.330982570000003</c:v>
                </c:pt>
                <c:pt idx="1999">
                  <c:v>63.130305470000003</c:v>
                </c:pt>
                <c:pt idx="2000">
                  <c:v>63.030695649999998</c:v>
                </c:pt>
                <c:pt idx="2001">
                  <c:v>62.93038224</c:v>
                </c:pt>
                <c:pt idx="2002">
                  <c:v>62.729654879999998</c:v>
                </c:pt>
                <c:pt idx="2003">
                  <c:v>62.62692912</c:v>
                </c:pt>
                <c:pt idx="2004">
                  <c:v>62.528173690000003</c:v>
                </c:pt>
                <c:pt idx="2005">
                  <c:v>62.426252030000001</c:v>
                </c:pt>
                <c:pt idx="2006">
                  <c:v>62.22708265</c:v>
                </c:pt>
                <c:pt idx="2007">
                  <c:v>62.12671898</c:v>
                </c:pt>
                <c:pt idx="2008">
                  <c:v>61.925237780000003</c:v>
                </c:pt>
                <c:pt idx="2009">
                  <c:v>61.121624779999998</c:v>
                </c:pt>
                <c:pt idx="2010">
                  <c:v>61.019703130000003</c:v>
                </c:pt>
                <c:pt idx="2011">
                  <c:v>60.920093319999999</c:v>
                </c:pt>
                <c:pt idx="2012">
                  <c:v>60.719416219999999</c:v>
                </c:pt>
                <c:pt idx="2013">
                  <c:v>60.617494569999998</c:v>
                </c:pt>
                <c:pt idx="2014">
                  <c:v>60.517884760000001</c:v>
                </c:pt>
                <c:pt idx="2015">
                  <c:v>60.417571340000002</c:v>
                </c:pt>
                <c:pt idx="2016">
                  <c:v>60.317207660000001</c:v>
                </c:pt>
                <c:pt idx="2017">
                  <c:v>60.216843990000001</c:v>
                </c:pt>
                <c:pt idx="2018">
                  <c:v>60.115676200000003</c:v>
                </c:pt>
                <c:pt idx="2019">
                  <c:v>60.014558659999999</c:v>
                </c:pt>
                <c:pt idx="2020">
                  <c:v>59.914999109999997</c:v>
                </c:pt>
                <c:pt idx="2021">
                  <c:v>59.813077450000002</c:v>
                </c:pt>
                <c:pt idx="2022">
                  <c:v>59.714271760000003</c:v>
                </c:pt>
                <c:pt idx="2023">
                  <c:v>59.512790549999998</c:v>
                </c:pt>
                <c:pt idx="2024">
                  <c:v>59.412426869999997</c:v>
                </c:pt>
                <c:pt idx="2025">
                  <c:v>59.312063199999997</c:v>
                </c:pt>
                <c:pt idx="2026">
                  <c:v>59.109777870000002</c:v>
                </c:pt>
                <c:pt idx="2027">
                  <c:v>59.01021832</c:v>
                </c:pt>
                <c:pt idx="2028">
                  <c:v>58.909854639999999</c:v>
                </c:pt>
                <c:pt idx="2029">
                  <c:v>58.70917755</c:v>
                </c:pt>
                <c:pt idx="2030">
                  <c:v>58.608813869999999</c:v>
                </c:pt>
                <c:pt idx="2031">
                  <c:v>58.506892219999997</c:v>
                </c:pt>
                <c:pt idx="2032">
                  <c:v>58.407282410000001</c:v>
                </c:pt>
                <c:pt idx="2033">
                  <c:v>58.306968990000001</c:v>
                </c:pt>
                <c:pt idx="2034">
                  <c:v>58.205047350000001</c:v>
                </c:pt>
                <c:pt idx="2035">
                  <c:v>58.105437530000003</c:v>
                </c:pt>
                <c:pt idx="2036">
                  <c:v>57.704033080000002</c:v>
                </c:pt>
                <c:pt idx="2037">
                  <c:v>57.603669410000002</c:v>
                </c:pt>
                <c:pt idx="2038">
                  <c:v>57.199902880000003</c:v>
                </c:pt>
                <c:pt idx="2039">
                  <c:v>57.10034332</c:v>
                </c:pt>
                <c:pt idx="2040">
                  <c:v>56.998421669999999</c:v>
                </c:pt>
                <c:pt idx="2041">
                  <c:v>56.797694329999999</c:v>
                </c:pt>
                <c:pt idx="2042">
                  <c:v>56.698938869999999</c:v>
                </c:pt>
                <c:pt idx="2043">
                  <c:v>56.597771080000001</c:v>
                </c:pt>
                <c:pt idx="2044">
                  <c:v>56.196366640000001</c:v>
                </c:pt>
                <c:pt idx="2045">
                  <c:v>55.994885439999997</c:v>
                </c:pt>
                <c:pt idx="2046">
                  <c:v>55.892963790000003</c:v>
                </c:pt>
                <c:pt idx="2047">
                  <c:v>55.794158080000003</c:v>
                </c:pt>
                <c:pt idx="2048">
                  <c:v>55.593430740000002</c:v>
                </c:pt>
                <c:pt idx="2049">
                  <c:v>55.492313209999999</c:v>
                </c:pt>
                <c:pt idx="2050">
                  <c:v>55.390391559999998</c:v>
                </c:pt>
                <c:pt idx="2051">
                  <c:v>55.189664209999997</c:v>
                </c:pt>
                <c:pt idx="2052">
                  <c:v>55.090104650000001</c:v>
                </c:pt>
                <c:pt idx="2053">
                  <c:v>54.989740980000001</c:v>
                </c:pt>
                <c:pt idx="2054">
                  <c:v>54.889377289999999</c:v>
                </c:pt>
                <c:pt idx="2055">
                  <c:v>54.787455649999998</c:v>
                </c:pt>
                <c:pt idx="2056">
                  <c:v>54.68870021</c:v>
                </c:pt>
                <c:pt idx="2057">
                  <c:v>54.586778559999999</c:v>
                </c:pt>
                <c:pt idx="2058">
                  <c:v>54.38524709</c:v>
                </c:pt>
                <c:pt idx="2059">
                  <c:v>54.286491650000002</c:v>
                </c:pt>
                <c:pt idx="2060">
                  <c:v>54.184570000000001</c:v>
                </c:pt>
                <c:pt idx="2061">
                  <c:v>54.101708739999999</c:v>
                </c:pt>
                <c:pt idx="2062">
                  <c:v>54.018262180000001</c:v>
                </c:pt>
                <c:pt idx="2063">
                  <c:v>53.348432109999997</c:v>
                </c:pt>
                <c:pt idx="2064">
                  <c:v>53.264316649999998</c:v>
                </c:pt>
                <c:pt idx="2065">
                  <c:v>53.182124289999997</c:v>
                </c:pt>
                <c:pt idx="2066">
                  <c:v>53.097339900000001</c:v>
                </c:pt>
                <c:pt idx="2067">
                  <c:v>53.015189360000001</c:v>
                </c:pt>
                <c:pt idx="2068">
                  <c:v>52.930404979999999</c:v>
                </c:pt>
                <c:pt idx="2069">
                  <c:v>52.846916610000001</c:v>
                </c:pt>
                <c:pt idx="2070">
                  <c:v>52.76405535</c:v>
                </c:pt>
                <c:pt idx="2071">
                  <c:v>52.68060878</c:v>
                </c:pt>
                <c:pt idx="2072">
                  <c:v>52.597120420000003</c:v>
                </c:pt>
                <c:pt idx="2073">
                  <c:v>52.512336040000001</c:v>
                </c:pt>
                <c:pt idx="2074">
                  <c:v>52.34602821</c:v>
                </c:pt>
                <c:pt idx="2075">
                  <c:v>52.262539840000002</c:v>
                </c:pt>
                <c:pt idx="2076">
                  <c:v>52.179051469999997</c:v>
                </c:pt>
                <c:pt idx="2077">
                  <c:v>52.011447629999999</c:v>
                </c:pt>
                <c:pt idx="2078">
                  <c:v>51.927959260000002</c:v>
                </c:pt>
                <c:pt idx="2079">
                  <c:v>51.843174879999999</c:v>
                </c:pt>
                <c:pt idx="2080">
                  <c:v>51.76098253</c:v>
                </c:pt>
                <c:pt idx="2081">
                  <c:v>51.676198149999998</c:v>
                </c:pt>
                <c:pt idx="2082">
                  <c:v>51.593378690000002</c:v>
                </c:pt>
                <c:pt idx="2083">
                  <c:v>51.509890319999997</c:v>
                </c:pt>
                <c:pt idx="2084">
                  <c:v>51.34295539</c:v>
                </c:pt>
                <c:pt idx="2085">
                  <c:v>51.258798110000001</c:v>
                </c:pt>
                <c:pt idx="2086">
                  <c:v>51.17468264</c:v>
                </c:pt>
                <c:pt idx="2087">
                  <c:v>50.841398079999998</c:v>
                </c:pt>
                <c:pt idx="2088">
                  <c:v>50.81464167</c:v>
                </c:pt>
                <c:pt idx="2089">
                  <c:v>50.757282609999997</c:v>
                </c:pt>
                <c:pt idx="2090">
                  <c:v>50.589009859999997</c:v>
                </c:pt>
                <c:pt idx="2091">
                  <c:v>50.506817499999997</c:v>
                </c:pt>
                <c:pt idx="2092">
                  <c:v>50.422033120000002</c:v>
                </c:pt>
                <c:pt idx="2093">
                  <c:v>50.339213669999999</c:v>
                </c:pt>
                <c:pt idx="2094">
                  <c:v>50.172236920000003</c:v>
                </c:pt>
                <c:pt idx="2095">
                  <c:v>50.087452550000002</c:v>
                </c:pt>
                <c:pt idx="2096">
                  <c:v>50.005302</c:v>
                </c:pt>
                <c:pt idx="2097">
                  <c:v>49.669425410000002</c:v>
                </c:pt>
                <c:pt idx="2098">
                  <c:v>49.586564150000001</c:v>
                </c:pt>
                <c:pt idx="2099">
                  <c:v>49.503075780000003</c:v>
                </c:pt>
                <c:pt idx="2100">
                  <c:v>49.419629219999997</c:v>
                </c:pt>
                <c:pt idx="2101">
                  <c:v>49.334844830000002</c:v>
                </c:pt>
                <c:pt idx="2102">
                  <c:v>49.252652480000002</c:v>
                </c:pt>
                <c:pt idx="2103">
                  <c:v>49.083752619999999</c:v>
                </c:pt>
                <c:pt idx="2104">
                  <c:v>49.001560269999999</c:v>
                </c:pt>
                <c:pt idx="2105">
                  <c:v>48.916775889999997</c:v>
                </c:pt>
                <c:pt idx="2106">
                  <c:v>48.834583539999997</c:v>
                </c:pt>
                <c:pt idx="2107">
                  <c:v>48.666979699999999</c:v>
                </c:pt>
                <c:pt idx="2108">
                  <c:v>48.582195310000003</c:v>
                </c:pt>
                <c:pt idx="2109">
                  <c:v>48.500002960000003</c:v>
                </c:pt>
                <c:pt idx="2110">
                  <c:v>48.41521857</c:v>
                </c:pt>
                <c:pt idx="2111">
                  <c:v>48.332399119999998</c:v>
                </c:pt>
                <c:pt idx="2112">
                  <c:v>48.247614730000002</c:v>
                </c:pt>
                <c:pt idx="2113">
                  <c:v>48.165422380000003</c:v>
                </c:pt>
                <c:pt idx="2114">
                  <c:v>47.998487449999999</c:v>
                </c:pt>
                <c:pt idx="2115">
                  <c:v>47.91433018</c:v>
                </c:pt>
                <c:pt idx="2116">
                  <c:v>47.829545789999997</c:v>
                </c:pt>
                <c:pt idx="2117">
                  <c:v>47.662610870000002</c:v>
                </c:pt>
                <c:pt idx="2118">
                  <c:v>47.580418510000001</c:v>
                </c:pt>
                <c:pt idx="2119">
                  <c:v>47.328030290000001</c:v>
                </c:pt>
                <c:pt idx="2120">
                  <c:v>47.161053559999999</c:v>
                </c:pt>
                <c:pt idx="2121">
                  <c:v>47.077565180000001</c:v>
                </c:pt>
                <c:pt idx="2122">
                  <c:v>47.051477679999998</c:v>
                </c:pt>
                <c:pt idx="2123">
                  <c:v>46.994745719999997</c:v>
                </c:pt>
                <c:pt idx="2124">
                  <c:v>46.660165149999997</c:v>
                </c:pt>
                <c:pt idx="2125">
                  <c:v>46.575380770000002</c:v>
                </c:pt>
                <c:pt idx="2126">
                  <c:v>46.409741850000003</c:v>
                </c:pt>
                <c:pt idx="2127">
                  <c:v>46.324957470000001</c:v>
                </c:pt>
                <c:pt idx="2128">
                  <c:v>46.240800190000002</c:v>
                </c:pt>
                <c:pt idx="2129">
                  <c:v>46.073865259999998</c:v>
                </c:pt>
                <c:pt idx="2130">
                  <c:v>45.991672909999998</c:v>
                </c:pt>
                <c:pt idx="2131">
                  <c:v>45.906888530000003</c:v>
                </c:pt>
                <c:pt idx="2132">
                  <c:v>45.822773050000002</c:v>
                </c:pt>
                <c:pt idx="2133">
                  <c:v>45.795347739999997</c:v>
                </c:pt>
                <c:pt idx="2134">
                  <c:v>45.740580700000002</c:v>
                </c:pt>
                <c:pt idx="2135">
                  <c:v>45.657092329999998</c:v>
                </c:pt>
                <c:pt idx="2136">
                  <c:v>45.572307950000003</c:v>
                </c:pt>
                <c:pt idx="2137">
                  <c:v>45.490115590000002</c:v>
                </c:pt>
                <c:pt idx="2138">
                  <c:v>45.405331220000001</c:v>
                </c:pt>
                <c:pt idx="2139">
                  <c:v>45.322511749999997</c:v>
                </c:pt>
                <c:pt idx="2140">
                  <c:v>45.237727380000003</c:v>
                </c:pt>
                <c:pt idx="2141">
                  <c:v>45.155576830000001</c:v>
                </c:pt>
                <c:pt idx="2142">
                  <c:v>44.987931189999998</c:v>
                </c:pt>
                <c:pt idx="2143">
                  <c:v>44.903146800000002</c:v>
                </c:pt>
                <c:pt idx="2144">
                  <c:v>44.82099625</c:v>
                </c:pt>
                <c:pt idx="2145">
                  <c:v>44.6527235</c:v>
                </c:pt>
                <c:pt idx="2146">
                  <c:v>44.569904049999998</c:v>
                </c:pt>
                <c:pt idx="2147">
                  <c:v>44.485119660000002</c:v>
                </c:pt>
                <c:pt idx="2148">
                  <c:v>44.235950580000001</c:v>
                </c:pt>
                <c:pt idx="2149">
                  <c:v>44.151166189999998</c:v>
                </c:pt>
                <c:pt idx="2150">
                  <c:v>44.068346730000002</c:v>
                </c:pt>
                <c:pt idx="2151">
                  <c:v>43.90137</c:v>
                </c:pt>
                <c:pt idx="2152">
                  <c:v>43.839164410000002</c:v>
                </c:pt>
                <c:pt idx="2153">
                  <c:v>43.778400480000002</c:v>
                </c:pt>
                <c:pt idx="2154">
                  <c:v>43.7157348</c:v>
                </c:pt>
                <c:pt idx="2155">
                  <c:v>43.594667029999997</c:v>
                </c:pt>
                <c:pt idx="2156">
                  <c:v>43.532461439999999</c:v>
                </c:pt>
                <c:pt idx="2157">
                  <c:v>43.471697509999998</c:v>
                </c:pt>
                <c:pt idx="2158">
                  <c:v>43.410442799999998</c:v>
                </c:pt>
                <c:pt idx="2159">
                  <c:v>43.286982510000001</c:v>
                </c:pt>
                <c:pt idx="2160">
                  <c:v>43.225727800000001</c:v>
                </c:pt>
                <c:pt idx="2161">
                  <c:v>43.164963870000001</c:v>
                </c:pt>
                <c:pt idx="2162">
                  <c:v>43.041503579999997</c:v>
                </c:pt>
                <c:pt idx="2163">
                  <c:v>42.981199740000001</c:v>
                </c:pt>
                <c:pt idx="2164">
                  <c:v>42.918994159999997</c:v>
                </c:pt>
                <c:pt idx="2165">
                  <c:v>42.796975519999997</c:v>
                </c:pt>
                <c:pt idx="2166">
                  <c:v>42.735751479999998</c:v>
                </c:pt>
                <c:pt idx="2167">
                  <c:v>42.673545900000001</c:v>
                </c:pt>
                <c:pt idx="2168">
                  <c:v>42.612751289999999</c:v>
                </c:pt>
                <c:pt idx="2169">
                  <c:v>42.489321670000002</c:v>
                </c:pt>
                <c:pt idx="2170">
                  <c:v>42.42901784</c:v>
                </c:pt>
                <c:pt idx="2171">
                  <c:v>42.366812260000003</c:v>
                </c:pt>
                <c:pt idx="2172">
                  <c:v>42.244793610000002</c:v>
                </c:pt>
                <c:pt idx="2173">
                  <c:v>42.183538900000002</c:v>
                </c:pt>
                <c:pt idx="2174">
                  <c:v>42.061029490000003</c:v>
                </c:pt>
                <c:pt idx="2175">
                  <c:v>41.998823909999999</c:v>
                </c:pt>
                <c:pt idx="2176">
                  <c:v>41.753375640000002</c:v>
                </c:pt>
                <c:pt idx="2177">
                  <c:v>41.570102300000002</c:v>
                </c:pt>
                <c:pt idx="2178">
                  <c:v>41.507405929999997</c:v>
                </c:pt>
                <c:pt idx="2179">
                  <c:v>41.446641999999997</c:v>
                </c:pt>
                <c:pt idx="2180">
                  <c:v>41.13990836</c:v>
                </c:pt>
                <c:pt idx="2181">
                  <c:v>41.079144429999999</c:v>
                </c:pt>
                <c:pt idx="2182">
                  <c:v>41.017889719999999</c:v>
                </c:pt>
                <c:pt idx="2183">
                  <c:v>40.955684130000002</c:v>
                </c:pt>
                <c:pt idx="2184">
                  <c:v>40.834156270000001</c:v>
                </c:pt>
                <c:pt idx="2185">
                  <c:v>40.771950680000003</c:v>
                </c:pt>
                <c:pt idx="2186">
                  <c:v>40.711186750000003</c:v>
                </c:pt>
                <c:pt idx="2187">
                  <c:v>40.588677330000003</c:v>
                </c:pt>
                <c:pt idx="2188">
                  <c:v>40.526471739999998</c:v>
                </c:pt>
                <c:pt idx="2189">
                  <c:v>40.465707809999998</c:v>
                </c:pt>
                <c:pt idx="2190">
                  <c:v>40.343198399999999</c:v>
                </c:pt>
                <c:pt idx="2191">
                  <c:v>40.280992820000002</c:v>
                </c:pt>
                <c:pt idx="2192">
                  <c:v>40.220688979999998</c:v>
                </c:pt>
                <c:pt idx="2193">
                  <c:v>40.09771946</c:v>
                </c:pt>
                <c:pt idx="2194">
                  <c:v>40.035053779999998</c:v>
                </c:pt>
                <c:pt idx="2195">
                  <c:v>39.974259170000003</c:v>
                </c:pt>
                <c:pt idx="2196">
                  <c:v>39.852240530000003</c:v>
                </c:pt>
                <c:pt idx="2197">
                  <c:v>39.790034949999999</c:v>
                </c:pt>
                <c:pt idx="2198">
                  <c:v>39.72881091</c:v>
                </c:pt>
                <c:pt idx="2199">
                  <c:v>39.606301500000001</c:v>
                </c:pt>
                <c:pt idx="2200">
                  <c:v>39.54553756</c:v>
                </c:pt>
                <c:pt idx="2201">
                  <c:v>39.483331980000003</c:v>
                </c:pt>
                <c:pt idx="2202">
                  <c:v>39.36177343</c:v>
                </c:pt>
                <c:pt idx="2203">
                  <c:v>39.299567850000003</c:v>
                </c:pt>
                <c:pt idx="2204">
                  <c:v>39.238803910000001</c:v>
                </c:pt>
                <c:pt idx="2205">
                  <c:v>39.177549200000001</c:v>
                </c:pt>
                <c:pt idx="2206">
                  <c:v>39.115343629999998</c:v>
                </c:pt>
                <c:pt idx="2207">
                  <c:v>38.992864879999999</c:v>
                </c:pt>
                <c:pt idx="2208">
                  <c:v>38.932070269999997</c:v>
                </c:pt>
                <c:pt idx="2209">
                  <c:v>38.870846239999999</c:v>
                </c:pt>
                <c:pt idx="2210">
                  <c:v>38.625367310000001</c:v>
                </c:pt>
                <c:pt idx="2211">
                  <c:v>38.563161719999997</c:v>
                </c:pt>
                <c:pt idx="2212">
                  <c:v>38.441603180000001</c:v>
                </c:pt>
                <c:pt idx="2213">
                  <c:v>38.379397599999997</c:v>
                </c:pt>
                <c:pt idx="2214">
                  <c:v>38.257378959999997</c:v>
                </c:pt>
                <c:pt idx="2215">
                  <c:v>38.133918659999999</c:v>
                </c:pt>
                <c:pt idx="2216">
                  <c:v>38.07269462</c:v>
                </c:pt>
                <c:pt idx="2217">
                  <c:v>38.011900019999999</c:v>
                </c:pt>
                <c:pt idx="2218">
                  <c:v>37.949694430000001</c:v>
                </c:pt>
                <c:pt idx="2219">
                  <c:v>37.888470400000003</c:v>
                </c:pt>
                <c:pt idx="2220">
                  <c:v>37.82816657</c:v>
                </c:pt>
                <c:pt idx="2221">
                  <c:v>37.765960980000003</c:v>
                </c:pt>
                <c:pt idx="2222">
                  <c:v>37.705197050000002</c:v>
                </c:pt>
                <c:pt idx="2223">
                  <c:v>37.643942340000002</c:v>
                </c:pt>
                <c:pt idx="2224">
                  <c:v>37.581736759999998</c:v>
                </c:pt>
                <c:pt idx="2225">
                  <c:v>37.521432930000003</c:v>
                </c:pt>
                <c:pt idx="2226">
                  <c:v>37.397972629999998</c:v>
                </c:pt>
                <c:pt idx="2227">
                  <c:v>37.337208699999998</c:v>
                </c:pt>
                <c:pt idx="2228">
                  <c:v>37.275003120000001</c:v>
                </c:pt>
                <c:pt idx="2229">
                  <c:v>37.214729949999999</c:v>
                </c:pt>
                <c:pt idx="2230">
                  <c:v>36.416087570000002</c:v>
                </c:pt>
                <c:pt idx="2231">
                  <c:v>36.354832860000002</c:v>
                </c:pt>
                <c:pt idx="2232">
                  <c:v>36.293578160000003</c:v>
                </c:pt>
                <c:pt idx="2233">
                  <c:v>36.232814210000001</c:v>
                </c:pt>
                <c:pt idx="2234">
                  <c:v>36.171559510000002</c:v>
                </c:pt>
                <c:pt idx="2235">
                  <c:v>36.109353929999997</c:v>
                </c:pt>
                <c:pt idx="2236">
                  <c:v>35.986384409999999</c:v>
                </c:pt>
                <c:pt idx="2237">
                  <c:v>35.926111249999998</c:v>
                </c:pt>
                <c:pt idx="2238">
                  <c:v>35.86390566</c:v>
                </c:pt>
                <c:pt idx="2239">
                  <c:v>35.741396250000001</c:v>
                </c:pt>
                <c:pt idx="2240">
                  <c:v>35.680141540000001</c:v>
                </c:pt>
                <c:pt idx="2241">
                  <c:v>35.619377610000001</c:v>
                </c:pt>
                <c:pt idx="2242">
                  <c:v>35.496868190000001</c:v>
                </c:pt>
                <c:pt idx="2243">
                  <c:v>35.434662609999997</c:v>
                </c:pt>
                <c:pt idx="2244">
                  <c:v>35.373407899999997</c:v>
                </c:pt>
                <c:pt idx="2245">
                  <c:v>35.312643970000003</c:v>
                </c:pt>
                <c:pt idx="2246">
                  <c:v>35.250438379999999</c:v>
                </c:pt>
                <c:pt idx="2247">
                  <c:v>35.190165219999997</c:v>
                </c:pt>
                <c:pt idx="2248">
                  <c:v>35.128910509999997</c:v>
                </c:pt>
                <c:pt idx="2249">
                  <c:v>35.06621415</c:v>
                </c:pt>
                <c:pt idx="2250">
                  <c:v>35.005940989999999</c:v>
                </c:pt>
                <c:pt idx="2251">
                  <c:v>34.943735420000003</c:v>
                </c:pt>
                <c:pt idx="2252">
                  <c:v>34.88343158</c:v>
                </c:pt>
                <c:pt idx="2253">
                  <c:v>34.821225990000002</c:v>
                </c:pt>
                <c:pt idx="2254">
                  <c:v>34.76092216</c:v>
                </c:pt>
                <c:pt idx="2255">
                  <c:v>34.392013609999999</c:v>
                </c:pt>
                <c:pt idx="2256">
                  <c:v>34.331218999999997</c:v>
                </c:pt>
                <c:pt idx="2257">
                  <c:v>34.085279970000002</c:v>
                </c:pt>
                <c:pt idx="2258">
                  <c:v>33.962310449999997</c:v>
                </c:pt>
                <c:pt idx="2259">
                  <c:v>33.902006610000001</c:v>
                </c:pt>
                <c:pt idx="2260">
                  <c:v>33.839801039999998</c:v>
                </c:pt>
                <c:pt idx="2261">
                  <c:v>33.33019376</c:v>
                </c:pt>
                <c:pt idx="2262">
                  <c:v>33.28857</c:v>
                </c:pt>
                <c:pt idx="2263">
                  <c:v>30.54237856</c:v>
                </c:pt>
                <c:pt idx="2264">
                  <c:v>23.034276070000001</c:v>
                </c:pt>
                <c:pt idx="2265">
                  <c:v>22.34619</c:v>
                </c:pt>
                <c:pt idx="2266">
                  <c:v>20.27317833</c:v>
                </c:pt>
                <c:pt idx="2267">
                  <c:v>16.553348840000002</c:v>
                </c:pt>
                <c:pt idx="2268">
                  <c:v>16.13357177</c:v>
                </c:pt>
                <c:pt idx="2269">
                  <c:v>15.726628079999999</c:v>
                </c:pt>
                <c:pt idx="2270">
                  <c:v>15.30374613</c:v>
                </c:pt>
                <c:pt idx="2271">
                  <c:v>14.89680244</c:v>
                </c:pt>
                <c:pt idx="2272">
                  <c:v>13.65692827</c:v>
                </c:pt>
                <c:pt idx="2273">
                  <c:v>11.997070000000001</c:v>
                </c:pt>
                <c:pt idx="2274">
                  <c:v>11.555861760000001</c:v>
                </c:pt>
                <c:pt idx="2275">
                  <c:v>10.680242079999999</c:v>
                </c:pt>
                <c:pt idx="2276">
                  <c:v>10.097616240000001</c:v>
                </c:pt>
                <c:pt idx="2277">
                  <c:v>9.6575773460000001</c:v>
                </c:pt>
                <c:pt idx="2278">
                  <c:v>8.9290027129999991</c:v>
                </c:pt>
                <c:pt idx="2279">
                  <c:v>6.733120145</c:v>
                </c:pt>
                <c:pt idx="2280">
                  <c:v>6.5895100580000001</c:v>
                </c:pt>
                <c:pt idx="2281">
                  <c:v>6.0034492740000003</c:v>
                </c:pt>
                <c:pt idx="2282">
                  <c:v>5.2737783909999996</c:v>
                </c:pt>
                <c:pt idx="2283">
                  <c:v>4.9785189399999998</c:v>
                </c:pt>
                <c:pt idx="2284">
                  <c:v>4.248848057</c:v>
                </c:pt>
                <c:pt idx="2285">
                  <c:v>3.3732283810000001</c:v>
                </c:pt>
                <c:pt idx="2286">
                  <c:v>2.9331163889999998</c:v>
                </c:pt>
                <c:pt idx="2287">
                  <c:v>2.642388151</c:v>
                </c:pt>
                <c:pt idx="2288">
                  <c:v>1.911621</c:v>
                </c:pt>
                <c:pt idx="2289">
                  <c:v>1.905212232</c:v>
                </c:pt>
                <c:pt idx="2290">
                  <c:v>1.8988034650000001</c:v>
                </c:pt>
                <c:pt idx="2291">
                  <c:v>1.888555845</c:v>
                </c:pt>
                <c:pt idx="2292">
                  <c:v>1.885976316</c:v>
                </c:pt>
                <c:pt idx="2293">
                  <c:v>1.82316078</c:v>
                </c:pt>
                <c:pt idx="2294">
                  <c:v>1.8154824359999999</c:v>
                </c:pt>
                <c:pt idx="2295">
                  <c:v>1.80524507</c:v>
                </c:pt>
                <c:pt idx="2296">
                  <c:v>1.8026655410000001</c:v>
                </c:pt>
                <c:pt idx="2297">
                  <c:v>1.794987197</c:v>
                </c:pt>
                <c:pt idx="2298">
                  <c:v>1.7898582599999999</c:v>
                </c:pt>
                <c:pt idx="2299">
                  <c:v>1.7834700000000001</c:v>
                </c:pt>
                <c:pt idx="2300">
                  <c:v>1.779590773</c:v>
                </c:pt>
                <c:pt idx="2301">
                  <c:v>1.7757615339999999</c:v>
                </c:pt>
                <c:pt idx="2302">
                  <c:v>1.7398698720000001</c:v>
                </c:pt>
                <c:pt idx="2303">
                  <c:v>1.7334508500000001</c:v>
                </c:pt>
                <c:pt idx="2304">
                  <c:v>1.729601744</c:v>
                </c:pt>
                <c:pt idx="2305">
                  <c:v>1.724493316</c:v>
                </c:pt>
                <c:pt idx="2306">
                  <c:v>1.7155050190000001</c:v>
                </c:pt>
                <c:pt idx="2307">
                  <c:v>1.7078068070000001</c:v>
                </c:pt>
                <c:pt idx="2308">
                  <c:v>1.706567352</c:v>
                </c:pt>
                <c:pt idx="2309">
                  <c:v>1.7039775690000001</c:v>
                </c:pt>
                <c:pt idx="2310">
                  <c:v>1.6975591880000001</c:v>
                </c:pt>
                <c:pt idx="2311">
                  <c:v>1.68601187</c:v>
                </c:pt>
                <c:pt idx="2312">
                  <c:v>1.6821928859999999</c:v>
                </c:pt>
                <c:pt idx="2313">
                  <c:v>1.642461731</c:v>
                </c:pt>
                <c:pt idx="2314">
                  <c:v>1.6270653070000001</c:v>
                </c:pt>
                <c:pt idx="2315">
                  <c:v>1.6129781949999999</c:v>
                </c:pt>
                <c:pt idx="2316">
                  <c:v>1.605290237</c:v>
                </c:pt>
                <c:pt idx="2317">
                  <c:v>1.603990539</c:v>
                </c:pt>
                <c:pt idx="2318">
                  <c:v>1.6027203210000001</c:v>
                </c:pt>
                <c:pt idx="2319">
                  <c:v>1.6001612999999999</c:v>
                </c:pt>
                <c:pt idx="2320">
                  <c:v>1.593752533</c:v>
                </c:pt>
                <c:pt idx="2321">
                  <c:v>1.5911928710000001</c:v>
                </c:pt>
                <c:pt idx="2322">
                  <c:v>1.5898835600000001</c:v>
                </c:pt>
                <c:pt idx="2323">
                  <c:v>1.5886235959999999</c:v>
                </c:pt>
                <c:pt idx="2324">
                  <c:v>1.587343765</c:v>
                </c:pt>
                <c:pt idx="2325">
                  <c:v>1.586064575</c:v>
                </c:pt>
                <c:pt idx="2326">
                  <c:v>1.584764877</c:v>
                </c:pt>
                <c:pt idx="2327">
                  <c:v>1.5834850460000001</c:v>
                </c:pt>
                <c:pt idx="2328">
                  <c:v>1.5822052150000001</c:v>
                </c:pt>
                <c:pt idx="2329">
                  <c:v>1.5809253839999999</c:v>
                </c:pt>
                <c:pt idx="2330">
                  <c:v>1.578356109</c:v>
                </c:pt>
                <c:pt idx="2331">
                  <c:v>1.573227173</c:v>
                </c:pt>
                <c:pt idx="2332">
                  <c:v>1.5719672090000001</c:v>
                </c:pt>
                <c:pt idx="2333">
                  <c:v>1.5706578980000001</c:v>
                </c:pt>
                <c:pt idx="2334">
                  <c:v>1.566828659</c:v>
                </c:pt>
                <c:pt idx="2335">
                  <c:v>1.5642593840000001</c:v>
                </c:pt>
                <c:pt idx="2336">
                  <c:v>1.5629898069999999</c:v>
                </c:pt>
                <c:pt idx="2337">
                  <c:v>1.561699722</c:v>
                </c:pt>
                <c:pt idx="2338">
                  <c:v>1.5616901089999999</c:v>
                </c:pt>
                <c:pt idx="2339">
                  <c:v>1.560430145</c:v>
                </c:pt>
                <c:pt idx="2340">
                  <c:v>1.559130447</c:v>
                </c:pt>
                <c:pt idx="2341">
                  <c:v>1.5578608700000001</c:v>
                </c:pt>
                <c:pt idx="2342">
                  <c:v>1.5578506160000001</c:v>
                </c:pt>
                <c:pt idx="2343">
                  <c:v>1.55658104</c:v>
                </c:pt>
                <c:pt idx="2344">
                  <c:v>1.555290955</c:v>
                </c:pt>
                <c:pt idx="2345">
                  <c:v>1.5501626589999999</c:v>
                </c:pt>
                <c:pt idx="2346">
                  <c:v>1.547613251</c:v>
                </c:pt>
                <c:pt idx="2347">
                  <c:v>1.516849884</c:v>
                </c:pt>
                <c:pt idx="2348">
                  <c:v>1.5104411170000001</c:v>
                </c:pt>
                <c:pt idx="2349">
                  <c:v>1.5091619270000001</c:v>
                </c:pt>
                <c:pt idx="2350">
                  <c:v>1.5078622290000001</c:v>
                </c:pt>
                <c:pt idx="2351">
                  <c:v>1.506592011</c:v>
                </c:pt>
                <c:pt idx="2352">
                  <c:v>1.5001736299999999</c:v>
                </c:pt>
                <c:pt idx="2353">
                  <c:v>1.498904053</c:v>
                </c:pt>
                <c:pt idx="2354">
                  <c:v>1.4899362650000001</c:v>
                </c:pt>
                <c:pt idx="2355">
                  <c:v>1.487366349</c:v>
                </c:pt>
                <c:pt idx="2356">
                  <c:v>1.4822380530000001</c:v>
                </c:pt>
                <c:pt idx="2357">
                  <c:v>1.4809582219999999</c:v>
                </c:pt>
                <c:pt idx="2358">
                  <c:v>1.479678391</c:v>
                </c:pt>
                <c:pt idx="2359">
                  <c:v>1.47839856</c:v>
                </c:pt>
                <c:pt idx="2360">
                  <c:v>1.4770886080000001</c:v>
                </c:pt>
                <c:pt idx="2361">
                  <c:v>1.469420518</c:v>
                </c:pt>
                <c:pt idx="2362">
                  <c:v>1.4655714120000001</c:v>
                </c:pt>
                <c:pt idx="2363">
                  <c:v>1.46173256</c:v>
                </c:pt>
                <c:pt idx="2364">
                  <c:v>1.460442475</c:v>
                </c:pt>
                <c:pt idx="2365">
                  <c:v>1.4578930670000001</c:v>
                </c:pt>
                <c:pt idx="2366">
                  <c:v>1.45276413</c:v>
                </c:pt>
                <c:pt idx="2367">
                  <c:v>1.4501948549999999</c:v>
                </c:pt>
                <c:pt idx="2368">
                  <c:v>1.448915025</c:v>
                </c:pt>
                <c:pt idx="2369">
                  <c:v>1.4450761729999999</c:v>
                </c:pt>
                <c:pt idx="2370">
                  <c:v>1.441216813</c:v>
                </c:pt>
                <c:pt idx="2371">
                  <c:v>1.43609813</c:v>
                </c:pt>
                <c:pt idx="2372">
                  <c:v>1.4296797489999999</c:v>
                </c:pt>
                <c:pt idx="2373">
                  <c:v>1.4220014050000001</c:v>
                </c:pt>
                <c:pt idx="2374">
                  <c:v>1.415592637</c:v>
                </c:pt>
                <c:pt idx="2375">
                  <c:v>1.40918451</c:v>
                </c:pt>
                <c:pt idx="2376">
                  <c:v>1.404055574</c:v>
                </c:pt>
                <c:pt idx="2377">
                  <c:v>1.4027654890000001</c:v>
                </c:pt>
                <c:pt idx="2378">
                  <c:v>1.4002064679999999</c:v>
                </c:pt>
                <c:pt idx="2379">
                  <c:v>1.3950871439999999</c:v>
                </c:pt>
                <c:pt idx="2380">
                  <c:v>1.392517869</c:v>
                </c:pt>
                <c:pt idx="2381">
                  <c:v>1.391228425</c:v>
                </c:pt>
                <c:pt idx="2382">
                  <c:v>1.3848299120000001</c:v>
                </c:pt>
                <c:pt idx="2383">
                  <c:v>1.3822503829999999</c:v>
                </c:pt>
                <c:pt idx="2384">
                  <c:v>1.3681632699999999</c:v>
                </c:pt>
                <c:pt idx="2385">
                  <c:v>1.365604249</c:v>
                </c:pt>
                <c:pt idx="2386">
                  <c:v>1.360465059</c:v>
                </c:pt>
                <c:pt idx="2387">
                  <c:v>1.3579060380000001</c:v>
                </c:pt>
                <c:pt idx="2388">
                  <c:v>1.355346376</c:v>
                </c:pt>
                <c:pt idx="2389">
                  <c:v>1.347658418</c:v>
                </c:pt>
                <c:pt idx="2390">
                  <c:v>1.3425294809999999</c:v>
                </c:pt>
                <c:pt idx="2391">
                  <c:v>1.3386701219999999</c:v>
                </c:pt>
                <c:pt idx="2392">
                  <c:v>1.3322818620000001</c:v>
                </c:pt>
                <c:pt idx="2393">
                  <c:v>1.3232839519999999</c:v>
                </c:pt>
                <c:pt idx="2394">
                  <c:v>1.3130561999999999</c:v>
                </c:pt>
                <c:pt idx="2395">
                  <c:v>1.2963895590000001</c:v>
                </c:pt>
                <c:pt idx="2396">
                  <c:v>1.277144029</c:v>
                </c:pt>
                <c:pt idx="2397">
                  <c:v>1.259218065</c:v>
                </c:pt>
                <c:pt idx="2398">
                  <c:v>1.257918367</c:v>
                </c:pt>
                <c:pt idx="2399">
                  <c:v>1.2438113879999999</c:v>
                </c:pt>
                <c:pt idx="2400">
                  <c:v>1.23998279</c:v>
                </c:pt>
                <c:pt idx="2401">
                  <c:v>1.233574022</c:v>
                </c:pt>
                <c:pt idx="2402">
                  <c:v>1.227155642</c:v>
                </c:pt>
                <c:pt idx="2403">
                  <c:v>1.1566611200000001</c:v>
                </c:pt>
                <c:pt idx="2404">
                  <c:v>1.1541020989999999</c:v>
                </c:pt>
                <c:pt idx="2405">
                  <c:v>1.129787235</c:v>
                </c:pt>
                <c:pt idx="2406">
                  <c:v>1.115650775</c:v>
                </c:pt>
                <c:pt idx="2407">
                  <c:v>1.114370944</c:v>
                </c:pt>
                <c:pt idx="2408">
                  <c:v>1.1105615719999999</c:v>
                </c:pt>
                <c:pt idx="2409">
                  <c:v>1.1066823450000001</c:v>
                </c:pt>
                <c:pt idx="2410">
                  <c:v>1.1002838319999999</c:v>
                </c:pt>
                <c:pt idx="2411">
                  <c:v>1.0989943879999999</c:v>
                </c:pt>
                <c:pt idx="2412">
                  <c:v>1.0938757050000001</c:v>
                </c:pt>
                <c:pt idx="2413">
                  <c:v>1.0848976619999999</c:v>
                </c:pt>
                <c:pt idx="2414">
                  <c:v>1.0810581699999999</c:v>
                </c:pt>
                <c:pt idx="2415">
                  <c:v>1.078488895</c:v>
                </c:pt>
                <c:pt idx="2416">
                  <c:v>1.0759196200000001</c:v>
                </c:pt>
                <c:pt idx="2417">
                  <c:v>1.0733702119999999</c:v>
                </c:pt>
                <c:pt idx="2418">
                  <c:v>1.0669614439999999</c:v>
                </c:pt>
                <c:pt idx="2419">
                  <c:v>1.063112338</c:v>
                </c:pt>
                <c:pt idx="2420">
                  <c:v>1.052834598</c:v>
                </c:pt>
                <c:pt idx="2421">
                  <c:v>1.0490156129999999</c:v>
                </c:pt>
                <c:pt idx="2422">
                  <c:v>1.0387577400000001</c:v>
                </c:pt>
                <c:pt idx="2423">
                  <c:v>1.033608936</c:v>
                </c:pt>
                <c:pt idx="2424">
                  <c:v>1.010554035</c:v>
                </c:pt>
                <c:pt idx="2425">
                  <c:v>1.009284458</c:v>
                </c:pt>
                <c:pt idx="2426">
                  <c:v>1.0067151830000001</c:v>
                </c:pt>
                <c:pt idx="2427">
                  <c:v>0.96570419699999999</c:v>
                </c:pt>
                <c:pt idx="2428">
                  <c:v>0.836233632</c:v>
                </c:pt>
                <c:pt idx="2429">
                  <c:v>0.83496405500000004</c:v>
                </c:pt>
                <c:pt idx="2430">
                  <c:v>0.75037280799999995</c:v>
                </c:pt>
                <c:pt idx="2431">
                  <c:v>0.57346326299999995</c:v>
                </c:pt>
                <c:pt idx="2432">
                  <c:v>0.56450508700000002</c:v>
                </c:pt>
                <c:pt idx="2433">
                  <c:v>0.50427869299999994</c:v>
                </c:pt>
                <c:pt idx="2434">
                  <c:v>0.49528078399999997</c:v>
                </c:pt>
                <c:pt idx="2435">
                  <c:v>0.46837677700000002</c:v>
                </c:pt>
                <c:pt idx="2436">
                  <c:v>0.42992545300000001</c:v>
                </c:pt>
                <c:pt idx="2437">
                  <c:v>0.40557085399999998</c:v>
                </c:pt>
                <c:pt idx="2438">
                  <c:v>0.39916208600000003</c:v>
                </c:pt>
                <c:pt idx="2439">
                  <c:v>0.39661267900000002</c:v>
                </c:pt>
                <c:pt idx="2440">
                  <c:v>0.35047339599999999</c:v>
                </c:pt>
                <c:pt idx="2441">
                  <c:v>0.34917369799999998</c:v>
                </c:pt>
                <c:pt idx="2442">
                  <c:v>0.34276493099999999</c:v>
                </c:pt>
                <c:pt idx="2443">
                  <c:v>0.33635680400000001</c:v>
                </c:pt>
                <c:pt idx="2444">
                  <c:v>0.314581734</c:v>
                </c:pt>
                <c:pt idx="2445">
                  <c:v>0.28636777499999999</c:v>
                </c:pt>
                <c:pt idx="2446">
                  <c:v>0.17870240100000001</c:v>
                </c:pt>
                <c:pt idx="2447">
                  <c:v>0.15564750099999999</c:v>
                </c:pt>
                <c:pt idx="2448">
                  <c:v>0.147939035</c:v>
                </c:pt>
                <c:pt idx="2449">
                  <c:v>0.140251077</c:v>
                </c:pt>
                <c:pt idx="2450">
                  <c:v>0.13384230899999999</c:v>
                </c:pt>
                <c:pt idx="2451">
                  <c:v>0.12359468999999999</c:v>
                </c:pt>
                <c:pt idx="2452">
                  <c:v>0.121025415</c:v>
                </c:pt>
                <c:pt idx="2453">
                  <c:v>0.119755838</c:v>
                </c:pt>
                <c:pt idx="2454">
                  <c:v>0.11846575299999999</c:v>
                </c:pt>
                <c:pt idx="2455">
                  <c:v>0.117196176</c:v>
                </c:pt>
                <c:pt idx="2456">
                  <c:v>0.11204737200000001</c:v>
                </c:pt>
                <c:pt idx="2457">
                  <c:v>0.112037118</c:v>
                </c:pt>
                <c:pt idx="2458">
                  <c:v>0.110757287</c:v>
                </c:pt>
                <c:pt idx="2459">
                  <c:v>0.10821813399999999</c:v>
                </c:pt>
                <c:pt idx="2460">
                  <c:v>0.10820788000000001</c:v>
                </c:pt>
                <c:pt idx="2461">
                  <c:v>0.105648859</c:v>
                </c:pt>
                <c:pt idx="2462">
                  <c:v>0.104379282</c:v>
                </c:pt>
                <c:pt idx="2463">
                  <c:v>0.103079584</c:v>
                </c:pt>
                <c:pt idx="2464">
                  <c:v>0.10179975300000001</c:v>
                </c:pt>
                <c:pt idx="2465">
                  <c:v>9.7970513999999995E-2</c:v>
                </c:pt>
                <c:pt idx="2466">
                  <c:v>9.6690682999999999E-2</c:v>
                </c:pt>
                <c:pt idx="2467">
                  <c:v>9.4121408000000004E-2</c:v>
                </c:pt>
                <c:pt idx="2468">
                  <c:v>9.2821710000000002E-2</c:v>
                </c:pt>
                <c:pt idx="2469">
                  <c:v>8.5133111999999997E-2</c:v>
                </c:pt>
                <c:pt idx="2470">
                  <c:v>7.6165322999999993E-2</c:v>
                </c:pt>
                <c:pt idx="2471">
                  <c:v>6.7197534000000003E-2</c:v>
                </c:pt>
                <c:pt idx="2472">
                  <c:v>6.4628260000000007E-2</c:v>
                </c:pt>
                <c:pt idx="2473">
                  <c:v>6.2078851999999997E-2</c:v>
                </c:pt>
                <c:pt idx="2474">
                  <c:v>6.0788767E-2</c:v>
                </c:pt>
                <c:pt idx="2475">
                  <c:v>5.8239358999999997E-2</c:v>
                </c:pt>
                <c:pt idx="2476">
                  <c:v>5.5670084000000002E-2</c:v>
                </c:pt>
                <c:pt idx="2477">
                  <c:v>5.3080301000000003E-2</c:v>
                </c:pt>
                <c:pt idx="2478">
                  <c:v>5.0541147000000002E-2</c:v>
                </c:pt>
                <c:pt idx="2479">
                  <c:v>4.9251703000000001E-2</c:v>
                </c:pt>
                <c:pt idx="2480">
                  <c:v>4.7971871999999999E-2</c:v>
                </c:pt>
                <c:pt idx="2481">
                  <c:v>4.6692042000000003E-2</c:v>
                </c:pt>
                <c:pt idx="2482">
                  <c:v>4.6681788000000002E-2</c:v>
                </c:pt>
                <c:pt idx="2483">
                  <c:v>4.5412211000000001E-2</c:v>
                </c:pt>
                <c:pt idx="2484">
                  <c:v>4.0283274000000001E-2</c:v>
                </c:pt>
                <c:pt idx="2485">
                  <c:v>3.5144724000000002E-2</c:v>
                </c:pt>
                <c:pt idx="2486">
                  <c:v>3.5134470000000001E-2</c:v>
                </c:pt>
                <c:pt idx="2487">
                  <c:v>3.3875147000000001E-2</c:v>
                </c:pt>
                <c:pt idx="2488">
                  <c:v>3.2595315999999999E-2</c:v>
                </c:pt>
                <c:pt idx="2489">
                  <c:v>3.1315484999999997E-2</c:v>
                </c:pt>
                <c:pt idx="2490">
                  <c:v>2.8755823999999999E-2</c:v>
                </c:pt>
                <c:pt idx="2491">
                  <c:v>2.4897104E-2</c:v>
                </c:pt>
                <c:pt idx="2492">
                  <c:v>2.2337442999999998E-2</c:v>
                </c:pt>
                <c:pt idx="2493">
                  <c:v>2.1057612E-2</c:v>
                </c:pt>
                <c:pt idx="2494">
                  <c:v>1.9778422E-2</c:v>
                </c:pt>
                <c:pt idx="2495">
                  <c:v>1.8498591000000002E-2</c:v>
                </c:pt>
                <c:pt idx="2496">
                  <c:v>1.8488337000000001E-2</c:v>
                </c:pt>
                <c:pt idx="2497">
                  <c:v>1.5908808E-2</c:v>
                </c:pt>
                <c:pt idx="2498">
                  <c:v>1.4639231000000001E-2</c:v>
                </c:pt>
                <c:pt idx="2499">
                  <c:v>1.33594E-2</c:v>
                </c:pt>
                <c:pt idx="2500">
                  <c:v>1.2079569E-2</c:v>
                </c:pt>
                <c:pt idx="2501">
                  <c:v>1.0800379000000001E-2</c:v>
                </c:pt>
                <c:pt idx="2502">
                  <c:v>9.5301610000000005E-3</c:v>
                </c:pt>
                <c:pt idx="2503">
                  <c:v>6.951273E-3</c:v>
                </c:pt>
                <c:pt idx="2504">
                  <c:v>5.6714419999999996E-3</c:v>
                </c:pt>
                <c:pt idx="2505">
                  <c:v>4.4018649999999996E-3</c:v>
                </c:pt>
                <c:pt idx="2506">
                  <c:v>5.5276000000000001E-4</c:v>
                </c:pt>
                <c:pt idx="2507">
                  <c:v>-7.3732500000000005E-4</c:v>
                </c:pt>
                <c:pt idx="2508">
                  <c:v>-4.5966849999999997E-3</c:v>
                </c:pt>
                <c:pt idx="2509">
                  <c:v>-7.1460930000000001E-3</c:v>
                </c:pt>
                <c:pt idx="2510">
                  <c:v>-9.6955010000000005E-3</c:v>
                </c:pt>
                <c:pt idx="2511">
                  <c:v>-1.2274389E-2</c:v>
                </c:pt>
                <c:pt idx="2512">
                  <c:v>-1.4823797E-2</c:v>
                </c:pt>
                <c:pt idx="2513">
                  <c:v>-1.7393711999999999E-2</c:v>
                </c:pt>
                <c:pt idx="2514">
                  <c:v>-1.8672902000000002E-2</c:v>
                </c:pt>
                <c:pt idx="2515">
                  <c:v>-2.2542515999999999E-2</c:v>
                </c:pt>
                <c:pt idx="2516">
                  <c:v>-2.5091924000000002E-2</c:v>
                </c:pt>
                <c:pt idx="2517">
                  <c:v>-2.6361500999999999E-2</c:v>
                </c:pt>
                <c:pt idx="2518">
                  <c:v>-2.7641332000000001E-2</c:v>
                </c:pt>
                <c:pt idx="2519">
                  <c:v>-2.894103E-2</c:v>
                </c:pt>
                <c:pt idx="2520">
                  <c:v>-3.1490438000000003E-2</c:v>
                </c:pt>
                <c:pt idx="2521">
                  <c:v>-3.5329289999999999E-2</c:v>
                </c:pt>
                <c:pt idx="2522">
                  <c:v>-3.6619375000000003E-2</c:v>
                </c:pt>
                <c:pt idx="2523">
                  <c:v>-4.0468480000000001E-2</c:v>
                </c:pt>
                <c:pt idx="2524">
                  <c:v>-4.3048008999999998E-2</c:v>
                </c:pt>
                <c:pt idx="2525">
                  <c:v>-4.4307331999999998E-2</c:v>
                </c:pt>
                <c:pt idx="2526">
                  <c:v>-4.6876607000000001E-2</c:v>
                </c:pt>
                <c:pt idx="2527">
                  <c:v>-4.8146824999999997E-2</c:v>
                </c:pt>
                <c:pt idx="2528">
                  <c:v>-5.7134481000000001E-2</c:v>
                </c:pt>
                <c:pt idx="2529">
                  <c:v>-5.8414312000000003E-2</c:v>
                </c:pt>
                <c:pt idx="2530">
                  <c:v>-6.9951374999999996E-2</c:v>
                </c:pt>
                <c:pt idx="2531">
                  <c:v>-8.0219502999999998E-2</c:v>
                </c:pt>
                <c:pt idx="2532">
                  <c:v>-8.5318318000000004E-2</c:v>
                </c:pt>
                <c:pt idx="2533">
                  <c:v>-8.6598148999999999E-2</c:v>
                </c:pt>
                <c:pt idx="2534">
                  <c:v>-9.4305974000000001E-2</c:v>
                </c:pt>
                <c:pt idx="2535">
                  <c:v>-0.103264149</c:v>
                </c:pt>
                <c:pt idx="2536">
                  <c:v>-0.104563848</c:v>
                </c:pt>
                <c:pt idx="2537">
                  <c:v>-0.10840269900000001</c:v>
                </c:pt>
                <c:pt idx="2538">
                  <c:v>-0.11095210699999999</c:v>
                </c:pt>
                <c:pt idx="2539">
                  <c:v>-0.114811467</c:v>
                </c:pt>
                <c:pt idx="2540">
                  <c:v>-0.11608104399999999</c:v>
                </c:pt>
                <c:pt idx="2541">
                  <c:v>-0.117360875</c:v>
                </c:pt>
                <c:pt idx="2542">
                  <c:v>-0.11867082700000001</c:v>
                </c:pt>
                <c:pt idx="2543">
                  <c:v>-0.11996027099999999</c:v>
                </c:pt>
                <c:pt idx="2544">
                  <c:v>-0.121220235</c:v>
                </c:pt>
                <c:pt idx="2545">
                  <c:v>-0.12378951000000001</c:v>
                </c:pt>
                <c:pt idx="2546">
                  <c:v>-0.12889857900000001</c:v>
                </c:pt>
                <c:pt idx="2547">
                  <c:v>-0.130177769</c:v>
                </c:pt>
                <c:pt idx="2548">
                  <c:v>-0.13145760000000001</c:v>
                </c:pt>
                <c:pt idx="2549">
                  <c:v>-0.13789648900000001</c:v>
                </c:pt>
                <c:pt idx="2550">
                  <c:v>-0.139166066</c:v>
                </c:pt>
                <c:pt idx="2551">
                  <c:v>-0.14171547400000001</c:v>
                </c:pt>
                <c:pt idx="2552">
                  <c:v>-0.143015172</c:v>
                </c:pt>
                <c:pt idx="2553">
                  <c:v>-0.144275135</c:v>
                </c:pt>
                <c:pt idx="2554">
                  <c:v>-0.14429500300000001</c:v>
                </c:pt>
                <c:pt idx="2555">
                  <c:v>-0.169928791</c:v>
                </c:pt>
                <c:pt idx="2556">
                  <c:v>-0.17635742600000001</c:v>
                </c:pt>
                <c:pt idx="2557">
                  <c:v>-0.18274632699999999</c:v>
                </c:pt>
                <c:pt idx="2558">
                  <c:v>-0.19042467099999999</c:v>
                </c:pt>
                <c:pt idx="2559">
                  <c:v>-0.191703861</c:v>
                </c:pt>
                <c:pt idx="2560">
                  <c:v>-0.19298369200000001</c:v>
                </c:pt>
                <c:pt idx="2561">
                  <c:v>-0.19428339</c:v>
                </c:pt>
                <c:pt idx="2562">
                  <c:v>-0.21092952300000001</c:v>
                </c:pt>
                <c:pt idx="2563">
                  <c:v>-0.213489185</c:v>
                </c:pt>
                <c:pt idx="2564">
                  <c:v>-0.217348545</c:v>
                </c:pt>
                <c:pt idx="2565">
                  <c:v>-0.22888560899999999</c:v>
                </c:pt>
                <c:pt idx="2566">
                  <c:v>-0.237843784</c:v>
                </c:pt>
                <c:pt idx="2567">
                  <c:v>-0.24169288999999999</c:v>
                </c:pt>
                <c:pt idx="2568">
                  <c:v>-0.24170314400000001</c:v>
                </c:pt>
                <c:pt idx="2569">
                  <c:v>-0.24427241899999999</c:v>
                </c:pt>
                <c:pt idx="2570">
                  <c:v>-0.248101658</c:v>
                </c:pt>
                <c:pt idx="2571">
                  <c:v>-0.24938084799999999</c:v>
                </c:pt>
                <c:pt idx="2572">
                  <c:v>-0.25196037700000001</c:v>
                </c:pt>
                <c:pt idx="2573">
                  <c:v>-0.254520038</c:v>
                </c:pt>
                <c:pt idx="2574">
                  <c:v>-0.25578961500000003</c:v>
                </c:pt>
                <c:pt idx="2575">
                  <c:v>-0.25706944599999998</c:v>
                </c:pt>
                <c:pt idx="2576">
                  <c:v>-0.258369144</c:v>
                </c:pt>
                <c:pt idx="2577">
                  <c:v>-0.25963872100000002</c:v>
                </c:pt>
                <c:pt idx="2578">
                  <c:v>-0.259648975</c:v>
                </c:pt>
                <c:pt idx="2579">
                  <c:v>-0.26091855200000003</c:v>
                </c:pt>
                <c:pt idx="2580">
                  <c:v>-0.262207996</c:v>
                </c:pt>
                <c:pt idx="2581">
                  <c:v>-0.26476765800000002</c:v>
                </c:pt>
                <c:pt idx="2582">
                  <c:v>-0.26732731999999998</c:v>
                </c:pt>
                <c:pt idx="2583">
                  <c:v>-0.280144214</c:v>
                </c:pt>
                <c:pt idx="2584">
                  <c:v>-0.28143365799999998</c:v>
                </c:pt>
                <c:pt idx="2585">
                  <c:v>-0.28655298200000001</c:v>
                </c:pt>
                <c:pt idx="2586">
                  <c:v>-0.28924210099999997</c:v>
                </c:pt>
                <c:pt idx="2587">
                  <c:v>-0.29426080700000001</c:v>
                </c:pt>
                <c:pt idx="2588">
                  <c:v>-0.29810029900000001</c:v>
                </c:pt>
                <c:pt idx="2589">
                  <c:v>-0.30577864399999999</c:v>
                </c:pt>
                <c:pt idx="2590">
                  <c:v>-0.31604613100000001</c:v>
                </c:pt>
                <c:pt idx="2591">
                  <c:v>-0.317315707</c:v>
                </c:pt>
                <c:pt idx="2592">
                  <c:v>-0.31859553800000001</c:v>
                </c:pt>
                <c:pt idx="2593">
                  <c:v>-0.31989523600000003</c:v>
                </c:pt>
                <c:pt idx="2594">
                  <c:v>-0.32122505600000001</c:v>
                </c:pt>
                <c:pt idx="2595">
                  <c:v>-0.322444644</c:v>
                </c:pt>
                <c:pt idx="2596">
                  <c:v>-0.32372447500000001</c:v>
                </c:pt>
                <c:pt idx="2597">
                  <c:v>-0.32628349600000001</c:v>
                </c:pt>
                <c:pt idx="2598">
                  <c:v>-0.33143230000000001</c:v>
                </c:pt>
                <c:pt idx="2599">
                  <c:v>-0.33269226400000002</c:v>
                </c:pt>
                <c:pt idx="2600">
                  <c:v>-0.335261539</c:v>
                </c:pt>
                <c:pt idx="2601">
                  <c:v>-0.33654137000000001</c:v>
                </c:pt>
                <c:pt idx="2602">
                  <c:v>-0.33912089899999998</c:v>
                </c:pt>
                <c:pt idx="2603">
                  <c:v>-0.34295013699999999</c:v>
                </c:pt>
                <c:pt idx="2604">
                  <c:v>-0.346808856</c:v>
                </c:pt>
                <c:pt idx="2605">
                  <c:v>-0.349378772</c:v>
                </c:pt>
                <c:pt idx="2606">
                  <c:v>-0.34938838500000002</c:v>
                </c:pt>
                <c:pt idx="2607">
                  <c:v>-0.351937793</c:v>
                </c:pt>
                <c:pt idx="2608">
                  <c:v>-0.35704686299999999</c:v>
                </c:pt>
                <c:pt idx="2609">
                  <c:v>-0.35834656100000001</c:v>
                </c:pt>
                <c:pt idx="2610">
                  <c:v>-0.36486491799999998</c:v>
                </c:pt>
                <c:pt idx="2611">
                  <c:v>-0.36603451799999998</c:v>
                </c:pt>
                <c:pt idx="2612">
                  <c:v>-0.36730473600000002</c:v>
                </c:pt>
                <c:pt idx="2613">
                  <c:v>-0.36989387800000001</c:v>
                </c:pt>
                <c:pt idx="2614">
                  <c:v>-0.37116345499999998</c:v>
                </c:pt>
                <c:pt idx="2615">
                  <c:v>-0.372433032</c:v>
                </c:pt>
                <c:pt idx="2616">
                  <c:v>-0.37372311699999999</c:v>
                </c:pt>
                <c:pt idx="2617">
                  <c:v>-0.37499269400000002</c:v>
                </c:pt>
                <c:pt idx="2618">
                  <c:v>-0.37627252500000002</c:v>
                </c:pt>
                <c:pt idx="2619">
                  <c:v>-0.37757222299999998</c:v>
                </c:pt>
                <c:pt idx="2620">
                  <c:v>-0.37884180000000001</c:v>
                </c:pt>
                <c:pt idx="2621">
                  <c:v>-0.38141107499999999</c:v>
                </c:pt>
                <c:pt idx="2622">
                  <c:v>-0.38268129200000001</c:v>
                </c:pt>
                <c:pt idx="2623">
                  <c:v>-0.38531016899999998</c:v>
                </c:pt>
                <c:pt idx="2624">
                  <c:v>-0.39550780000000002</c:v>
                </c:pt>
                <c:pt idx="2625">
                  <c:v>-0.39517139299999998</c:v>
                </c:pt>
                <c:pt idx="2626">
                  <c:v>-0.39466551799999999</c:v>
                </c:pt>
                <c:pt idx="2627">
                  <c:v>-0.39448939700000002</c:v>
                </c:pt>
                <c:pt idx="2628">
                  <c:v>-0.39448156400000001</c:v>
                </c:pt>
                <c:pt idx="2629">
                  <c:v>-0.39264328399999998</c:v>
                </c:pt>
                <c:pt idx="2630">
                  <c:v>-0.39230561400000002</c:v>
                </c:pt>
                <c:pt idx="2631">
                  <c:v>-0.39196263599999998</c:v>
                </c:pt>
                <c:pt idx="2632">
                  <c:v>-0.39195480300000002</c:v>
                </c:pt>
                <c:pt idx="2633">
                  <c:v>-0.391463332</c:v>
                </c:pt>
                <c:pt idx="2634">
                  <c:v>-0.39096015299999998</c:v>
                </c:pt>
                <c:pt idx="2635">
                  <c:v>-0.39062113399999998</c:v>
                </c:pt>
                <c:pt idx="2636">
                  <c:v>-0.39044770899999998</c:v>
                </c:pt>
                <c:pt idx="2637">
                  <c:v>-0.390284727</c:v>
                </c:pt>
                <c:pt idx="2638">
                  <c:v>-0.39011652400000002</c:v>
                </c:pt>
                <c:pt idx="2639">
                  <c:v>-0.38994840400000003</c:v>
                </c:pt>
                <c:pt idx="2640">
                  <c:v>-0.38978146400000002</c:v>
                </c:pt>
                <c:pt idx="2641">
                  <c:v>-0.38960668999999998</c:v>
                </c:pt>
                <c:pt idx="2642">
                  <c:v>-0.389441182</c:v>
                </c:pt>
                <c:pt idx="2643">
                  <c:v>-0.389274326</c:v>
                </c:pt>
                <c:pt idx="2644">
                  <c:v>-0.38893530799999998</c:v>
                </c:pt>
                <c:pt idx="2645">
                  <c:v>-0.38860151199999998</c:v>
                </c:pt>
                <c:pt idx="2646">
                  <c:v>-0.38843339199999999</c:v>
                </c:pt>
                <c:pt idx="2647">
                  <c:v>-0.38809698500000001</c:v>
                </c:pt>
                <c:pt idx="2648">
                  <c:v>-0.38792751800000003</c:v>
                </c:pt>
                <c:pt idx="2649">
                  <c:v>-0.38775796600000001</c:v>
                </c:pt>
                <c:pt idx="2650">
                  <c:v>-0.38742290699999998</c:v>
                </c:pt>
                <c:pt idx="2651">
                  <c:v>-0.38725470299999998</c:v>
                </c:pt>
                <c:pt idx="2652">
                  <c:v>-0.38707731899999998</c:v>
                </c:pt>
                <c:pt idx="2653">
                  <c:v>-0.38691703199999999</c:v>
                </c:pt>
                <c:pt idx="2654">
                  <c:v>-0.38657936199999998</c:v>
                </c:pt>
                <c:pt idx="2655">
                  <c:v>-0.38640981000000002</c:v>
                </c:pt>
                <c:pt idx="2656">
                  <c:v>-0.38624034299999999</c:v>
                </c:pt>
                <c:pt idx="2657">
                  <c:v>-0.38607475099999999</c:v>
                </c:pt>
                <c:pt idx="2658">
                  <c:v>-0.385906631</c:v>
                </c:pt>
                <c:pt idx="2659">
                  <c:v>-0.38590528400000002</c:v>
                </c:pt>
                <c:pt idx="2660">
                  <c:v>-0.38556365399999998</c:v>
                </c:pt>
                <c:pt idx="2661">
                  <c:v>-0.384220805</c:v>
                </c:pt>
                <c:pt idx="2662">
                  <c:v>-0.382536241</c:v>
                </c:pt>
                <c:pt idx="2663">
                  <c:v>-0.380683559</c:v>
                </c:pt>
                <c:pt idx="2664">
                  <c:v>-0.38050878500000002</c:v>
                </c:pt>
                <c:pt idx="2665">
                  <c:v>-0.38034723500000001</c:v>
                </c:pt>
                <c:pt idx="2666">
                  <c:v>-0.38017903199999997</c:v>
                </c:pt>
                <c:pt idx="2667">
                  <c:v>-0.38000948099999998</c:v>
                </c:pt>
                <c:pt idx="2668">
                  <c:v>-0.379667851</c:v>
                </c:pt>
                <c:pt idx="2669">
                  <c:v>-0.37950234300000002</c:v>
                </c:pt>
                <c:pt idx="2670">
                  <c:v>-0.37882952800000003</c:v>
                </c:pt>
                <c:pt idx="2671">
                  <c:v>-0.378494469</c:v>
                </c:pt>
                <c:pt idx="2672">
                  <c:v>-0.378493205</c:v>
                </c:pt>
                <c:pt idx="2673">
                  <c:v>-0.37832634900000001</c:v>
                </c:pt>
                <c:pt idx="2674">
                  <c:v>-0.37765092300000003</c:v>
                </c:pt>
                <c:pt idx="2675">
                  <c:v>-0.37748271999999999</c:v>
                </c:pt>
                <c:pt idx="2676">
                  <c:v>-0.37730803099999999</c:v>
                </c:pt>
                <c:pt idx="2677">
                  <c:v>-0.376976845</c:v>
                </c:pt>
                <c:pt idx="2678">
                  <c:v>-0.37512416300000001</c:v>
                </c:pt>
                <c:pt idx="2679">
                  <c:v>-0.37428196499999999</c:v>
                </c:pt>
                <c:pt idx="2680">
                  <c:v>-0.37343968399999999</c:v>
                </c:pt>
                <c:pt idx="2681">
                  <c:v>-0.37327147999999999</c:v>
                </c:pt>
                <c:pt idx="2682">
                  <c:v>-0.37309670700000003</c:v>
                </c:pt>
                <c:pt idx="2683">
                  <c:v>-0.372933809</c:v>
                </c:pt>
                <c:pt idx="2684">
                  <c:v>-0.37276695300000001</c:v>
                </c:pt>
                <c:pt idx="2685">
                  <c:v>-0.37259740200000002</c:v>
                </c:pt>
                <c:pt idx="2686">
                  <c:v>-0.37242919800000002</c:v>
                </c:pt>
                <c:pt idx="2687">
                  <c:v>-0.37226107899999999</c:v>
                </c:pt>
                <c:pt idx="2688">
                  <c:v>-0.372091528</c:v>
                </c:pt>
                <c:pt idx="2689">
                  <c:v>-0.37124798199999998</c:v>
                </c:pt>
                <c:pt idx="2690">
                  <c:v>-0.37040570099999998</c:v>
                </c:pt>
                <c:pt idx="2691">
                  <c:v>-0.36939791100000002</c:v>
                </c:pt>
                <c:pt idx="2692">
                  <c:v>-0.36922844399999999</c:v>
                </c:pt>
                <c:pt idx="2693">
                  <c:v>-0.36889068899999999</c:v>
                </c:pt>
                <c:pt idx="2694">
                  <c:v>-0.36855301800000001</c:v>
                </c:pt>
                <c:pt idx="2695">
                  <c:v>-0.368211389</c:v>
                </c:pt>
                <c:pt idx="2696">
                  <c:v>-0.36804579599999998</c:v>
                </c:pt>
                <c:pt idx="2697">
                  <c:v>-0.36771208399999999</c:v>
                </c:pt>
                <c:pt idx="2698">
                  <c:v>-0.36754387999999999</c:v>
                </c:pt>
                <c:pt idx="2699">
                  <c:v>-0.36736910699999997</c:v>
                </c:pt>
                <c:pt idx="2700">
                  <c:v>-0.36720225099999998</c:v>
                </c:pt>
                <c:pt idx="2701">
                  <c:v>-0.36501711999999997</c:v>
                </c:pt>
                <c:pt idx="2702">
                  <c:v>-0.36451124499999998</c:v>
                </c:pt>
                <c:pt idx="2703">
                  <c:v>-0.36181628100000002</c:v>
                </c:pt>
                <c:pt idx="2704">
                  <c:v>-0.36046820899999998</c:v>
                </c:pt>
                <c:pt idx="2705">
                  <c:v>-0.358272549</c:v>
                </c:pt>
                <c:pt idx="2706">
                  <c:v>-0.35810308200000002</c:v>
                </c:pt>
                <c:pt idx="2707">
                  <c:v>-0.35777324500000002</c:v>
                </c:pt>
                <c:pt idx="2708">
                  <c:v>-0.35760504100000001</c:v>
                </c:pt>
                <c:pt idx="2709">
                  <c:v>-0.357099167</c:v>
                </c:pt>
                <c:pt idx="2710">
                  <c:v>-0.356764107</c:v>
                </c:pt>
                <c:pt idx="2711">
                  <c:v>-0.35658933399999998</c:v>
                </c:pt>
                <c:pt idx="2712">
                  <c:v>-0.35608741799999999</c:v>
                </c:pt>
                <c:pt idx="2713">
                  <c:v>-0.35591795100000001</c:v>
                </c:pt>
                <c:pt idx="2714">
                  <c:v>-0.35557758499999997</c:v>
                </c:pt>
                <c:pt idx="2715">
                  <c:v>-0.355408118</c:v>
                </c:pt>
                <c:pt idx="2716">
                  <c:v>-0.355070363</c:v>
                </c:pt>
                <c:pt idx="2717">
                  <c:v>-0.35490485500000002</c:v>
                </c:pt>
                <c:pt idx="2718">
                  <c:v>-0.354739262</c:v>
                </c:pt>
                <c:pt idx="2719">
                  <c:v>-0.35372355500000002</c:v>
                </c:pt>
                <c:pt idx="2720">
                  <c:v>-0.353560657</c:v>
                </c:pt>
                <c:pt idx="2721">
                  <c:v>-0.35321902799999999</c:v>
                </c:pt>
                <c:pt idx="2722">
                  <c:v>-0.35288792699999999</c:v>
                </c:pt>
                <c:pt idx="2723">
                  <c:v>-0.35271972299999999</c:v>
                </c:pt>
                <c:pt idx="2724">
                  <c:v>-0.35254629700000001</c:v>
                </c:pt>
                <c:pt idx="2725">
                  <c:v>-0.35238070500000002</c:v>
                </c:pt>
                <c:pt idx="2726">
                  <c:v>-0.352215112</c:v>
                </c:pt>
                <c:pt idx="2727">
                  <c:v>-0.35203907499999998</c:v>
                </c:pt>
                <c:pt idx="2728">
                  <c:v>-0.35187744199999998</c:v>
                </c:pt>
                <c:pt idx="2729">
                  <c:v>-0.35170140500000002</c:v>
                </c:pt>
                <c:pt idx="2730">
                  <c:v>-0.351535812</c:v>
                </c:pt>
                <c:pt idx="2731">
                  <c:v>-0.35137030400000002</c:v>
                </c:pt>
                <c:pt idx="2732">
                  <c:v>-0.35120336400000002</c:v>
                </c:pt>
                <c:pt idx="2733">
                  <c:v>-0.35086173399999998</c:v>
                </c:pt>
                <c:pt idx="2734">
                  <c:v>-0.35034667899999999</c:v>
                </c:pt>
                <c:pt idx="2735">
                  <c:v>-0.34950439700000002</c:v>
                </c:pt>
                <c:pt idx="2736">
                  <c:v>-0.34716032699999999</c:v>
                </c:pt>
                <c:pt idx="2737">
                  <c:v>-0.34345361400000002</c:v>
                </c:pt>
                <c:pt idx="2738">
                  <c:v>-0.340591794</c:v>
                </c:pt>
                <c:pt idx="2739">
                  <c:v>-0.33637398400000001</c:v>
                </c:pt>
                <c:pt idx="2740">
                  <c:v>-0.33587333200000002</c:v>
                </c:pt>
                <c:pt idx="2741">
                  <c:v>-0.33569855900000001</c:v>
                </c:pt>
                <c:pt idx="2742">
                  <c:v>-0.33266727099999999</c:v>
                </c:pt>
                <c:pt idx="2743">
                  <c:v>-0.33250167800000002</c:v>
                </c:pt>
                <c:pt idx="2744">
                  <c:v>-0.33233616999999999</c:v>
                </c:pt>
                <c:pt idx="2745">
                  <c:v>-0.33199184500000001</c:v>
                </c:pt>
                <c:pt idx="2746">
                  <c:v>-0.33182633700000003</c:v>
                </c:pt>
                <c:pt idx="2747">
                  <c:v>-0.33149515200000002</c:v>
                </c:pt>
                <c:pt idx="2748">
                  <c:v>-0.33132046300000001</c:v>
                </c:pt>
                <c:pt idx="2749">
                  <c:v>-0.33081980999999999</c:v>
                </c:pt>
                <c:pt idx="2750">
                  <c:v>-0.33014312099999998</c:v>
                </c:pt>
                <c:pt idx="2751">
                  <c:v>-0.32980283999999999</c:v>
                </c:pt>
                <c:pt idx="2752">
                  <c:v>-0.32964120600000002</c:v>
                </c:pt>
                <c:pt idx="2753">
                  <c:v>-0.32946643199999998</c:v>
                </c:pt>
                <c:pt idx="2754">
                  <c:v>-0.32913533099999998</c:v>
                </c:pt>
                <c:pt idx="2755">
                  <c:v>-0.32879235400000001</c:v>
                </c:pt>
                <c:pt idx="2756">
                  <c:v>-0.32846125300000001</c:v>
                </c:pt>
                <c:pt idx="2757">
                  <c:v>-0.32829304999999998</c:v>
                </c:pt>
                <c:pt idx="2758">
                  <c:v>-0.32795537899999999</c:v>
                </c:pt>
                <c:pt idx="2759">
                  <c:v>-0.32778060599999997</c:v>
                </c:pt>
                <c:pt idx="2760">
                  <c:v>-0.32777403599999999</c:v>
                </c:pt>
                <c:pt idx="2761">
                  <c:v>-0.32744950499999997</c:v>
                </c:pt>
                <c:pt idx="2762">
                  <c:v>-0.32728391200000001</c:v>
                </c:pt>
                <c:pt idx="2763">
                  <c:v>-0.32711444499999998</c:v>
                </c:pt>
                <c:pt idx="2764">
                  <c:v>-0.32693967200000001</c:v>
                </c:pt>
                <c:pt idx="2765">
                  <c:v>-0.32660857100000001</c:v>
                </c:pt>
                <c:pt idx="2766">
                  <c:v>-0.326272163</c:v>
                </c:pt>
                <c:pt idx="2767">
                  <c:v>-0.32609738999999999</c:v>
                </c:pt>
                <c:pt idx="2768">
                  <c:v>-0.32608955699999997</c:v>
                </c:pt>
                <c:pt idx="2769">
                  <c:v>-0.32593188200000001</c:v>
                </c:pt>
                <c:pt idx="2770">
                  <c:v>-0.325591515</c:v>
                </c:pt>
                <c:pt idx="2771">
                  <c:v>-0.32558494599999999</c:v>
                </c:pt>
                <c:pt idx="2772">
                  <c:v>-0.32408046200000001</c:v>
                </c:pt>
                <c:pt idx="2773">
                  <c:v>-0.32391487000000002</c:v>
                </c:pt>
                <c:pt idx="2774">
                  <c:v>-0.323738833</c:v>
                </c:pt>
                <c:pt idx="2775">
                  <c:v>-0.32357323999999998</c:v>
                </c:pt>
                <c:pt idx="2776">
                  <c:v>-0.323407732</c:v>
                </c:pt>
                <c:pt idx="2777">
                  <c:v>-0.32306736600000002</c:v>
                </c:pt>
                <c:pt idx="2778">
                  <c:v>-0.322727084</c:v>
                </c:pt>
                <c:pt idx="2779">
                  <c:v>-0.32256149099999998</c:v>
                </c:pt>
                <c:pt idx="2780">
                  <c:v>-0.322395983</c:v>
                </c:pt>
                <c:pt idx="2781">
                  <c:v>-0.322230391</c:v>
                </c:pt>
                <c:pt idx="2782">
                  <c:v>-0.32172451600000002</c:v>
                </c:pt>
                <c:pt idx="2783">
                  <c:v>-0.31818465899999998</c:v>
                </c:pt>
                <c:pt idx="2784">
                  <c:v>-0.31801654000000001</c:v>
                </c:pt>
                <c:pt idx="2785">
                  <c:v>-0.317175606</c:v>
                </c:pt>
                <c:pt idx="2786">
                  <c:v>-0.314634358</c:v>
                </c:pt>
                <c:pt idx="2787">
                  <c:v>-0.31447533500000002</c:v>
                </c:pt>
                <c:pt idx="2788">
                  <c:v>-0.31245579600000001</c:v>
                </c:pt>
                <c:pt idx="2789">
                  <c:v>-0.31211551399999998</c:v>
                </c:pt>
                <c:pt idx="2790">
                  <c:v>-0.31060572400000003</c:v>
                </c:pt>
                <c:pt idx="2791">
                  <c:v>-0.30857700500000002</c:v>
                </c:pt>
                <c:pt idx="2792">
                  <c:v>-0.30824582</c:v>
                </c:pt>
                <c:pt idx="2793">
                  <c:v>-0.30790553799999998</c:v>
                </c:pt>
                <c:pt idx="2794">
                  <c:v>-0.30773994500000001</c:v>
                </c:pt>
                <c:pt idx="2795">
                  <c:v>-0.30757443699999998</c:v>
                </c:pt>
                <c:pt idx="2796">
                  <c:v>-0.30739966400000002</c:v>
                </c:pt>
                <c:pt idx="2797">
                  <c:v>-0.30723280800000002</c:v>
                </c:pt>
                <c:pt idx="2798">
                  <c:v>-0.30706856300000002</c:v>
                </c:pt>
                <c:pt idx="2799">
                  <c:v>-0.30672819699999998</c:v>
                </c:pt>
                <c:pt idx="2800">
                  <c:v>-0.30656268800000003</c:v>
                </c:pt>
                <c:pt idx="2801">
                  <c:v>-0.30638791500000001</c:v>
                </c:pt>
                <c:pt idx="2802">
                  <c:v>-0.30621836299999999</c:v>
                </c:pt>
                <c:pt idx="2803">
                  <c:v>-0.30621179399999998</c:v>
                </c:pt>
                <c:pt idx="2804">
                  <c:v>-0.30605285500000001</c:v>
                </c:pt>
                <c:pt idx="2805">
                  <c:v>-0.30588726300000002</c:v>
                </c:pt>
                <c:pt idx="2806">
                  <c:v>-0.30572175400000001</c:v>
                </c:pt>
                <c:pt idx="2807">
                  <c:v>-0.30555220300000002</c:v>
                </c:pt>
                <c:pt idx="2808">
                  <c:v>-0.30521579599999998</c:v>
                </c:pt>
                <c:pt idx="2809">
                  <c:v>-0.30504110600000001</c:v>
                </c:pt>
                <c:pt idx="2810">
                  <c:v>-0.30436963900000003</c:v>
                </c:pt>
                <c:pt idx="2811">
                  <c:v>-0.30420404699999998</c:v>
                </c:pt>
                <c:pt idx="2812">
                  <c:v>-0.30386376500000001</c:v>
                </c:pt>
                <c:pt idx="2813">
                  <c:v>-0.30352348299999998</c:v>
                </c:pt>
                <c:pt idx="2814">
                  <c:v>-0.30335789099999999</c:v>
                </c:pt>
                <c:pt idx="2815">
                  <c:v>-0.30268516000000001</c:v>
                </c:pt>
                <c:pt idx="2816">
                  <c:v>-0.29846996199999998</c:v>
                </c:pt>
                <c:pt idx="2817">
                  <c:v>-0.29830436900000001</c:v>
                </c:pt>
                <c:pt idx="2818">
                  <c:v>-0.29813877700000002</c:v>
                </c:pt>
                <c:pt idx="2819">
                  <c:v>-0.297798495</c:v>
                </c:pt>
                <c:pt idx="2820">
                  <c:v>-0.297467394</c:v>
                </c:pt>
                <c:pt idx="2821">
                  <c:v>-0.29661854300000001</c:v>
                </c:pt>
                <c:pt idx="2822">
                  <c:v>-0.29645168599999999</c:v>
                </c:pt>
                <c:pt idx="2823">
                  <c:v>-0.29458847500000002</c:v>
                </c:pt>
                <c:pt idx="2824">
                  <c:v>-0.29240730300000001</c:v>
                </c:pt>
                <c:pt idx="2825">
                  <c:v>-0.29123391999999998</c:v>
                </c:pt>
                <c:pt idx="2826">
                  <c:v>-0.29072543499999998</c:v>
                </c:pt>
                <c:pt idx="2827">
                  <c:v>-0.29039163800000001</c:v>
                </c:pt>
                <c:pt idx="2828">
                  <c:v>-0.29021955999999999</c:v>
                </c:pt>
                <c:pt idx="2829">
                  <c:v>-0.28852446799999998</c:v>
                </c:pt>
                <c:pt idx="2830">
                  <c:v>-0.28819993700000002</c:v>
                </c:pt>
                <c:pt idx="2831">
                  <c:v>-0.28735378099999997</c:v>
                </c:pt>
                <c:pt idx="2832">
                  <c:v>-0.28601219500000002</c:v>
                </c:pt>
                <c:pt idx="2833">
                  <c:v>-0.28500044600000002</c:v>
                </c:pt>
                <c:pt idx="2834">
                  <c:v>-0.28380735400000001</c:v>
                </c:pt>
                <c:pt idx="2835">
                  <c:v>-0.28281009299999998</c:v>
                </c:pt>
                <c:pt idx="2836">
                  <c:v>-0.282468463</c:v>
                </c:pt>
                <c:pt idx="2837">
                  <c:v>-0.28230287100000001</c:v>
                </c:pt>
                <c:pt idx="2838">
                  <c:v>-0.28196258899999999</c:v>
                </c:pt>
                <c:pt idx="2839">
                  <c:v>-0.28163140399999997</c:v>
                </c:pt>
                <c:pt idx="2840">
                  <c:v>-0.28145662999999999</c:v>
                </c:pt>
                <c:pt idx="2841">
                  <c:v>-0.28112552899999999</c:v>
                </c:pt>
                <c:pt idx="2842">
                  <c:v>-0.28095867299999999</c:v>
                </c:pt>
                <c:pt idx="2843">
                  <c:v>-0.28061839199999999</c:v>
                </c:pt>
                <c:pt idx="2844">
                  <c:v>-0.28061704399999998</c:v>
                </c:pt>
                <c:pt idx="2845">
                  <c:v>-0.28045279899999997</c:v>
                </c:pt>
                <c:pt idx="2846">
                  <c:v>-0.280283332</c:v>
                </c:pt>
                <c:pt idx="2847">
                  <c:v>-0.28011251700000001</c:v>
                </c:pt>
                <c:pt idx="2848">
                  <c:v>-0.27994692500000001</c:v>
                </c:pt>
                <c:pt idx="2849">
                  <c:v>-0.27977215100000002</c:v>
                </c:pt>
                <c:pt idx="2850">
                  <c:v>-0.27976431800000001</c:v>
                </c:pt>
                <c:pt idx="2851">
                  <c:v>-0.278258487</c:v>
                </c:pt>
                <c:pt idx="2852">
                  <c:v>-0.27589066499999998</c:v>
                </c:pt>
                <c:pt idx="2853">
                  <c:v>-0.27489340299999998</c:v>
                </c:pt>
                <c:pt idx="2854">
                  <c:v>-0.27471079700000001</c:v>
                </c:pt>
                <c:pt idx="2855">
                  <c:v>-0.27438752900000002</c:v>
                </c:pt>
                <c:pt idx="2856">
                  <c:v>-0.27404724699999999</c:v>
                </c:pt>
                <c:pt idx="2857">
                  <c:v>-0.27354128799999999</c:v>
                </c:pt>
                <c:pt idx="2858">
                  <c:v>-0.27169256400000003</c:v>
                </c:pt>
                <c:pt idx="2859">
                  <c:v>-0.270510001</c:v>
                </c:pt>
                <c:pt idx="2860">
                  <c:v>-0.27017233000000002</c:v>
                </c:pt>
                <c:pt idx="2861">
                  <c:v>-0.26949960000000001</c:v>
                </c:pt>
                <c:pt idx="2862">
                  <c:v>-0.26933400699999999</c:v>
                </c:pt>
                <c:pt idx="2863">
                  <c:v>-0.26798189300000003</c:v>
                </c:pt>
                <c:pt idx="2864">
                  <c:v>-0.26629876099999999</c:v>
                </c:pt>
                <c:pt idx="2865">
                  <c:v>-0.266133169</c:v>
                </c:pt>
                <c:pt idx="2866">
                  <c:v>-0.26595839500000001</c:v>
                </c:pt>
                <c:pt idx="2867">
                  <c:v>-0.26578892799999998</c:v>
                </c:pt>
                <c:pt idx="2868">
                  <c:v>-0.265783622</c:v>
                </c:pt>
                <c:pt idx="2869">
                  <c:v>-0.26562333500000002</c:v>
                </c:pt>
                <c:pt idx="2870">
                  <c:v>-0.26545782699999998</c:v>
                </c:pt>
                <c:pt idx="2871">
                  <c:v>-0.26529223499999999</c:v>
                </c:pt>
                <c:pt idx="2872">
                  <c:v>-0.26512276699999998</c:v>
                </c:pt>
                <c:pt idx="2873">
                  <c:v>-0.26478636</c:v>
                </c:pt>
                <c:pt idx="2874">
                  <c:v>-0.26428048599999998</c:v>
                </c:pt>
                <c:pt idx="2875">
                  <c:v>-0.26394020400000001</c:v>
                </c:pt>
                <c:pt idx="2876">
                  <c:v>-0.26377461099999999</c:v>
                </c:pt>
                <c:pt idx="2877">
                  <c:v>-0.26359983799999998</c:v>
                </c:pt>
                <c:pt idx="2878">
                  <c:v>-0.26326873699999997</c:v>
                </c:pt>
                <c:pt idx="2879">
                  <c:v>-0.26309396400000001</c:v>
                </c:pt>
                <c:pt idx="2880">
                  <c:v>-0.26308739399999997</c:v>
                </c:pt>
                <c:pt idx="2881">
                  <c:v>-0.26276286300000001</c:v>
                </c:pt>
                <c:pt idx="2882">
                  <c:v>-0.26225698800000002</c:v>
                </c:pt>
                <c:pt idx="2883">
                  <c:v>-0.26191662199999999</c:v>
                </c:pt>
                <c:pt idx="2884">
                  <c:v>-0.26040295800000002</c:v>
                </c:pt>
                <c:pt idx="2885">
                  <c:v>-0.260237365</c:v>
                </c:pt>
                <c:pt idx="2886">
                  <c:v>-0.259897084</c:v>
                </c:pt>
                <c:pt idx="2887">
                  <c:v>-0.25939120900000001</c:v>
                </c:pt>
                <c:pt idx="2888">
                  <c:v>-0.25922561700000002</c:v>
                </c:pt>
                <c:pt idx="2889">
                  <c:v>-0.25905092699999999</c:v>
                </c:pt>
                <c:pt idx="2890">
                  <c:v>-0.25854505300000002</c:v>
                </c:pt>
                <c:pt idx="2891">
                  <c:v>-0.25837946000000001</c:v>
                </c:pt>
                <c:pt idx="2892">
                  <c:v>-0.25821386800000001</c:v>
                </c:pt>
                <c:pt idx="2893">
                  <c:v>-0.25634939299999998</c:v>
                </c:pt>
                <c:pt idx="2894">
                  <c:v>-0.25534943599999999</c:v>
                </c:pt>
                <c:pt idx="2895">
                  <c:v>-0.25518384399999999</c:v>
                </c:pt>
                <c:pt idx="2896">
                  <c:v>-0.255015724</c:v>
                </c:pt>
                <c:pt idx="2897">
                  <c:v>-0.25484356200000002</c:v>
                </c:pt>
                <c:pt idx="2898">
                  <c:v>-0.25467796999999998</c:v>
                </c:pt>
                <c:pt idx="2899">
                  <c:v>-0.25366622100000003</c:v>
                </c:pt>
                <c:pt idx="2900">
                  <c:v>-0.25316034599999998</c:v>
                </c:pt>
                <c:pt idx="2901">
                  <c:v>-0.252994838</c:v>
                </c:pt>
                <c:pt idx="2902">
                  <c:v>-0.25282006499999998</c:v>
                </c:pt>
                <c:pt idx="2903">
                  <c:v>-0.252148598</c:v>
                </c:pt>
                <c:pt idx="2904">
                  <c:v>-0.25198308899999999</c:v>
                </c:pt>
                <c:pt idx="2905">
                  <c:v>-0.25164272300000001</c:v>
                </c:pt>
                <c:pt idx="2906">
                  <c:v>-0.25147721499999998</c:v>
                </c:pt>
                <c:pt idx="2907">
                  <c:v>-0.25130244200000001</c:v>
                </c:pt>
                <c:pt idx="2908">
                  <c:v>-0.251136849</c:v>
                </c:pt>
                <c:pt idx="2909">
                  <c:v>-0.25097134100000001</c:v>
                </c:pt>
                <c:pt idx="2910">
                  <c:v>-0.25063628100000002</c:v>
                </c:pt>
                <c:pt idx="2911">
                  <c:v>-0.25029591499999998</c:v>
                </c:pt>
                <c:pt idx="2912">
                  <c:v>-0.24574304599999999</c:v>
                </c:pt>
                <c:pt idx="2913">
                  <c:v>-0.24573773900000001</c:v>
                </c:pt>
                <c:pt idx="2914">
                  <c:v>-0.245242393</c:v>
                </c:pt>
                <c:pt idx="2915">
                  <c:v>-0.24507680100000001</c:v>
                </c:pt>
                <c:pt idx="2916">
                  <c:v>-0.24490868099999999</c:v>
                </c:pt>
                <c:pt idx="2917">
                  <c:v>-0.24473651900000001</c:v>
                </c:pt>
                <c:pt idx="2918">
                  <c:v>-0.244389667</c:v>
                </c:pt>
                <c:pt idx="2919">
                  <c:v>-0.23798799000000001</c:v>
                </c:pt>
                <c:pt idx="2920">
                  <c:v>-0.23766345899999999</c:v>
                </c:pt>
                <c:pt idx="2921">
                  <c:v>-0.236977505</c:v>
                </c:pt>
                <c:pt idx="2922">
                  <c:v>-0.236817218</c:v>
                </c:pt>
                <c:pt idx="2923">
                  <c:v>-0.23513534999999999</c:v>
                </c:pt>
                <c:pt idx="2924">
                  <c:v>-0.23496984200000001</c:v>
                </c:pt>
                <c:pt idx="2925">
                  <c:v>-0.234629476</c:v>
                </c:pt>
                <c:pt idx="2926">
                  <c:v>-0.23311185300000001</c:v>
                </c:pt>
                <c:pt idx="2927">
                  <c:v>-0.23277157100000001</c:v>
                </c:pt>
                <c:pt idx="2928">
                  <c:v>-0.232766265</c:v>
                </c:pt>
                <c:pt idx="2929">
                  <c:v>-0.23260597899999999</c:v>
                </c:pt>
                <c:pt idx="2930">
                  <c:v>-0.232440386</c:v>
                </c:pt>
                <c:pt idx="2931">
                  <c:v>-0.23227353000000001</c:v>
                </c:pt>
                <c:pt idx="2932">
                  <c:v>-0.232100104</c:v>
                </c:pt>
                <c:pt idx="2933">
                  <c:v>-0.231769003</c:v>
                </c:pt>
                <c:pt idx="2934">
                  <c:v>-0.23142863699999999</c:v>
                </c:pt>
                <c:pt idx="2935">
                  <c:v>-0.23059031399999999</c:v>
                </c:pt>
                <c:pt idx="2936">
                  <c:v>-0.23024742200000001</c:v>
                </c:pt>
                <c:pt idx="2937">
                  <c:v>-0.22991632100000001</c:v>
                </c:pt>
                <c:pt idx="2938">
                  <c:v>-0.22974154699999999</c:v>
                </c:pt>
                <c:pt idx="2939">
                  <c:v>-0.22973362999999999</c:v>
                </c:pt>
                <c:pt idx="2940">
                  <c:v>-0.229235673</c:v>
                </c:pt>
                <c:pt idx="2941">
                  <c:v>-0.22872979800000001</c:v>
                </c:pt>
                <c:pt idx="2942">
                  <c:v>-0.22856420599999999</c:v>
                </c:pt>
                <c:pt idx="2943">
                  <c:v>-0.22822392399999999</c:v>
                </c:pt>
                <c:pt idx="2944">
                  <c:v>-0.228058331</c:v>
                </c:pt>
                <c:pt idx="2945">
                  <c:v>-0.22789273900000001</c:v>
                </c:pt>
                <c:pt idx="2946">
                  <c:v>-0.22771805000000001</c:v>
                </c:pt>
                <c:pt idx="2947">
                  <c:v>-0.22738686499999999</c:v>
                </c:pt>
                <c:pt idx="2948">
                  <c:v>-0.22738560099999999</c:v>
                </c:pt>
                <c:pt idx="2949">
                  <c:v>-0.223669707</c:v>
                </c:pt>
                <c:pt idx="2950">
                  <c:v>-0.22233334299999999</c:v>
                </c:pt>
                <c:pt idx="2951">
                  <c:v>-0.22166195999999999</c:v>
                </c:pt>
                <c:pt idx="2952">
                  <c:v>-0.221156086</c:v>
                </c:pt>
                <c:pt idx="2953">
                  <c:v>-0.22081571999999999</c:v>
                </c:pt>
                <c:pt idx="2954">
                  <c:v>-0.22065021200000001</c:v>
                </c:pt>
                <c:pt idx="2955">
                  <c:v>-0.22013903100000001</c:v>
                </c:pt>
                <c:pt idx="2956">
                  <c:v>-0.21980793000000001</c:v>
                </c:pt>
                <c:pt idx="2957">
                  <c:v>-0.21946764799999999</c:v>
                </c:pt>
                <c:pt idx="2958">
                  <c:v>-0.219302056</c:v>
                </c:pt>
                <c:pt idx="2959">
                  <c:v>-0.21879618100000001</c:v>
                </c:pt>
                <c:pt idx="2960">
                  <c:v>-0.21862140799999999</c:v>
                </c:pt>
                <c:pt idx="2961">
                  <c:v>-0.218455815</c:v>
                </c:pt>
                <c:pt idx="2962">
                  <c:v>-0.218115533</c:v>
                </c:pt>
                <c:pt idx="2963">
                  <c:v>-0.21794994100000001</c:v>
                </c:pt>
                <c:pt idx="2964">
                  <c:v>-0.21761884000000001</c:v>
                </c:pt>
                <c:pt idx="2965">
                  <c:v>-0.21744406599999999</c:v>
                </c:pt>
                <c:pt idx="2966">
                  <c:v>-0.21710900699999999</c:v>
                </c:pt>
                <c:pt idx="2967">
                  <c:v>-0.216607091</c:v>
                </c:pt>
                <c:pt idx="2968">
                  <c:v>-0.216266809</c:v>
                </c:pt>
                <c:pt idx="2969">
                  <c:v>-0.21576093499999999</c:v>
                </c:pt>
                <c:pt idx="2970">
                  <c:v>-0.21542056900000001</c:v>
                </c:pt>
                <c:pt idx="2971">
                  <c:v>-0.215260283</c:v>
                </c:pt>
                <c:pt idx="2972">
                  <c:v>-0.21508550900000001</c:v>
                </c:pt>
                <c:pt idx="2973">
                  <c:v>-0.212565318</c:v>
                </c:pt>
                <c:pt idx="2974">
                  <c:v>-0.21222503700000001</c:v>
                </c:pt>
                <c:pt idx="2975">
                  <c:v>-0.211884671</c:v>
                </c:pt>
                <c:pt idx="2976">
                  <c:v>-0.21171916199999999</c:v>
                </c:pt>
                <c:pt idx="2977">
                  <c:v>-0.21155357</c:v>
                </c:pt>
                <c:pt idx="2978">
                  <c:v>-0.211213288</c:v>
                </c:pt>
                <c:pt idx="2979">
                  <c:v>-0.21070741300000001</c:v>
                </c:pt>
                <c:pt idx="2980">
                  <c:v>-0.21020676099999999</c:v>
                </c:pt>
                <c:pt idx="2981">
                  <c:v>-0.21002541799999999</c:v>
                </c:pt>
                <c:pt idx="2982">
                  <c:v>-0.20986647899999999</c:v>
                </c:pt>
                <c:pt idx="2983">
                  <c:v>-0.209532683</c:v>
                </c:pt>
                <c:pt idx="2984">
                  <c:v>-0.20935791000000001</c:v>
                </c:pt>
                <c:pt idx="2985">
                  <c:v>-0.20902680900000001</c:v>
                </c:pt>
                <c:pt idx="2986">
                  <c:v>-0.207674778</c:v>
                </c:pt>
                <c:pt idx="2987">
                  <c:v>-0.20649743700000001</c:v>
                </c:pt>
                <c:pt idx="2988">
                  <c:v>-0.20615715500000001</c:v>
                </c:pt>
                <c:pt idx="2989">
                  <c:v>-0.20599156299999999</c:v>
                </c:pt>
                <c:pt idx="2990">
                  <c:v>-0.20582597</c:v>
                </c:pt>
                <c:pt idx="2991">
                  <c:v>-0.20565119700000001</c:v>
                </c:pt>
                <c:pt idx="2992">
                  <c:v>-0.205485688</c:v>
                </c:pt>
                <c:pt idx="2993">
                  <c:v>-0.20363426900000001</c:v>
                </c:pt>
                <c:pt idx="2994">
                  <c:v>-0.20278937599999999</c:v>
                </c:pt>
                <c:pt idx="2995">
                  <c:v>-0.202449095</c:v>
                </c:pt>
                <c:pt idx="2996">
                  <c:v>-0.202117994</c:v>
                </c:pt>
                <c:pt idx="2997">
                  <c:v>-0.20194978999999999</c:v>
                </c:pt>
                <c:pt idx="2998">
                  <c:v>-0.20194844200000001</c:v>
                </c:pt>
                <c:pt idx="2999">
                  <c:v>-0.20147762799999999</c:v>
                </c:pt>
                <c:pt idx="3000">
                  <c:v>-0.201271753</c:v>
                </c:pt>
                <c:pt idx="3001">
                  <c:v>-0.20126518299999999</c:v>
                </c:pt>
                <c:pt idx="3002">
                  <c:v>-0.200940652</c:v>
                </c:pt>
                <c:pt idx="3003">
                  <c:v>-0.20060037</c:v>
                </c:pt>
                <c:pt idx="3004">
                  <c:v>-0.20043351400000001</c:v>
                </c:pt>
                <c:pt idx="3005">
                  <c:v>-0.20009971800000001</c:v>
                </c:pt>
                <c:pt idx="3006">
                  <c:v>-0.19992494499999999</c:v>
                </c:pt>
                <c:pt idx="3007">
                  <c:v>-0.19975943600000001</c:v>
                </c:pt>
                <c:pt idx="3008">
                  <c:v>-0.19959384399999999</c:v>
                </c:pt>
                <c:pt idx="3009">
                  <c:v>-0.19942563999999999</c:v>
                </c:pt>
                <c:pt idx="3010">
                  <c:v>-0.199253562</c:v>
                </c:pt>
                <c:pt idx="3011">
                  <c:v>-0.19908797</c:v>
                </c:pt>
                <c:pt idx="3012">
                  <c:v>-0.19891319599999999</c:v>
                </c:pt>
                <c:pt idx="3013">
                  <c:v>-0.19874768800000001</c:v>
                </c:pt>
                <c:pt idx="3014">
                  <c:v>-0.19858209499999999</c:v>
                </c:pt>
                <c:pt idx="3015">
                  <c:v>-0.198076221</c:v>
                </c:pt>
                <c:pt idx="3016">
                  <c:v>-0.19773585499999999</c:v>
                </c:pt>
                <c:pt idx="3017">
                  <c:v>-0.19757034600000001</c:v>
                </c:pt>
                <c:pt idx="3018">
                  <c:v>-0.19689626800000001</c:v>
                </c:pt>
                <c:pt idx="3019">
                  <c:v>-0.19621166200000001</c:v>
                </c:pt>
                <c:pt idx="3020">
                  <c:v>-0.19588713099999999</c:v>
                </c:pt>
                <c:pt idx="3021">
                  <c:v>-0.19503305700000001</c:v>
                </c:pt>
                <c:pt idx="3022">
                  <c:v>-0.19454032199999999</c:v>
                </c:pt>
                <c:pt idx="3023">
                  <c:v>-0.19318829200000001</c:v>
                </c:pt>
                <c:pt idx="3024">
                  <c:v>-0.19184274700000001</c:v>
                </c:pt>
                <c:pt idx="3025">
                  <c:v>-0.190653614</c:v>
                </c:pt>
                <c:pt idx="3026">
                  <c:v>-0.18898092699999999</c:v>
                </c:pt>
                <c:pt idx="3027">
                  <c:v>-0.188806153</c:v>
                </c:pt>
                <c:pt idx="3028">
                  <c:v>-0.188640645</c:v>
                </c:pt>
                <c:pt idx="3029">
                  <c:v>-0.18830027899999999</c:v>
                </c:pt>
                <c:pt idx="3030">
                  <c:v>-0.18813477000000001</c:v>
                </c:pt>
                <c:pt idx="3031">
                  <c:v>-0.18796917799999999</c:v>
                </c:pt>
                <c:pt idx="3032">
                  <c:v>-0.18728330800000001</c:v>
                </c:pt>
                <c:pt idx="3033">
                  <c:v>-0.18645155499999999</c:v>
                </c:pt>
                <c:pt idx="3034">
                  <c:v>-0.186104619</c:v>
                </c:pt>
                <c:pt idx="3035">
                  <c:v>-0.184929973</c:v>
                </c:pt>
                <c:pt idx="3036">
                  <c:v>-0.184598872</c:v>
                </c:pt>
                <c:pt idx="3037">
                  <c:v>-0.18425850599999999</c:v>
                </c:pt>
                <c:pt idx="3038">
                  <c:v>-0.18409299800000001</c:v>
                </c:pt>
                <c:pt idx="3039">
                  <c:v>-0.18392740499999999</c:v>
                </c:pt>
                <c:pt idx="3040">
                  <c:v>-0.183752632</c:v>
                </c:pt>
                <c:pt idx="3041">
                  <c:v>-0.18342018299999999</c:v>
                </c:pt>
                <c:pt idx="3042">
                  <c:v>-0.18291565600000001</c:v>
                </c:pt>
                <c:pt idx="3043">
                  <c:v>-0.18274088299999999</c:v>
                </c:pt>
                <c:pt idx="3044">
                  <c:v>-0.182235008</c:v>
                </c:pt>
                <c:pt idx="3045">
                  <c:v>-0.18139803299999999</c:v>
                </c:pt>
                <c:pt idx="3046">
                  <c:v>-0.18123244099999999</c:v>
                </c:pt>
                <c:pt idx="3047">
                  <c:v>-0.18105766700000001</c:v>
                </c:pt>
                <c:pt idx="3048">
                  <c:v>-0.18072656600000001</c:v>
                </c:pt>
                <c:pt idx="3049">
                  <c:v>-0.18038628400000001</c:v>
                </c:pt>
                <c:pt idx="3050">
                  <c:v>-0.18022069199999999</c:v>
                </c:pt>
                <c:pt idx="3051">
                  <c:v>-0.180040696</c:v>
                </c:pt>
                <c:pt idx="3052">
                  <c:v>-0.17869784699999999</c:v>
                </c:pt>
                <c:pt idx="3053">
                  <c:v>-0.178532254</c:v>
                </c:pt>
                <c:pt idx="3054">
                  <c:v>-0.17836666200000001</c:v>
                </c:pt>
                <c:pt idx="3055">
                  <c:v>-0.17802638000000001</c:v>
                </c:pt>
                <c:pt idx="3056">
                  <c:v>-0.17768609799999999</c:v>
                </c:pt>
                <c:pt idx="3057">
                  <c:v>-0.177354913</c:v>
                </c:pt>
                <c:pt idx="3058">
                  <c:v>-0.17701463100000001</c:v>
                </c:pt>
                <c:pt idx="3059">
                  <c:v>-0.17684903799999999</c:v>
                </c:pt>
                <c:pt idx="3060">
                  <c:v>-0.176343164</c:v>
                </c:pt>
                <c:pt idx="3061">
                  <c:v>-0.17617765599999999</c:v>
                </c:pt>
                <c:pt idx="3062">
                  <c:v>-0.17583729000000001</c:v>
                </c:pt>
                <c:pt idx="3063">
                  <c:v>-0.17567043399999999</c:v>
                </c:pt>
                <c:pt idx="3064">
                  <c:v>-0.17549700800000001</c:v>
                </c:pt>
                <c:pt idx="3065">
                  <c:v>-0.17499113399999999</c:v>
                </c:pt>
                <c:pt idx="3066">
                  <c:v>-0.17483084700000001</c:v>
                </c:pt>
                <c:pt idx="3067">
                  <c:v>-0.17465607399999999</c:v>
                </c:pt>
                <c:pt idx="3068">
                  <c:v>-0.17432497299999999</c:v>
                </c:pt>
                <c:pt idx="3069">
                  <c:v>-0.17381901399999999</c:v>
                </c:pt>
                <c:pt idx="3070">
                  <c:v>-0.17364432499999999</c:v>
                </c:pt>
                <c:pt idx="3071">
                  <c:v>-0.17363901900000001</c:v>
                </c:pt>
                <c:pt idx="3072">
                  <c:v>-0.17331314</c:v>
                </c:pt>
                <c:pt idx="3073">
                  <c:v>-0.17297285800000001</c:v>
                </c:pt>
                <c:pt idx="3074">
                  <c:v>-0.17280726599999999</c:v>
                </c:pt>
                <c:pt idx="3075">
                  <c:v>-0.17263257600000001</c:v>
                </c:pt>
                <c:pt idx="3076">
                  <c:v>-0.172301391</c:v>
                </c:pt>
                <c:pt idx="3077">
                  <c:v>-0.171961109</c:v>
                </c:pt>
                <c:pt idx="3078">
                  <c:v>-0.17195453999999999</c:v>
                </c:pt>
                <c:pt idx="3079">
                  <c:v>-0.17162739699999999</c:v>
                </c:pt>
                <c:pt idx="3080">
                  <c:v>-0.17112413400000001</c:v>
                </c:pt>
                <c:pt idx="3081">
                  <c:v>-0.17094936099999999</c:v>
                </c:pt>
                <c:pt idx="3082">
                  <c:v>-0.170783768</c:v>
                </c:pt>
                <c:pt idx="3083">
                  <c:v>-0.17061825999999999</c:v>
                </c:pt>
                <c:pt idx="3084">
                  <c:v>-0.17044348600000001</c:v>
                </c:pt>
                <c:pt idx="3085">
                  <c:v>-0.170112385</c:v>
                </c:pt>
                <c:pt idx="3086">
                  <c:v>-0.16960255199999999</c:v>
                </c:pt>
                <c:pt idx="3087">
                  <c:v>-0.16927145099999999</c:v>
                </c:pt>
                <c:pt idx="3088">
                  <c:v>-0.16910324800000001</c:v>
                </c:pt>
                <c:pt idx="3089">
                  <c:v>-0.16876549299999999</c:v>
                </c:pt>
                <c:pt idx="3090">
                  <c:v>-0.16859080400000001</c:v>
                </c:pt>
                <c:pt idx="3091">
                  <c:v>-0.16842521099999999</c:v>
                </c:pt>
                <c:pt idx="3092">
                  <c:v>-0.168259618</c:v>
                </c:pt>
                <c:pt idx="3093">
                  <c:v>-0.167919337</c:v>
                </c:pt>
                <c:pt idx="3094">
                  <c:v>-0.167579055</c:v>
                </c:pt>
                <c:pt idx="3095">
                  <c:v>-0.16757509600000001</c:v>
                </c:pt>
                <c:pt idx="3096">
                  <c:v>-0.16724786999999999</c:v>
                </c:pt>
                <c:pt idx="3097">
                  <c:v>-0.16707318099999999</c:v>
                </c:pt>
                <c:pt idx="3098">
                  <c:v>-0.166907588</c:v>
                </c:pt>
                <c:pt idx="3099">
                  <c:v>-0.16657387600000001</c:v>
                </c:pt>
                <c:pt idx="3100">
                  <c:v>-0.16623612099999999</c:v>
                </c:pt>
                <c:pt idx="3101">
                  <c:v>-0.165730247</c:v>
                </c:pt>
                <c:pt idx="3102">
                  <c:v>-0.16556473799999999</c:v>
                </c:pt>
                <c:pt idx="3103">
                  <c:v>-0.16522437200000001</c:v>
                </c:pt>
                <c:pt idx="3104">
                  <c:v>-0.165058864</c:v>
                </c:pt>
                <c:pt idx="3105">
                  <c:v>-0.16454903100000001</c:v>
                </c:pt>
                <c:pt idx="3106">
                  <c:v>-0.16421793000000001</c:v>
                </c:pt>
                <c:pt idx="3107">
                  <c:v>-0.163877564</c:v>
                </c:pt>
                <c:pt idx="3108">
                  <c:v>-0.16353728200000001</c:v>
                </c:pt>
                <c:pt idx="3109">
                  <c:v>-0.16337169000000001</c:v>
                </c:pt>
                <c:pt idx="3110">
                  <c:v>-0.162865815</c:v>
                </c:pt>
                <c:pt idx="3111">
                  <c:v>-0.162525533</c:v>
                </c:pt>
                <c:pt idx="3112">
                  <c:v>-0.16219434799999999</c:v>
                </c:pt>
                <c:pt idx="3113">
                  <c:v>-0.16201965900000001</c:v>
                </c:pt>
                <c:pt idx="3114">
                  <c:v>-0.16184749700000001</c:v>
                </c:pt>
                <c:pt idx="3115">
                  <c:v>-0.161688474</c:v>
                </c:pt>
                <c:pt idx="3116">
                  <c:v>-0.161520354</c:v>
                </c:pt>
                <c:pt idx="3117">
                  <c:v>-0.161348192</c:v>
                </c:pt>
                <c:pt idx="3118">
                  <c:v>-0.16118260000000001</c:v>
                </c:pt>
                <c:pt idx="3119">
                  <c:v>-0.161017091</c:v>
                </c:pt>
                <c:pt idx="3120">
                  <c:v>-0.16084231800000001</c:v>
                </c:pt>
                <c:pt idx="3121">
                  <c:v>-0.160170851</c:v>
                </c:pt>
                <c:pt idx="3122">
                  <c:v>-0.15949550900000001</c:v>
                </c:pt>
                <c:pt idx="3123">
                  <c:v>-0.15932991699999999</c:v>
                </c:pt>
                <c:pt idx="3124">
                  <c:v>-0.15696217900000001</c:v>
                </c:pt>
                <c:pt idx="3125">
                  <c:v>-0.15596357</c:v>
                </c:pt>
                <c:pt idx="3126">
                  <c:v>-0.15578879600000001</c:v>
                </c:pt>
                <c:pt idx="3127">
                  <c:v>-0.15562320399999999</c:v>
                </c:pt>
                <c:pt idx="3128">
                  <c:v>-0.155117329</c:v>
                </c:pt>
                <c:pt idx="3129">
                  <c:v>-0.15495182099999999</c:v>
                </c:pt>
                <c:pt idx="3130">
                  <c:v>-0.15495047300000001</c:v>
                </c:pt>
                <c:pt idx="3131">
                  <c:v>-0.154777048</c:v>
                </c:pt>
                <c:pt idx="3132">
                  <c:v>-0.15477174099999999</c:v>
                </c:pt>
                <c:pt idx="3133">
                  <c:v>-0.15460749600000001</c:v>
                </c:pt>
                <c:pt idx="3134">
                  <c:v>-0.154441988</c:v>
                </c:pt>
                <c:pt idx="3135">
                  <c:v>-0.15427639500000001</c:v>
                </c:pt>
                <c:pt idx="3136">
                  <c:v>-0.15275877199999999</c:v>
                </c:pt>
                <c:pt idx="3137">
                  <c:v>-0.15208730500000001</c:v>
                </c:pt>
                <c:pt idx="3138">
                  <c:v>-0.151912616</c:v>
                </c:pt>
                <c:pt idx="3139">
                  <c:v>-0.15158143099999999</c:v>
                </c:pt>
                <c:pt idx="3140">
                  <c:v>-0.15124114899999999</c:v>
                </c:pt>
                <c:pt idx="3141">
                  <c:v>-0.151075557</c:v>
                </c:pt>
                <c:pt idx="3142">
                  <c:v>-0.15091004799999999</c:v>
                </c:pt>
                <c:pt idx="3143">
                  <c:v>-0.15056968200000001</c:v>
                </c:pt>
                <c:pt idx="3144">
                  <c:v>-0.15022940000000001</c:v>
                </c:pt>
                <c:pt idx="3145">
                  <c:v>-0.15006380799999999</c:v>
                </c:pt>
                <c:pt idx="3146">
                  <c:v>-0.14989829900000001</c:v>
                </c:pt>
                <c:pt idx="3147">
                  <c:v>-0.149723526</c:v>
                </c:pt>
                <c:pt idx="3148">
                  <c:v>-0.14922287400000001</c:v>
                </c:pt>
                <c:pt idx="3149">
                  <c:v>-0.14888259200000001</c:v>
                </c:pt>
                <c:pt idx="3150">
                  <c:v>-0.14871699899999999</c:v>
                </c:pt>
                <c:pt idx="3151">
                  <c:v>-0.14855149100000001</c:v>
                </c:pt>
                <c:pt idx="3152">
                  <c:v>-0.147033784</c:v>
                </c:pt>
                <c:pt idx="3153">
                  <c:v>-0.146859095</c:v>
                </c:pt>
                <c:pt idx="3154">
                  <c:v>-0.14635844200000001</c:v>
                </c:pt>
                <c:pt idx="3155">
                  <c:v>-0.14567518300000001</c:v>
                </c:pt>
                <c:pt idx="3156">
                  <c:v>-0.144169352</c:v>
                </c:pt>
                <c:pt idx="3157">
                  <c:v>-0.14130626800000001</c:v>
                </c:pt>
                <c:pt idx="3158">
                  <c:v>-0.14113410600000001</c:v>
                </c:pt>
                <c:pt idx="3159">
                  <c:v>-0.141127536</c:v>
                </c:pt>
                <c:pt idx="3160">
                  <c:v>-0.14096851399999999</c:v>
                </c:pt>
                <c:pt idx="3161">
                  <c:v>-0.14080300500000001</c:v>
                </c:pt>
                <c:pt idx="3162">
                  <c:v>-0.14062823199999999</c:v>
                </c:pt>
                <c:pt idx="3163">
                  <c:v>-0.140122357</c:v>
                </c:pt>
                <c:pt idx="3164">
                  <c:v>-0.13961648300000001</c:v>
                </c:pt>
                <c:pt idx="3165">
                  <c:v>-0.139611177</c:v>
                </c:pt>
                <c:pt idx="3166">
                  <c:v>-0.13945484899999999</c:v>
                </c:pt>
                <c:pt idx="3167">
                  <c:v>-0.13945350200000001</c:v>
                </c:pt>
                <c:pt idx="3168">
                  <c:v>-0.13911456699999999</c:v>
                </c:pt>
                <c:pt idx="3169">
                  <c:v>-0.13877420100000001</c:v>
                </c:pt>
                <c:pt idx="3170">
                  <c:v>-0.13860869300000001</c:v>
                </c:pt>
                <c:pt idx="3171">
                  <c:v>-0.138268327</c:v>
                </c:pt>
                <c:pt idx="3172">
                  <c:v>-0.137937226</c:v>
                </c:pt>
                <c:pt idx="3173">
                  <c:v>-0.13743135200000001</c:v>
                </c:pt>
                <c:pt idx="3174">
                  <c:v>-0.137090986</c:v>
                </c:pt>
                <c:pt idx="3175">
                  <c:v>-0.136922866</c:v>
                </c:pt>
                <c:pt idx="3176">
                  <c:v>-0.13675727400000001</c:v>
                </c:pt>
                <c:pt idx="3177">
                  <c:v>-0.136251399</c:v>
                </c:pt>
                <c:pt idx="3178">
                  <c:v>-0.13523965099999999</c:v>
                </c:pt>
                <c:pt idx="3179">
                  <c:v>-0.13489936899999999</c:v>
                </c:pt>
                <c:pt idx="3180">
                  <c:v>-0.13456818400000001</c:v>
                </c:pt>
                <c:pt idx="3181">
                  <c:v>-0.13440132799999999</c:v>
                </c:pt>
                <c:pt idx="3182">
                  <c:v>-0.133895453</c:v>
                </c:pt>
                <c:pt idx="3183">
                  <c:v>-0.133555171</c:v>
                </c:pt>
                <c:pt idx="3184">
                  <c:v>-0.13338957900000001</c:v>
                </c:pt>
                <c:pt idx="3185">
                  <c:v>-0.13321480499999999</c:v>
                </c:pt>
                <c:pt idx="3186">
                  <c:v>-0.13304929700000001</c:v>
                </c:pt>
                <c:pt idx="3187">
                  <c:v>-0.13288370499999999</c:v>
                </c:pt>
                <c:pt idx="3188">
                  <c:v>-0.13254342299999999</c:v>
                </c:pt>
                <c:pt idx="3189">
                  <c:v>-0.13237783</c:v>
                </c:pt>
                <c:pt idx="3190">
                  <c:v>-0.13220305700000001</c:v>
                </c:pt>
                <c:pt idx="3191">
                  <c:v>-0.13203746399999999</c:v>
                </c:pt>
                <c:pt idx="3192">
                  <c:v>-0.12984584699999999</c:v>
                </c:pt>
                <c:pt idx="3193">
                  <c:v>-0.129514662</c:v>
                </c:pt>
                <c:pt idx="3194">
                  <c:v>-0.12917303299999999</c:v>
                </c:pt>
                <c:pt idx="3195">
                  <c:v>-0.12884193199999999</c:v>
                </c:pt>
                <c:pt idx="3196">
                  <c:v>-0.12850165</c:v>
                </c:pt>
                <c:pt idx="3197">
                  <c:v>-0.12799577600000001</c:v>
                </c:pt>
                <c:pt idx="3198">
                  <c:v>-0.12765541</c:v>
                </c:pt>
                <c:pt idx="3199">
                  <c:v>-0.127324309</c:v>
                </c:pt>
                <c:pt idx="3200">
                  <c:v>-0.126984027</c:v>
                </c:pt>
                <c:pt idx="3201">
                  <c:v>-0.12681447600000001</c:v>
                </c:pt>
                <c:pt idx="3202">
                  <c:v>-0.12648337500000001</c:v>
                </c:pt>
                <c:pt idx="3203">
                  <c:v>-0.126143009</c:v>
                </c:pt>
                <c:pt idx="3204">
                  <c:v>-0.12597749999999999</c:v>
                </c:pt>
                <c:pt idx="3205">
                  <c:v>-0.12563713400000001</c:v>
                </c:pt>
                <c:pt idx="3206">
                  <c:v>-0.124965752</c:v>
                </c:pt>
                <c:pt idx="3207">
                  <c:v>-0.124459877</c:v>
                </c:pt>
                <c:pt idx="3208">
                  <c:v>-0.12395400299999999</c:v>
                </c:pt>
                <c:pt idx="3209">
                  <c:v>-0.120923979</c:v>
                </c:pt>
                <c:pt idx="3210">
                  <c:v>-0.120418104</c:v>
                </c:pt>
                <c:pt idx="3211">
                  <c:v>-0.12024333099999999</c:v>
                </c:pt>
                <c:pt idx="3212">
                  <c:v>-0.120239372</c:v>
                </c:pt>
                <c:pt idx="3213">
                  <c:v>-0.120077738</c:v>
                </c:pt>
                <c:pt idx="3214">
                  <c:v>-0.11991222999999999</c:v>
                </c:pt>
                <c:pt idx="3215">
                  <c:v>-0.11973745700000001</c:v>
                </c:pt>
                <c:pt idx="3216">
                  <c:v>-0.119571864</c:v>
                </c:pt>
                <c:pt idx="3217">
                  <c:v>-0.118733541</c:v>
                </c:pt>
                <c:pt idx="3218">
                  <c:v>-0.115024217</c:v>
                </c:pt>
                <c:pt idx="3219">
                  <c:v>-0.114858709</c:v>
                </c:pt>
                <c:pt idx="3220">
                  <c:v>-0.114679976</c:v>
                </c:pt>
                <c:pt idx="3221">
                  <c:v>-0.11451834299999999</c:v>
                </c:pt>
                <c:pt idx="3222">
                  <c:v>-0.114178061</c:v>
                </c:pt>
                <c:pt idx="3223">
                  <c:v>-0.11384696</c:v>
                </c:pt>
                <c:pt idx="3224">
                  <c:v>-0.11368136700000001</c:v>
                </c:pt>
                <c:pt idx="3225">
                  <c:v>-0.113501372</c:v>
                </c:pt>
                <c:pt idx="3226">
                  <c:v>-0.11334108499999999</c:v>
                </c:pt>
                <c:pt idx="3227">
                  <c:v>-0.113175493</c:v>
                </c:pt>
                <c:pt idx="3228">
                  <c:v>-0.112835211</c:v>
                </c:pt>
                <c:pt idx="3229">
                  <c:v>-0.112163744</c:v>
                </c:pt>
                <c:pt idx="3230">
                  <c:v>-0.11198501199999999</c:v>
                </c:pt>
                <c:pt idx="3231">
                  <c:v>-0.111823462</c:v>
                </c:pt>
                <c:pt idx="3232">
                  <c:v>-0.11132280999999999</c:v>
                </c:pt>
                <c:pt idx="3233">
                  <c:v>-0.11114281500000001</c:v>
                </c:pt>
                <c:pt idx="3234">
                  <c:v>-0.110982444</c:v>
                </c:pt>
                <c:pt idx="3235">
                  <c:v>-0.110642162</c:v>
                </c:pt>
                <c:pt idx="3236">
                  <c:v>-0.110136288</c:v>
                </c:pt>
                <c:pt idx="3237">
                  <c:v>-0.10997069499999999</c:v>
                </c:pt>
                <c:pt idx="3238">
                  <c:v>-0.109630414</c:v>
                </c:pt>
                <c:pt idx="3239">
                  <c:v>-0.109626455</c:v>
                </c:pt>
                <c:pt idx="3240">
                  <c:v>-0.109464821</c:v>
                </c:pt>
                <c:pt idx="3241">
                  <c:v>-0.10912453900000001</c:v>
                </c:pt>
                <c:pt idx="3242">
                  <c:v>-0.108958947</c:v>
                </c:pt>
                <c:pt idx="3243">
                  <c:v>-0.108287564</c:v>
                </c:pt>
                <c:pt idx="3244">
                  <c:v>-0.108121971</c:v>
                </c:pt>
                <c:pt idx="3245">
                  <c:v>-0.108120624</c:v>
                </c:pt>
                <c:pt idx="3246">
                  <c:v>-0.10794719799999999</c:v>
                </c:pt>
                <c:pt idx="3247">
                  <c:v>-0.107941976</c:v>
                </c:pt>
                <c:pt idx="3248">
                  <c:v>-0.10778169</c:v>
                </c:pt>
                <c:pt idx="3249">
                  <c:v>-0.107614749</c:v>
                </c:pt>
                <c:pt idx="3250">
                  <c:v>-0.10592900700000001</c:v>
                </c:pt>
                <c:pt idx="3251">
                  <c:v>-0.105425744</c:v>
                </c:pt>
                <c:pt idx="3252">
                  <c:v>-0.104078935</c:v>
                </c:pt>
                <c:pt idx="3253">
                  <c:v>-0.10357306099999999</c:v>
                </c:pt>
                <c:pt idx="3254">
                  <c:v>-0.10339828700000001</c:v>
                </c:pt>
                <c:pt idx="3255">
                  <c:v>-0.10306710199999999</c:v>
                </c:pt>
                <c:pt idx="3256">
                  <c:v>-0.102892413</c:v>
                </c:pt>
                <c:pt idx="3257">
                  <c:v>-0.10272682</c:v>
                </c:pt>
                <c:pt idx="3258">
                  <c:v>-0.102561228</c:v>
                </c:pt>
                <c:pt idx="3259">
                  <c:v>-0.100369527</c:v>
                </c:pt>
                <c:pt idx="3260">
                  <c:v>-0.100025286</c:v>
                </c:pt>
                <c:pt idx="3261">
                  <c:v>-9.8171339999999996E-2</c:v>
                </c:pt>
                <c:pt idx="3262">
                  <c:v>-9.8013665E-2</c:v>
                </c:pt>
                <c:pt idx="3263">
                  <c:v>-9.7507706E-2</c:v>
                </c:pt>
                <c:pt idx="3264">
                  <c:v>-9.6827143000000004E-2</c:v>
                </c:pt>
                <c:pt idx="3265">
                  <c:v>-9.6661549999999999E-2</c:v>
                </c:pt>
                <c:pt idx="3266">
                  <c:v>-9.5821963999999996E-2</c:v>
                </c:pt>
                <c:pt idx="3267">
                  <c:v>-9.5481598000000001E-2</c:v>
                </c:pt>
                <c:pt idx="3268">
                  <c:v>-9.5316089000000007E-2</c:v>
                </c:pt>
                <c:pt idx="3269">
                  <c:v>-9.5150497000000001E-2</c:v>
                </c:pt>
                <c:pt idx="3270">
                  <c:v>-9.4975722999999998E-2</c:v>
                </c:pt>
                <c:pt idx="3271">
                  <c:v>-9.4810131000000006E-2</c:v>
                </c:pt>
                <c:pt idx="3272">
                  <c:v>-9.4469848999999995E-2</c:v>
                </c:pt>
                <c:pt idx="3273">
                  <c:v>-9.3631526000000007E-2</c:v>
                </c:pt>
                <c:pt idx="3274">
                  <c:v>-9.2785370000000006E-2</c:v>
                </c:pt>
                <c:pt idx="3275">
                  <c:v>-9.2619777E-2</c:v>
                </c:pt>
                <c:pt idx="3276">
                  <c:v>-9.2279496000000003E-2</c:v>
                </c:pt>
                <c:pt idx="3277">
                  <c:v>-9.2113902999999997E-2</c:v>
                </c:pt>
                <c:pt idx="3278">
                  <c:v>-9.2107333E-2</c:v>
                </c:pt>
                <c:pt idx="3279">
                  <c:v>-9.1948310000000005E-2</c:v>
                </c:pt>
                <c:pt idx="3280">
                  <c:v>-9.1096932000000005E-2</c:v>
                </c:pt>
                <c:pt idx="3281">
                  <c:v>-8.8738290999999997E-2</c:v>
                </c:pt>
                <c:pt idx="3282">
                  <c:v>-8.8578005000000001E-2</c:v>
                </c:pt>
                <c:pt idx="3283">
                  <c:v>-8.8237723000000004E-2</c:v>
                </c:pt>
                <c:pt idx="3284">
                  <c:v>-8.8072129999999998E-2</c:v>
                </c:pt>
                <c:pt idx="3285">
                  <c:v>-8.7906622000000004E-2</c:v>
                </c:pt>
                <c:pt idx="3286">
                  <c:v>-8.7222015E-2</c:v>
                </c:pt>
                <c:pt idx="3287">
                  <c:v>-8.6894789E-2</c:v>
                </c:pt>
                <c:pt idx="3288">
                  <c:v>-8.6720099999999994E-2</c:v>
                </c:pt>
                <c:pt idx="3289">
                  <c:v>-8.6554507000000003E-2</c:v>
                </c:pt>
                <c:pt idx="3290">
                  <c:v>-8.6386303999999997E-2</c:v>
                </c:pt>
                <c:pt idx="3291">
                  <c:v>-8.6220795000000003E-2</c:v>
                </c:pt>
                <c:pt idx="3292">
                  <c:v>-8.6046022E-2</c:v>
                </c:pt>
                <c:pt idx="3293">
                  <c:v>-8.5714920999999999E-2</c:v>
                </c:pt>
                <c:pt idx="3294">
                  <c:v>-8.5369333000000006E-2</c:v>
                </c:pt>
                <c:pt idx="3295">
                  <c:v>-8.5209045999999997E-2</c:v>
                </c:pt>
                <c:pt idx="3296">
                  <c:v>-8.5043454000000004E-2</c:v>
                </c:pt>
                <c:pt idx="3297">
                  <c:v>-8.4868680000000002E-2</c:v>
                </c:pt>
                <c:pt idx="3298">
                  <c:v>-8.4863458000000003E-2</c:v>
                </c:pt>
                <c:pt idx="3299">
                  <c:v>-8.4703087999999996E-2</c:v>
                </c:pt>
                <c:pt idx="3300">
                  <c:v>-8.4362805999999999E-2</c:v>
                </c:pt>
                <c:pt idx="3301">
                  <c:v>-8.4197214000000006E-2</c:v>
                </c:pt>
                <c:pt idx="3302">
                  <c:v>-8.4190643999999995E-2</c:v>
                </c:pt>
                <c:pt idx="3303">
                  <c:v>-8.4031704999999998E-2</c:v>
                </c:pt>
                <c:pt idx="3304">
                  <c:v>-8.3184200999999999E-2</c:v>
                </c:pt>
                <c:pt idx="3305">
                  <c:v>-8.3018608999999993E-2</c:v>
                </c:pt>
                <c:pt idx="3306">
                  <c:v>-8.2853099999999999E-2</c:v>
                </c:pt>
                <c:pt idx="3307">
                  <c:v>-8.2678326999999996E-2</c:v>
                </c:pt>
                <c:pt idx="3308">
                  <c:v>-8.2172453000000006E-2</c:v>
                </c:pt>
                <c:pt idx="3309">
                  <c:v>-8.2006860000000001E-2</c:v>
                </c:pt>
                <c:pt idx="3310">
                  <c:v>-7.9989932E-2</c:v>
                </c:pt>
                <c:pt idx="3311">
                  <c:v>-7.9815158999999997E-2</c:v>
                </c:pt>
                <c:pt idx="3312">
                  <c:v>-7.9484057999999996E-2</c:v>
                </c:pt>
                <c:pt idx="3313">
                  <c:v>-7.9309284999999993E-2</c:v>
                </c:pt>
                <c:pt idx="3314">
                  <c:v>-7.9143692000000002E-2</c:v>
                </c:pt>
                <c:pt idx="3315">
                  <c:v>-7.9137122000000004E-2</c:v>
                </c:pt>
                <c:pt idx="3316">
                  <c:v>-7.8802063000000006E-2</c:v>
                </c:pt>
                <c:pt idx="3317">
                  <c:v>-7.8631248000000001E-2</c:v>
                </c:pt>
                <c:pt idx="3318">
                  <c:v>-7.8305452999999997E-2</c:v>
                </c:pt>
                <c:pt idx="3319">
                  <c:v>-7.7965087000000002E-2</c:v>
                </c:pt>
                <c:pt idx="3320">
                  <c:v>-7.7624805000000005E-2</c:v>
                </c:pt>
                <c:pt idx="3321">
                  <c:v>-7.7118931000000002E-2</c:v>
                </c:pt>
                <c:pt idx="3322">
                  <c:v>-7.6787746000000004E-2</c:v>
                </c:pt>
                <c:pt idx="3323">
                  <c:v>-7.6613056999999998E-2</c:v>
                </c:pt>
                <c:pt idx="3324">
                  <c:v>-7.6447464000000007E-2</c:v>
                </c:pt>
                <c:pt idx="3325">
                  <c:v>-7.6440893999999995E-2</c:v>
                </c:pt>
                <c:pt idx="3326">
                  <c:v>-7.6113752000000007E-2</c:v>
                </c:pt>
                <c:pt idx="3327">
                  <c:v>-7.5938979000000004E-2</c:v>
                </c:pt>
                <c:pt idx="3328">
                  <c:v>-7.5773385999999998E-2</c:v>
                </c:pt>
                <c:pt idx="3329">
                  <c:v>-7.5607878000000003E-2</c:v>
                </c:pt>
                <c:pt idx="3330">
                  <c:v>-7.5433104000000001E-2</c:v>
                </c:pt>
                <c:pt idx="3331">
                  <c:v>-7.5267511999999995E-2</c:v>
                </c:pt>
                <c:pt idx="3332">
                  <c:v>-7.4936410999999994E-2</c:v>
                </c:pt>
                <c:pt idx="3333">
                  <c:v>-7.4935062999999996E-2</c:v>
                </c:pt>
                <c:pt idx="3334">
                  <c:v>-7.4761637000000006E-2</c:v>
                </c:pt>
                <c:pt idx="3335">
                  <c:v>-7.4756415000000007E-2</c:v>
                </c:pt>
                <c:pt idx="3336">
                  <c:v>-7.4430537000000005E-2</c:v>
                </c:pt>
                <c:pt idx="3337">
                  <c:v>-7.4255763000000002E-2</c:v>
                </c:pt>
                <c:pt idx="3338">
                  <c:v>-7.4082336999999998E-2</c:v>
                </c:pt>
                <c:pt idx="3339">
                  <c:v>-7.3924662000000002E-2</c:v>
                </c:pt>
                <c:pt idx="3340">
                  <c:v>-7.3748541000000001E-2</c:v>
                </c:pt>
                <c:pt idx="3341">
                  <c:v>-7.3251932000000006E-2</c:v>
                </c:pt>
                <c:pt idx="3342">
                  <c:v>-7.3077158000000003E-2</c:v>
                </c:pt>
                <c:pt idx="3343">
                  <c:v>-7.2911565999999997E-2</c:v>
                </c:pt>
                <c:pt idx="3344">
                  <c:v>-7.2746057000000003E-2</c:v>
                </c:pt>
                <c:pt idx="3345">
                  <c:v>-7.2405690999999994E-2</c:v>
                </c:pt>
                <c:pt idx="3346">
                  <c:v>-7.2240182999999999E-2</c:v>
                </c:pt>
                <c:pt idx="3347">
                  <c:v>-7.1559534999999994E-2</c:v>
                </c:pt>
                <c:pt idx="3348">
                  <c:v>-7.1225738999999996E-2</c:v>
                </c:pt>
                <c:pt idx="3349">
                  <c:v>-7.0713294999999995E-2</c:v>
                </c:pt>
                <c:pt idx="3350">
                  <c:v>-7.0554355999999999E-2</c:v>
                </c:pt>
                <c:pt idx="3351">
                  <c:v>-7.0376971999999996E-2</c:v>
                </c:pt>
                <c:pt idx="3352">
                  <c:v>-7.0213990000000004E-2</c:v>
                </c:pt>
                <c:pt idx="3353">
                  <c:v>-6.9198282999999999E-2</c:v>
                </c:pt>
                <c:pt idx="3354">
                  <c:v>-6.7344337000000004E-2</c:v>
                </c:pt>
                <c:pt idx="3355">
                  <c:v>-6.5160468999999999E-2</c:v>
                </c:pt>
                <c:pt idx="3356">
                  <c:v>-6.4994960000000004E-2</c:v>
                </c:pt>
                <c:pt idx="3357">
                  <c:v>-6.4654593999999996E-2</c:v>
                </c:pt>
                <c:pt idx="3358">
                  <c:v>-6.4489086000000001E-2</c:v>
                </c:pt>
                <c:pt idx="3359">
                  <c:v>-6.4323493999999995E-2</c:v>
                </c:pt>
                <c:pt idx="3360">
                  <c:v>-6.4148720000000006E-2</c:v>
                </c:pt>
                <c:pt idx="3361">
                  <c:v>-6.3983211999999998E-2</c:v>
                </c:pt>
                <c:pt idx="3362">
                  <c:v>-6.3817619000000006E-2</c:v>
                </c:pt>
                <c:pt idx="3363">
                  <c:v>-6.3649415000000001E-2</c:v>
                </c:pt>
                <c:pt idx="3364">
                  <c:v>-6.2637666999999994E-2</c:v>
                </c:pt>
                <c:pt idx="3365">
                  <c:v>-6.2290814999999999E-2</c:v>
                </c:pt>
                <c:pt idx="3366">
                  <c:v>-6.1957019000000002E-2</c:v>
                </c:pt>
                <c:pt idx="3367">
                  <c:v>-6.1625918000000002E-2</c:v>
                </c:pt>
                <c:pt idx="3368">
                  <c:v>-6.0778414000000003E-2</c:v>
                </c:pt>
                <c:pt idx="3369">
                  <c:v>-6.0612821999999997E-2</c:v>
                </c:pt>
                <c:pt idx="3370">
                  <c:v>-6.0106947000000001E-2</c:v>
                </c:pt>
                <c:pt idx="3371">
                  <c:v>-5.9268623999999999E-2</c:v>
                </c:pt>
                <c:pt idx="3372">
                  <c:v>-5.9093935E-2</c:v>
                </c:pt>
                <c:pt idx="3373">
                  <c:v>-5.8762750000000002E-2</c:v>
                </c:pt>
                <c:pt idx="3374">
                  <c:v>-5.8595894000000003E-2</c:v>
                </c:pt>
                <c:pt idx="3375">
                  <c:v>-5.8417162000000002E-2</c:v>
                </c:pt>
                <c:pt idx="3376">
                  <c:v>-5.8255611999999998E-2</c:v>
                </c:pt>
                <c:pt idx="3377">
                  <c:v>-5.7921816000000001E-2</c:v>
                </c:pt>
                <c:pt idx="3378">
                  <c:v>-5.7749738000000002E-2</c:v>
                </c:pt>
                <c:pt idx="3379">
                  <c:v>-5.7243862999999999E-2</c:v>
                </c:pt>
                <c:pt idx="3380">
                  <c:v>-5.7078271E-2</c:v>
                </c:pt>
                <c:pt idx="3381">
                  <c:v>-5.6572397000000003E-2</c:v>
                </c:pt>
                <c:pt idx="3382">
                  <c:v>-5.6397623000000001E-2</c:v>
                </c:pt>
                <c:pt idx="3383">
                  <c:v>-5.6232114999999999E-2</c:v>
                </c:pt>
                <c:pt idx="3384">
                  <c:v>-5.6063911000000001E-2</c:v>
                </c:pt>
                <c:pt idx="3385">
                  <c:v>-5.5723544999999999E-2</c:v>
                </c:pt>
                <c:pt idx="3386">
                  <c:v>-5.5558036999999998E-2</c:v>
                </c:pt>
                <c:pt idx="3387">
                  <c:v>-5.5392443999999999E-2</c:v>
                </c:pt>
                <c:pt idx="3388">
                  <c:v>-5.5226852E-2</c:v>
                </c:pt>
                <c:pt idx="3389">
                  <c:v>-5.1518874999999999E-2</c:v>
                </c:pt>
                <c:pt idx="3390">
                  <c:v>-5.0338923000000001E-2</c:v>
                </c:pt>
                <c:pt idx="3391">
                  <c:v>-4.9667455999999999E-2</c:v>
                </c:pt>
                <c:pt idx="3392">
                  <c:v>-4.9488808000000002E-2</c:v>
                </c:pt>
                <c:pt idx="3393">
                  <c:v>-4.9327174000000001E-2</c:v>
                </c:pt>
                <c:pt idx="3394">
                  <c:v>-4.9161581000000003E-2</c:v>
                </c:pt>
                <c:pt idx="3395">
                  <c:v>-4.8488850999999999E-2</c:v>
                </c:pt>
                <c:pt idx="3396">
                  <c:v>-4.8314078000000003E-2</c:v>
                </c:pt>
                <c:pt idx="3397">
                  <c:v>-4.6287968999999998E-2</c:v>
                </c:pt>
                <c:pt idx="3398">
                  <c:v>-4.4779527E-2</c:v>
                </c:pt>
                <c:pt idx="3399">
                  <c:v>-4.4771608999999997E-2</c:v>
                </c:pt>
                <c:pt idx="3400">
                  <c:v>-4.4273651999999997E-2</c:v>
                </c:pt>
                <c:pt idx="3401">
                  <c:v>-4.3933370999999999E-2</c:v>
                </c:pt>
                <c:pt idx="3402">
                  <c:v>-4.3929412000000001E-2</c:v>
                </c:pt>
                <c:pt idx="3403">
                  <c:v>-4.3602185000000002E-2</c:v>
                </c:pt>
                <c:pt idx="3404">
                  <c:v>-4.3435329000000002E-2</c:v>
                </c:pt>
                <c:pt idx="3405">
                  <c:v>-4.3095047999999997E-2</c:v>
                </c:pt>
                <c:pt idx="3406">
                  <c:v>-4.2929454999999998E-2</c:v>
                </c:pt>
                <c:pt idx="3407">
                  <c:v>-4.2589173000000001E-2</c:v>
                </c:pt>
                <c:pt idx="3408">
                  <c:v>-4.2423581000000002E-2</c:v>
                </c:pt>
                <c:pt idx="3409">
                  <c:v>-4.2248806999999999E-2</c:v>
                </c:pt>
                <c:pt idx="3410">
                  <c:v>-4.1742933000000003E-2</c:v>
                </c:pt>
                <c:pt idx="3411">
                  <c:v>-4.1577425000000001E-2</c:v>
                </c:pt>
                <c:pt idx="3412">
                  <c:v>-4.1237059E-2</c:v>
                </c:pt>
                <c:pt idx="3413">
                  <c:v>-4.1071549999999998E-2</c:v>
                </c:pt>
                <c:pt idx="3414">
                  <c:v>-4.0898039999999997E-2</c:v>
                </c:pt>
                <c:pt idx="3415">
                  <c:v>-4.0737754000000001E-2</c:v>
                </c:pt>
                <c:pt idx="3416">
                  <c:v>-4.0562980999999998E-2</c:v>
                </c:pt>
                <c:pt idx="3417">
                  <c:v>-4.0392166E-2</c:v>
                </c:pt>
                <c:pt idx="3418">
                  <c:v>-4.0231879999999998E-2</c:v>
                </c:pt>
                <c:pt idx="3419">
                  <c:v>-4.0057106000000002E-2</c:v>
                </c:pt>
                <c:pt idx="3420">
                  <c:v>-3.9726005000000002E-2</c:v>
                </c:pt>
                <c:pt idx="3421">
                  <c:v>-3.9560413000000003E-2</c:v>
                </c:pt>
                <c:pt idx="3422">
                  <c:v>-3.9220130999999998E-2</c:v>
                </c:pt>
                <c:pt idx="3423">
                  <c:v>-3.8879849000000001E-2</c:v>
                </c:pt>
                <c:pt idx="3424">
                  <c:v>-3.8875890000000003E-2</c:v>
                </c:pt>
                <c:pt idx="3425">
                  <c:v>-3.8714257000000002E-2</c:v>
                </c:pt>
                <c:pt idx="3426">
                  <c:v>-3.8548664000000003E-2</c:v>
                </c:pt>
                <c:pt idx="3427">
                  <c:v>-3.8372626999999999E-2</c:v>
                </c:pt>
                <c:pt idx="3428">
                  <c:v>-3.8041525999999999E-2</c:v>
                </c:pt>
                <c:pt idx="3429">
                  <c:v>-3.7707730000000002E-2</c:v>
                </c:pt>
                <c:pt idx="3430">
                  <c:v>-3.7535652000000003E-2</c:v>
                </c:pt>
                <c:pt idx="3431">
                  <c:v>-3.7370058999999997E-2</c:v>
                </c:pt>
                <c:pt idx="3432">
                  <c:v>-3.7029777E-2</c:v>
                </c:pt>
                <c:pt idx="3433">
                  <c:v>-3.6689410999999998E-2</c:v>
                </c:pt>
                <c:pt idx="3434">
                  <c:v>-3.6523903000000003E-2</c:v>
                </c:pt>
                <c:pt idx="3435">
                  <c:v>-3.6358310999999997E-2</c:v>
                </c:pt>
                <c:pt idx="3436">
                  <c:v>-3.6018029E-2</c:v>
                </c:pt>
                <c:pt idx="3437">
                  <c:v>-3.5849825000000002E-2</c:v>
                </c:pt>
                <c:pt idx="3438">
                  <c:v>-3.5684233000000003E-2</c:v>
                </c:pt>
                <c:pt idx="3439">
                  <c:v>-3.5178358E-2</c:v>
                </c:pt>
                <c:pt idx="3440">
                  <c:v>-3.4838076000000003E-2</c:v>
                </c:pt>
                <c:pt idx="3441">
                  <c:v>-3.4506890999999998E-2</c:v>
                </c:pt>
                <c:pt idx="3442">
                  <c:v>-3.4166609000000001E-2</c:v>
                </c:pt>
                <c:pt idx="3443">
                  <c:v>-3.3660734999999997E-2</c:v>
                </c:pt>
                <c:pt idx="3444">
                  <c:v>-3.2647638999999999E-2</c:v>
                </c:pt>
                <c:pt idx="3445">
                  <c:v>-3.1976256000000002E-2</c:v>
                </c:pt>
                <c:pt idx="3446">
                  <c:v>-3.163589E-2</c:v>
                </c:pt>
                <c:pt idx="3447">
                  <c:v>-3.1304789E-2</c:v>
                </c:pt>
                <c:pt idx="3448">
                  <c:v>-3.1130016E-2</c:v>
                </c:pt>
                <c:pt idx="3449">
                  <c:v>-3.0455937999999998E-2</c:v>
                </c:pt>
                <c:pt idx="3450">
                  <c:v>-3.0290429000000001E-2</c:v>
                </c:pt>
                <c:pt idx="3451">
                  <c:v>-2.9618961999999999E-2</c:v>
                </c:pt>
                <c:pt idx="3452">
                  <c:v>-2.945337E-2</c:v>
                </c:pt>
                <c:pt idx="3453">
                  <c:v>-2.8607213999999999E-2</c:v>
                </c:pt>
                <c:pt idx="3454">
                  <c:v>-2.8265584E-2</c:v>
                </c:pt>
                <c:pt idx="3455">
                  <c:v>-2.7594117000000001E-2</c:v>
                </c:pt>
                <c:pt idx="3456">
                  <c:v>-2.7088243000000001E-2</c:v>
                </c:pt>
                <c:pt idx="3457">
                  <c:v>-2.6922734E-2</c:v>
                </c:pt>
                <c:pt idx="3458">
                  <c:v>-2.6582367999999999E-2</c:v>
                </c:pt>
                <c:pt idx="3459">
                  <c:v>-2.641686E-2</c:v>
                </c:pt>
                <c:pt idx="3460">
                  <c:v>-2.6076493999999999E-2</c:v>
                </c:pt>
                <c:pt idx="3461">
                  <c:v>-2.5577189E-2</c:v>
                </c:pt>
                <c:pt idx="3462">
                  <c:v>-2.5236907999999999E-2</c:v>
                </c:pt>
                <c:pt idx="3463">
                  <c:v>-2.5071315E-2</c:v>
                </c:pt>
                <c:pt idx="3464">
                  <c:v>-2.4896542000000001E-2</c:v>
                </c:pt>
                <c:pt idx="3465">
                  <c:v>-2.4059566000000001E-2</c:v>
                </c:pt>
                <c:pt idx="3466">
                  <c:v>-2.3388098999999999E-2</c:v>
                </c:pt>
                <c:pt idx="3467">
                  <c:v>-2.3219980000000001E-2</c:v>
                </c:pt>
                <c:pt idx="3468">
                  <c:v>-2.2879614E-2</c:v>
                </c:pt>
                <c:pt idx="3469">
                  <c:v>-2.2873043999999999E-2</c:v>
                </c:pt>
                <c:pt idx="3470">
                  <c:v>-2.2714106000000001E-2</c:v>
                </c:pt>
                <c:pt idx="3471">
                  <c:v>-2.237374E-2</c:v>
                </c:pt>
                <c:pt idx="3472">
                  <c:v>-2.2367169999999999E-2</c:v>
                </c:pt>
                <c:pt idx="3473">
                  <c:v>-2.1527582999999999E-2</c:v>
                </c:pt>
                <c:pt idx="3474">
                  <c:v>-2.1361991E-2</c:v>
                </c:pt>
                <c:pt idx="3475">
                  <c:v>-2.1356769000000001E-2</c:v>
                </c:pt>
                <c:pt idx="3476">
                  <c:v>-2.1196398000000002E-2</c:v>
                </c:pt>
                <c:pt idx="3477">
                  <c:v>-2.1021709E-2</c:v>
                </c:pt>
                <c:pt idx="3478">
                  <c:v>-2.0689261E-2</c:v>
                </c:pt>
                <c:pt idx="3479">
                  <c:v>-2.0523667999999998E-2</c:v>
                </c:pt>
                <c:pt idx="3480">
                  <c:v>-2.0183386000000001E-2</c:v>
                </c:pt>
                <c:pt idx="3481">
                  <c:v>-1.9840409E-2</c:v>
                </c:pt>
                <c:pt idx="3482">
                  <c:v>-1.9337146E-2</c:v>
                </c:pt>
                <c:pt idx="3483">
                  <c:v>-1.9171636999999998E-2</c:v>
                </c:pt>
                <c:pt idx="3484">
                  <c:v>-1.9166331000000002E-2</c:v>
                </c:pt>
                <c:pt idx="3485">
                  <c:v>-1.9004697000000001E-2</c:v>
                </c:pt>
                <c:pt idx="3486">
                  <c:v>-1.8839188999999999E-2</c:v>
                </c:pt>
                <c:pt idx="3487">
                  <c:v>-1.8664415E-2</c:v>
                </c:pt>
                <c:pt idx="3488">
                  <c:v>-1.8661804000000001E-2</c:v>
                </c:pt>
                <c:pt idx="3489">
                  <c:v>-1.8498823000000001E-2</c:v>
                </c:pt>
                <c:pt idx="3490">
                  <c:v>-1.8493600999999998E-2</c:v>
                </c:pt>
                <c:pt idx="3491">
                  <c:v>-1.8333314999999999E-2</c:v>
                </c:pt>
                <c:pt idx="3492">
                  <c:v>-1.7991685E-2</c:v>
                </c:pt>
                <c:pt idx="3493">
                  <c:v>-1.7826093000000001E-2</c:v>
                </c:pt>
                <c:pt idx="3494">
                  <c:v>-1.7660584E-2</c:v>
                </c:pt>
                <c:pt idx="3495">
                  <c:v>-1.715471E-2</c:v>
                </c:pt>
                <c:pt idx="3496">
                  <c:v>-1.6474062000000001E-2</c:v>
                </c:pt>
                <c:pt idx="3497">
                  <c:v>-1.3944689999999999E-2</c:v>
                </c:pt>
                <c:pt idx="3498">
                  <c:v>-1.2607063E-2</c:v>
                </c:pt>
                <c:pt idx="3499">
                  <c:v>-1.1249726E-2</c:v>
                </c:pt>
                <c:pt idx="3500">
                  <c:v>-8.5534140000000005E-3</c:v>
                </c:pt>
                <c:pt idx="3501">
                  <c:v>-8.3865580000000006E-3</c:v>
                </c:pt>
                <c:pt idx="3502">
                  <c:v>-7.5535410000000004E-3</c:v>
                </c:pt>
                <c:pt idx="3503">
                  <c:v>-4.1753179999999999E-3</c:v>
                </c:pt>
                <c:pt idx="3504">
                  <c:v>-3.5012400000000001E-3</c:v>
                </c:pt>
                <c:pt idx="3505">
                  <c:v>-3.3317730000000001E-3</c:v>
                </c:pt>
                <c:pt idx="3506">
                  <c:v>-3.1727499999999998E-3</c:v>
                </c:pt>
                <c:pt idx="3507">
                  <c:v>-2.6655279999999999E-3</c:v>
                </c:pt>
                <c:pt idx="3508">
                  <c:v>-2.5000199999999999E-3</c:v>
                </c:pt>
                <c:pt idx="3509">
                  <c:v>-1.9941450000000001E-3</c:v>
                </c:pt>
                <c:pt idx="3510">
                  <c:v>-1.488271E-3</c:v>
                </c:pt>
                <c:pt idx="3511">
                  <c:v>-1.3134970000000001E-3</c:v>
                </c:pt>
                <c:pt idx="3512">
                  <c:v>-9.8239700000000009E-4</c:v>
                </c:pt>
                <c:pt idx="3513">
                  <c:v>-6.4203100000000005E-4</c:v>
                </c:pt>
                <c:pt idx="3514">
                  <c:v>-3.0958199999999998E-4</c:v>
                </c:pt>
                <c:pt idx="3515">
                  <c:v>3.0700000000000001E-5</c:v>
                </c:pt>
                <c:pt idx="3516">
                  <c:v>3.7106599999999997E-4</c:v>
                </c:pt>
                <c:pt idx="3517">
                  <c:v>5.3657399999999995E-4</c:v>
                </c:pt>
                <c:pt idx="3518">
                  <c:v>1.5496710000000001E-3</c:v>
                </c:pt>
                <c:pt idx="3519">
                  <c:v>1.880771E-3</c:v>
                </c:pt>
                <c:pt idx="3520">
                  <c:v>2.0568930000000002E-3</c:v>
                </c:pt>
                <c:pt idx="3521">
                  <c:v>2.3879930000000001E-3</c:v>
                </c:pt>
                <c:pt idx="3522">
                  <c:v>2.893868E-3</c:v>
                </c:pt>
                <c:pt idx="3523">
                  <c:v>3.0593759999999999E-3</c:v>
                </c:pt>
                <c:pt idx="3524">
                  <c:v>3.5652510000000002E-3</c:v>
                </c:pt>
                <c:pt idx="3525">
                  <c:v>3.9056170000000001E-3</c:v>
                </c:pt>
                <c:pt idx="3526">
                  <c:v>4.2458979999999997E-3</c:v>
                </c:pt>
                <c:pt idx="3527">
                  <c:v>4.4167130000000001E-3</c:v>
                </c:pt>
                <c:pt idx="3528">
                  <c:v>4.578347E-3</c:v>
                </c:pt>
                <c:pt idx="3529">
                  <c:v>6.1012760000000001E-3</c:v>
                </c:pt>
                <c:pt idx="3530">
                  <c:v>6.269396E-3</c:v>
                </c:pt>
                <c:pt idx="3531">
                  <c:v>9.631868E-3</c:v>
                </c:pt>
                <c:pt idx="3532">
                  <c:v>1.148194E-2</c:v>
                </c:pt>
                <c:pt idx="3533">
                  <c:v>1.2671073E-2</c:v>
                </c:pt>
                <c:pt idx="3534">
                  <c:v>1.4686738E-2</c:v>
                </c:pt>
                <c:pt idx="3535">
                  <c:v>1.5027019000000001E-2</c:v>
                </c:pt>
                <c:pt idx="3536">
                  <c:v>1.5358119999999999E-2</c:v>
                </c:pt>
                <c:pt idx="3537">
                  <c:v>1.5698486000000001E-2</c:v>
                </c:pt>
                <c:pt idx="3538">
                  <c:v>1.5863994999999999E-2</c:v>
                </c:pt>
                <c:pt idx="3539">
                  <c:v>1.6376439E-2</c:v>
                </c:pt>
                <c:pt idx="3540">
                  <c:v>1.6711498000000002E-2</c:v>
                </c:pt>
                <c:pt idx="3541">
                  <c:v>1.6877091E-2</c:v>
                </c:pt>
                <c:pt idx="3542">
                  <c:v>1.7042683999999999E-2</c:v>
                </c:pt>
                <c:pt idx="3543">
                  <c:v>1.7213498000000001E-2</c:v>
                </c:pt>
                <c:pt idx="3544">
                  <c:v>1.7724594999999999E-2</c:v>
                </c:pt>
                <c:pt idx="3545">
                  <c:v>2.5641284E-2</c:v>
                </c:pt>
                <c:pt idx="3546">
                  <c:v>2.5969774000000001E-2</c:v>
                </c:pt>
                <c:pt idx="3547">
                  <c:v>3.0864273000000001E-2</c:v>
                </c:pt>
                <c:pt idx="3548">
                  <c:v>3.2374063000000002E-2</c:v>
                </c:pt>
                <c:pt idx="3549">
                  <c:v>3.3055974000000002E-2</c:v>
                </c:pt>
                <c:pt idx="3550">
                  <c:v>3.3220219000000002E-2</c:v>
                </c:pt>
                <c:pt idx="3551">
                  <c:v>3.3385812000000001E-2</c:v>
                </c:pt>
                <c:pt idx="3552">
                  <c:v>3.3551320000000003E-2</c:v>
                </c:pt>
                <c:pt idx="3553">
                  <c:v>3.3891685999999997E-2</c:v>
                </c:pt>
                <c:pt idx="3554">
                  <c:v>3.4224135000000003E-2</c:v>
                </c:pt>
                <c:pt idx="3555">
                  <c:v>3.4401518999999998E-2</c:v>
                </c:pt>
                <c:pt idx="3556">
                  <c:v>3.4730008999999999E-2</c:v>
                </c:pt>
                <c:pt idx="3557">
                  <c:v>3.5070291000000003E-2</c:v>
                </c:pt>
                <c:pt idx="3558">
                  <c:v>3.5576165E-2</c:v>
                </c:pt>
                <c:pt idx="3559">
                  <c:v>3.5911224999999998E-2</c:v>
                </c:pt>
                <c:pt idx="3560">
                  <c:v>3.6076816999999997E-2</c:v>
                </c:pt>
                <c:pt idx="3561">
                  <c:v>3.6417099000000001E-2</c:v>
                </c:pt>
                <c:pt idx="3562">
                  <c:v>3.6750894999999999E-2</c:v>
                </c:pt>
                <c:pt idx="3563">
                  <c:v>3.6925584999999997E-2</c:v>
                </c:pt>
                <c:pt idx="3564">
                  <c:v>3.7256770000000002E-2</c:v>
                </c:pt>
                <c:pt idx="3565">
                  <c:v>3.9623159999999998E-2</c:v>
                </c:pt>
                <c:pt idx="3566">
                  <c:v>4.1979106000000002E-2</c:v>
                </c:pt>
                <c:pt idx="3567">
                  <c:v>4.2310291E-2</c:v>
                </c:pt>
                <c:pt idx="3568">
                  <c:v>4.2983022000000003E-2</c:v>
                </c:pt>
                <c:pt idx="3569">
                  <c:v>4.3323303000000001E-2</c:v>
                </c:pt>
                <c:pt idx="3570">
                  <c:v>4.3663669000000002E-2</c:v>
                </c:pt>
                <c:pt idx="3571">
                  <c:v>4.3994770000000002E-2</c:v>
                </c:pt>
                <c:pt idx="3572">
                  <c:v>4.4169543999999998E-2</c:v>
                </c:pt>
                <c:pt idx="3573">
                  <c:v>4.4172154999999998E-2</c:v>
                </c:pt>
                <c:pt idx="3574">
                  <c:v>4.4335052E-2</c:v>
                </c:pt>
                <c:pt idx="3575">
                  <c:v>4.4340358000000003E-2</c:v>
                </c:pt>
                <c:pt idx="3576">
                  <c:v>4.4675418000000001E-2</c:v>
                </c:pt>
                <c:pt idx="3577">
                  <c:v>4.5007867E-2</c:v>
                </c:pt>
                <c:pt idx="3578">
                  <c:v>4.5014435999999998E-2</c:v>
                </c:pt>
                <c:pt idx="3579">
                  <c:v>4.7870950000000002E-2</c:v>
                </c:pt>
                <c:pt idx="3580">
                  <c:v>4.8036543000000001E-2</c:v>
                </c:pt>
                <c:pt idx="3581">
                  <c:v>4.8542416999999997E-2</c:v>
                </c:pt>
                <c:pt idx="3582">
                  <c:v>4.8882699000000002E-2</c:v>
                </c:pt>
                <c:pt idx="3583">
                  <c:v>4.9048292E-2</c:v>
                </c:pt>
                <c:pt idx="3584">
                  <c:v>4.9223065000000003E-2</c:v>
                </c:pt>
                <c:pt idx="3585">
                  <c:v>4.9388573999999998E-2</c:v>
                </c:pt>
                <c:pt idx="3586">
                  <c:v>4.9393880000000001E-2</c:v>
                </c:pt>
                <c:pt idx="3587">
                  <c:v>4.9554165999999997E-2</c:v>
                </c:pt>
                <c:pt idx="3588">
                  <c:v>5.0404281000000002E-2</c:v>
                </c:pt>
                <c:pt idx="3589">
                  <c:v>5.191146E-2</c:v>
                </c:pt>
                <c:pt idx="3590">
                  <c:v>5.2088844000000002E-2</c:v>
                </c:pt>
                <c:pt idx="3591">
                  <c:v>5.3941527000000003E-2</c:v>
                </c:pt>
                <c:pt idx="3592">
                  <c:v>5.4612910000000001E-2</c:v>
                </c:pt>
                <c:pt idx="3593">
                  <c:v>5.6292166999999997E-2</c:v>
                </c:pt>
                <c:pt idx="3594">
                  <c:v>5.6805959000000003E-2</c:v>
                </c:pt>
                <c:pt idx="3595">
                  <c:v>5.8147545000000002E-2</c:v>
                </c:pt>
                <c:pt idx="3596">
                  <c:v>5.8322234000000001E-2</c:v>
                </c:pt>
                <c:pt idx="3597">
                  <c:v>5.8323581999999999E-2</c:v>
                </c:pt>
                <c:pt idx="3598">
                  <c:v>5.8487826999999999E-2</c:v>
                </c:pt>
                <c:pt idx="3599">
                  <c:v>5.8653418999999998E-2</c:v>
                </c:pt>
                <c:pt idx="3600">
                  <c:v>5.8658640999999997E-2</c:v>
                </c:pt>
                <c:pt idx="3601">
                  <c:v>5.8993701000000003E-2</c:v>
                </c:pt>
                <c:pt idx="3602">
                  <c:v>6.0503491E-2</c:v>
                </c:pt>
                <c:pt idx="3603">
                  <c:v>6.1859480000000001E-2</c:v>
                </c:pt>
                <c:pt idx="3604">
                  <c:v>6.2193192000000001E-2</c:v>
                </c:pt>
                <c:pt idx="3605">
                  <c:v>6.2358785E-2</c:v>
                </c:pt>
                <c:pt idx="3606">
                  <c:v>6.2524377000000006E-2</c:v>
                </c:pt>
                <c:pt idx="3607">
                  <c:v>6.7249324999999999E-2</c:v>
                </c:pt>
                <c:pt idx="3608">
                  <c:v>6.7577814E-2</c:v>
                </c:pt>
                <c:pt idx="3609">
                  <c:v>6.7755282999999999E-2</c:v>
                </c:pt>
                <c:pt idx="3610">
                  <c:v>6.9607965999999993E-2</c:v>
                </c:pt>
                <c:pt idx="3611">
                  <c:v>7.1452731000000005E-2</c:v>
                </c:pt>
                <c:pt idx="3612">
                  <c:v>7.3314678999999994E-2</c:v>
                </c:pt>
                <c:pt idx="3613">
                  <c:v>7.3482798000000002E-2</c:v>
                </c:pt>
                <c:pt idx="3614">
                  <c:v>7.5503685000000001E-2</c:v>
                </c:pt>
                <c:pt idx="3615">
                  <c:v>7.7188248000000001E-2</c:v>
                </c:pt>
                <c:pt idx="3616">
                  <c:v>7.7356367999999995E-2</c:v>
                </c:pt>
                <c:pt idx="3617">
                  <c:v>7.7519349000000001E-2</c:v>
                </c:pt>
                <c:pt idx="3618">
                  <c:v>7.7857019999999999E-2</c:v>
                </c:pt>
                <c:pt idx="3619">
                  <c:v>7.8022612000000005E-2</c:v>
                </c:pt>
                <c:pt idx="3620">
                  <c:v>7.8362894000000002E-2</c:v>
                </c:pt>
                <c:pt idx="3621">
                  <c:v>7.8539015000000004E-2</c:v>
                </c:pt>
                <c:pt idx="3622">
                  <c:v>7.8703259999999997E-2</c:v>
                </c:pt>
                <c:pt idx="3623">
                  <c:v>7.8868769000000005E-2</c:v>
                </c:pt>
                <c:pt idx="3624">
                  <c:v>7.8872727000000004E-2</c:v>
                </c:pt>
                <c:pt idx="3625">
                  <c:v>7.9209135E-2</c:v>
                </c:pt>
                <c:pt idx="3626">
                  <c:v>7.9540236E-2</c:v>
                </c:pt>
                <c:pt idx="3627">
                  <c:v>7.9880516999999998E-2</c:v>
                </c:pt>
                <c:pt idx="3628">
                  <c:v>8.0551983999999993E-2</c:v>
                </c:pt>
                <c:pt idx="3629">
                  <c:v>8.0892266000000004E-2</c:v>
                </c:pt>
                <c:pt idx="3630">
                  <c:v>8.1228673000000001E-2</c:v>
                </c:pt>
                <c:pt idx="3631">
                  <c:v>8.1394266000000007E-2</c:v>
                </c:pt>
                <c:pt idx="3632">
                  <c:v>8.1734548000000004E-2</c:v>
                </c:pt>
                <c:pt idx="3633">
                  <c:v>8.2910541000000004E-2</c:v>
                </c:pt>
                <c:pt idx="3634">
                  <c:v>8.3076133999999996E-2</c:v>
                </c:pt>
                <c:pt idx="3635">
                  <c:v>8.3250823000000002E-2</c:v>
                </c:pt>
                <c:pt idx="3636">
                  <c:v>8.3421722000000004E-2</c:v>
                </c:pt>
                <c:pt idx="3637">
                  <c:v>8.3592536999999995E-2</c:v>
                </c:pt>
                <c:pt idx="3638">
                  <c:v>8.3922289999999997E-2</c:v>
                </c:pt>
                <c:pt idx="3639">
                  <c:v>8.4262656000000005E-2</c:v>
                </c:pt>
                <c:pt idx="3640">
                  <c:v>8.4428164E-2</c:v>
                </c:pt>
                <c:pt idx="3641">
                  <c:v>8.4760612999999999E-2</c:v>
                </c:pt>
                <c:pt idx="3642">
                  <c:v>8.4935386000000002E-2</c:v>
                </c:pt>
                <c:pt idx="3643">
                  <c:v>8.5441261000000004E-2</c:v>
                </c:pt>
                <c:pt idx="3644">
                  <c:v>8.5947134999999994E-2</c:v>
                </c:pt>
                <c:pt idx="3645">
                  <c:v>8.6282195000000006E-2</c:v>
                </c:pt>
                <c:pt idx="3646">
                  <c:v>8.6613296000000006E-2</c:v>
                </c:pt>
                <c:pt idx="3647">
                  <c:v>8.6788068999999995E-2</c:v>
                </c:pt>
                <c:pt idx="3648">
                  <c:v>8.7121780999999995E-2</c:v>
                </c:pt>
                <c:pt idx="3649">
                  <c:v>8.7287374000000001E-2</c:v>
                </c:pt>
                <c:pt idx="3650">
                  <c:v>8.7462147000000004E-2</c:v>
                </c:pt>
                <c:pt idx="3651">
                  <c:v>8.7464758000000004E-2</c:v>
                </c:pt>
                <c:pt idx="3652">
                  <c:v>8.7801166E-2</c:v>
                </c:pt>
                <c:pt idx="3653">
                  <c:v>8.7964062999999995E-2</c:v>
                </c:pt>
                <c:pt idx="3654">
                  <c:v>8.8129655000000001E-2</c:v>
                </c:pt>
                <c:pt idx="3655">
                  <c:v>8.9485645000000003E-2</c:v>
                </c:pt>
                <c:pt idx="3656">
                  <c:v>8.9653847999999994E-2</c:v>
                </c:pt>
                <c:pt idx="3657">
                  <c:v>9.1000656999999999E-2</c:v>
                </c:pt>
                <c:pt idx="3658">
                  <c:v>9.100192E-2</c:v>
                </c:pt>
                <c:pt idx="3659">
                  <c:v>9.1335715999999997E-2</c:v>
                </c:pt>
                <c:pt idx="3660">
                  <c:v>9.1501309000000003E-2</c:v>
                </c:pt>
                <c:pt idx="3661">
                  <c:v>9.1841591E-2</c:v>
                </c:pt>
                <c:pt idx="3662">
                  <c:v>9.2175303E-2</c:v>
                </c:pt>
                <c:pt idx="3663">
                  <c:v>9.2340895000000006E-2</c:v>
                </c:pt>
                <c:pt idx="3664">
                  <c:v>9.2515668999999995E-2</c:v>
                </c:pt>
                <c:pt idx="3665">
                  <c:v>9.2518279999999994E-2</c:v>
                </c:pt>
                <c:pt idx="3666">
                  <c:v>9.2846769999999995E-2</c:v>
                </c:pt>
                <c:pt idx="3667">
                  <c:v>9.3183177000000006E-2</c:v>
                </c:pt>
                <c:pt idx="3668">
                  <c:v>9.3699495999999993E-2</c:v>
                </c:pt>
                <c:pt idx="3669">
                  <c:v>9.4202758999999997E-2</c:v>
                </c:pt>
                <c:pt idx="3670">
                  <c:v>9.4369699000000001E-2</c:v>
                </c:pt>
                <c:pt idx="3671">
                  <c:v>9.4535206999999996E-2</c:v>
                </c:pt>
                <c:pt idx="3672">
                  <c:v>9.4867655999999995E-2</c:v>
                </c:pt>
                <c:pt idx="3673">
                  <c:v>9.5042428999999998E-2</c:v>
                </c:pt>
                <c:pt idx="3674">
                  <c:v>9.5207938000000006E-2</c:v>
                </c:pt>
                <c:pt idx="3675">
                  <c:v>9.7908208999999996E-2</c:v>
                </c:pt>
                <c:pt idx="3676">
                  <c:v>9.8071106000000005E-2</c:v>
                </c:pt>
                <c:pt idx="3677">
                  <c:v>9.8236697999999997E-2</c:v>
                </c:pt>
                <c:pt idx="3678">
                  <c:v>9.8576979999999995E-2</c:v>
                </c:pt>
                <c:pt idx="3679">
                  <c:v>9.8753016999999998E-2</c:v>
                </c:pt>
                <c:pt idx="3680">
                  <c:v>9.8917262000000006E-2</c:v>
                </c:pt>
                <c:pt idx="3681">
                  <c:v>9.9256280000000002E-2</c:v>
                </c:pt>
                <c:pt idx="3682">
                  <c:v>9.9592687999999999E-2</c:v>
                </c:pt>
                <c:pt idx="3683">
                  <c:v>0.10060308900000001</c:v>
                </c:pt>
                <c:pt idx="3684">
                  <c:v>0.100767334</c:v>
                </c:pt>
                <c:pt idx="3685">
                  <c:v>0.10093292600000001</c:v>
                </c:pt>
                <c:pt idx="3686">
                  <c:v>0.100940844</c:v>
                </c:pt>
                <c:pt idx="3687">
                  <c:v>0.10110769999999999</c:v>
                </c:pt>
                <c:pt idx="3688">
                  <c:v>0.101273208</c:v>
                </c:pt>
                <c:pt idx="3689">
                  <c:v>0.101608268</c:v>
                </c:pt>
                <c:pt idx="3690">
                  <c:v>0.102114226</c:v>
                </c:pt>
                <c:pt idx="3691">
                  <c:v>0.102447938</c:v>
                </c:pt>
                <c:pt idx="3692">
                  <c:v>0.102622712</c:v>
                </c:pt>
                <c:pt idx="3693">
                  <c:v>0.10295381300000001</c:v>
                </c:pt>
                <c:pt idx="3694">
                  <c:v>0.103124627</c:v>
                </c:pt>
                <c:pt idx="3695">
                  <c:v>0.10329022</c:v>
                </c:pt>
                <c:pt idx="3696">
                  <c:v>0.10346490899999999</c:v>
                </c:pt>
                <c:pt idx="3697">
                  <c:v>0.103467604</c:v>
                </c:pt>
                <c:pt idx="3698">
                  <c:v>0.103630502</c:v>
                </c:pt>
                <c:pt idx="3699">
                  <c:v>0.103635724</c:v>
                </c:pt>
                <c:pt idx="3700">
                  <c:v>0.103806539</c:v>
                </c:pt>
                <c:pt idx="3701">
                  <c:v>0.103970784</c:v>
                </c:pt>
                <c:pt idx="3702">
                  <c:v>0.104136376</c:v>
                </c:pt>
                <c:pt idx="3703">
                  <c:v>0.10430196899999999</c:v>
                </c:pt>
                <c:pt idx="3704">
                  <c:v>0.104476742</c:v>
                </c:pt>
                <c:pt idx="3705">
                  <c:v>0.104814413</c:v>
                </c:pt>
                <c:pt idx="3706">
                  <c:v>0.104974699</c:v>
                </c:pt>
                <c:pt idx="3707">
                  <c:v>0.105314981</c:v>
                </c:pt>
                <c:pt idx="3708">
                  <c:v>0.105320287</c:v>
                </c:pt>
                <c:pt idx="3709">
                  <c:v>0.10582085500000001</c:v>
                </c:pt>
                <c:pt idx="3710">
                  <c:v>0.105986448</c:v>
                </c:pt>
                <c:pt idx="3711">
                  <c:v>0.106496281</c:v>
                </c:pt>
                <c:pt idx="3712">
                  <c:v>0.107002155</c:v>
                </c:pt>
                <c:pt idx="3713">
                  <c:v>0.107335867</c:v>
                </c:pt>
                <c:pt idx="3714">
                  <c:v>0.107676233</c:v>
                </c:pt>
                <c:pt idx="3715">
                  <c:v>0.108007334</c:v>
                </c:pt>
                <c:pt idx="3716">
                  <c:v>0.108352922</c:v>
                </c:pt>
                <c:pt idx="3717">
                  <c:v>0.108518431</c:v>
                </c:pt>
                <c:pt idx="3718">
                  <c:v>0.108689245</c:v>
                </c:pt>
                <c:pt idx="3719">
                  <c:v>0.10886005999999999</c:v>
                </c:pt>
                <c:pt idx="3720">
                  <c:v>0.11003740100000001</c:v>
                </c:pt>
                <c:pt idx="3721">
                  <c:v>0.111715311</c:v>
                </c:pt>
                <c:pt idx="3722">
                  <c:v>0.11205567700000001</c:v>
                </c:pt>
                <c:pt idx="3723">
                  <c:v>0.11205828800000001</c:v>
                </c:pt>
                <c:pt idx="3724">
                  <c:v>0.112226491</c:v>
                </c:pt>
                <c:pt idx="3725">
                  <c:v>0.11238938900000001</c:v>
                </c:pt>
                <c:pt idx="3726">
                  <c:v>0.11323167000000001</c:v>
                </c:pt>
                <c:pt idx="3727">
                  <c:v>0.113571952</c:v>
                </c:pt>
                <c:pt idx="3728">
                  <c:v>0.114243419</c:v>
                </c:pt>
                <c:pt idx="3729">
                  <c:v>0.114583701</c:v>
                </c:pt>
                <c:pt idx="3730">
                  <c:v>0.117617684</c:v>
                </c:pt>
                <c:pt idx="3731">
                  <c:v>0.118791066</c:v>
                </c:pt>
                <c:pt idx="3732">
                  <c:v>0.118797636</c:v>
                </c:pt>
                <c:pt idx="3733">
                  <c:v>0.118967103</c:v>
                </c:pt>
                <c:pt idx="3734">
                  <c:v>0.119131348</c:v>
                </c:pt>
                <c:pt idx="3735">
                  <c:v>0.119302163</c:v>
                </c:pt>
                <c:pt idx="3736">
                  <c:v>0.119637222</c:v>
                </c:pt>
                <c:pt idx="3737">
                  <c:v>0.119969671</c:v>
                </c:pt>
                <c:pt idx="3738">
                  <c:v>0.120144444</c:v>
                </c:pt>
                <c:pt idx="3739">
                  <c:v>0.12031003699999999</c:v>
                </c:pt>
                <c:pt idx="3740">
                  <c:v>0.12064113799999999</c:v>
                </c:pt>
                <c:pt idx="3741">
                  <c:v>0.120815911</c:v>
                </c:pt>
                <c:pt idx="3742">
                  <c:v>0.121323049</c:v>
                </c:pt>
                <c:pt idx="3743">
                  <c:v>0.12149125299999999</c:v>
                </c:pt>
                <c:pt idx="3744">
                  <c:v>0.124692092</c:v>
                </c:pt>
                <c:pt idx="3745">
                  <c:v>0.12502976199999999</c:v>
                </c:pt>
                <c:pt idx="3746">
                  <c:v>0.125869433</c:v>
                </c:pt>
                <c:pt idx="3747">
                  <c:v>0.12587204399999999</c:v>
                </c:pt>
                <c:pt idx="3748">
                  <c:v>0.12603494100000001</c:v>
                </c:pt>
                <c:pt idx="3749">
                  <c:v>0.12604024799999999</c:v>
                </c:pt>
                <c:pt idx="3750">
                  <c:v>0.126200534</c:v>
                </c:pt>
                <c:pt idx="3751">
                  <c:v>0.12637530699999999</c:v>
                </c:pt>
                <c:pt idx="3752">
                  <c:v>0.127042815</c:v>
                </c:pt>
                <c:pt idx="3753">
                  <c:v>0.12772472700000001</c:v>
                </c:pt>
                <c:pt idx="3754">
                  <c:v>0.127890319</c:v>
                </c:pt>
                <c:pt idx="3755">
                  <c:v>0.12839223499999999</c:v>
                </c:pt>
                <c:pt idx="3756">
                  <c:v>0.12873251699999999</c:v>
                </c:pt>
                <c:pt idx="3757">
                  <c:v>0.12873521199999999</c:v>
                </c:pt>
                <c:pt idx="3758">
                  <c:v>0.12889810900000001</c:v>
                </c:pt>
                <c:pt idx="3759">
                  <c:v>0.129074146</c:v>
                </c:pt>
                <c:pt idx="3760">
                  <c:v>0.12923839100000001</c:v>
                </c:pt>
                <c:pt idx="3761">
                  <c:v>0.129409206</c:v>
                </c:pt>
                <c:pt idx="3762">
                  <c:v>0.12974561300000001</c:v>
                </c:pt>
                <c:pt idx="3763">
                  <c:v>0.13007671400000001</c:v>
                </c:pt>
                <c:pt idx="3764">
                  <c:v>0.13041707999999999</c:v>
                </c:pt>
                <c:pt idx="3765">
                  <c:v>0.130582588</c:v>
                </c:pt>
                <c:pt idx="3766">
                  <c:v>0.13092295400000001</c:v>
                </c:pt>
                <c:pt idx="3767">
                  <c:v>0.13108846299999999</c:v>
                </c:pt>
                <c:pt idx="3768">
                  <c:v>0.13193596699999999</c:v>
                </c:pt>
                <c:pt idx="3769">
                  <c:v>0.133284123</c:v>
                </c:pt>
                <c:pt idx="3770">
                  <c:v>0.13345232600000001</c:v>
                </c:pt>
                <c:pt idx="3771">
                  <c:v>0.13395685299999999</c:v>
                </c:pt>
                <c:pt idx="3772">
                  <c:v>0.13614198399999999</c:v>
                </c:pt>
                <c:pt idx="3773">
                  <c:v>0.13664785900000001</c:v>
                </c:pt>
                <c:pt idx="3774">
                  <c:v>0.136818673</c:v>
                </c:pt>
                <c:pt idx="3775">
                  <c:v>0.13698426599999999</c:v>
                </c:pt>
                <c:pt idx="3776">
                  <c:v>0.13714985800000001</c:v>
                </c:pt>
                <c:pt idx="3777">
                  <c:v>0.137656996</c:v>
                </c:pt>
                <c:pt idx="3778">
                  <c:v>0.13783176999999999</c:v>
                </c:pt>
                <c:pt idx="3779">
                  <c:v>0.13867405099999999</c:v>
                </c:pt>
                <c:pt idx="3780">
                  <c:v>0.142885291</c:v>
                </c:pt>
                <c:pt idx="3781">
                  <c:v>0.143727573</c:v>
                </c:pt>
                <c:pt idx="3782">
                  <c:v>0.14456976999999999</c:v>
                </c:pt>
                <c:pt idx="3783">
                  <c:v>0.144739322</c:v>
                </c:pt>
                <c:pt idx="3784">
                  <c:v>0.14490483000000001</c:v>
                </c:pt>
                <c:pt idx="3785">
                  <c:v>0.145070423</c:v>
                </c:pt>
                <c:pt idx="3786">
                  <c:v>0.145237278</c:v>
                </c:pt>
                <c:pt idx="3787">
                  <c:v>0.14541205200000001</c:v>
                </c:pt>
                <c:pt idx="3788">
                  <c:v>0.14558025599999999</c:v>
                </c:pt>
                <c:pt idx="3789">
                  <c:v>0.145917926</c:v>
                </c:pt>
                <c:pt idx="3790">
                  <c:v>0.146249027</c:v>
                </c:pt>
                <c:pt idx="3791">
                  <c:v>0.147938813</c:v>
                </c:pt>
                <c:pt idx="3792">
                  <c:v>0.15130254900000001</c:v>
                </c:pt>
                <c:pt idx="3793">
                  <c:v>0.15164291499999999</c:v>
                </c:pt>
                <c:pt idx="3794">
                  <c:v>0.151645526</c:v>
                </c:pt>
                <c:pt idx="3795">
                  <c:v>0.15214483000000001</c:v>
                </c:pt>
                <c:pt idx="3796">
                  <c:v>0.15281756099999999</c:v>
                </c:pt>
                <c:pt idx="3797">
                  <c:v>0.15332343500000001</c:v>
                </c:pt>
                <c:pt idx="3798">
                  <c:v>0.15720357400000001</c:v>
                </c:pt>
                <c:pt idx="3799">
                  <c:v>0.159562131</c:v>
                </c:pt>
                <c:pt idx="3800">
                  <c:v>0.160404413</c:v>
                </c:pt>
                <c:pt idx="3801">
                  <c:v>0.16225709599999999</c:v>
                </c:pt>
                <c:pt idx="3802">
                  <c:v>0.16242664700000001</c:v>
                </c:pt>
                <c:pt idx="3803">
                  <c:v>0.163100725</c:v>
                </c:pt>
                <c:pt idx="3804">
                  <c:v>0.163268844</c:v>
                </c:pt>
                <c:pt idx="3805">
                  <c:v>0.163431826</c:v>
                </c:pt>
                <c:pt idx="3806">
                  <c:v>0.16427933</c:v>
                </c:pt>
                <c:pt idx="3807">
                  <c:v>0.16848534700000001</c:v>
                </c:pt>
                <c:pt idx="3808">
                  <c:v>0.168660121</c:v>
                </c:pt>
                <c:pt idx="3809">
                  <c:v>0.168661384</c:v>
                </c:pt>
                <c:pt idx="3810">
                  <c:v>0.168996444</c:v>
                </c:pt>
                <c:pt idx="3811">
                  <c:v>0.169327545</c:v>
                </c:pt>
                <c:pt idx="3812">
                  <c:v>0.16933285100000001</c:v>
                </c:pt>
                <c:pt idx="3813">
                  <c:v>0.16983341900000001</c:v>
                </c:pt>
                <c:pt idx="3814">
                  <c:v>0.169999012</c:v>
                </c:pt>
                <c:pt idx="3815">
                  <c:v>0.17017378499999999</c:v>
                </c:pt>
                <c:pt idx="3816">
                  <c:v>0.17050623400000001</c:v>
                </c:pt>
                <c:pt idx="3817">
                  <c:v>0.170846515</c:v>
                </c:pt>
                <c:pt idx="3818">
                  <c:v>0.17101733</c:v>
                </c:pt>
                <c:pt idx="3819">
                  <c:v>0.17118688100000001</c:v>
                </c:pt>
                <c:pt idx="3820">
                  <c:v>0.17135238999999999</c:v>
                </c:pt>
                <c:pt idx="3821">
                  <c:v>0.17151798200000001</c:v>
                </c:pt>
                <c:pt idx="3822">
                  <c:v>0.17185961199999999</c:v>
                </c:pt>
                <c:pt idx="3823">
                  <c:v>0.172023857</c:v>
                </c:pt>
                <c:pt idx="3824">
                  <c:v>0.172358916</c:v>
                </c:pt>
                <c:pt idx="3825">
                  <c:v>0.17277020300000001</c:v>
                </c:pt>
                <c:pt idx="3826">
                  <c:v>0.17303821699999999</c:v>
                </c:pt>
                <c:pt idx="3827">
                  <c:v>0.17320380899999999</c:v>
                </c:pt>
                <c:pt idx="3828">
                  <c:v>0.173369317</c:v>
                </c:pt>
                <c:pt idx="3829">
                  <c:v>0.17354409100000001</c:v>
                </c:pt>
                <c:pt idx="3830">
                  <c:v>0.173709684</c:v>
                </c:pt>
                <c:pt idx="3831">
                  <c:v>0.17387519200000001</c:v>
                </c:pt>
                <c:pt idx="3832">
                  <c:v>0.17388049799999999</c:v>
                </c:pt>
                <c:pt idx="3833">
                  <c:v>0.17421555799999999</c:v>
                </c:pt>
                <c:pt idx="3834">
                  <c:v>0.174381066</c:v>
                </c:pt>
                <c:pt idx="3835">
                  <c:v>0.174557187</c:v>
                </c:pt>
                <c:pt idx="3836">
                  <c:v>0.17488694099999999</c:v>
                </c:pt>
                <c:pt idx="3837">
                  <c:v>0.17505253300000001</c:v>
                </c:pt>
                <c:pt idx="3838">
                  <c:v>0.175227307</c:v>
                </c:pt>
                <c:pt idx="3839">
                  <c:v>0.17555975500000001</c:v>
                </c:pt>
                <c:pt idx="3840">
                  <c:v>0.17606563</c:v>
                </c:pt>
                <c:pt idx="3841">
                  <c:v>0.176400689</c:v>
                </c:pt>
                <c:pt idx="3842">
                  <c:v>0.176913133</c:v>
                </c:pt>
                <c:pt idx="3843">
                  <c:v>0.17724684499999999</c:v>
                </c:pt>
                <c:pt idx="3844">
                  <c:v>0.17741243800000001</c:v>
                </c:pt>
                <c:pt idx="3845">
                  <c:v>0.17758721099999999</c:v>
                </c:pt>
                <c:pt idx="3846">
                  <c:v>0.17775272</c:v>
                </c:pt>
                <c:pt idx="3847">
                  <c:v>0.177918312</c:v>
                </c:pt>
                <c:pt idx="3848">
                  <c:v>0.17826128899999999</c:v>
                </c:pt>
                <c:pt idx="3849">
                  <c:v>0.178426798</c:v>
                </c:pt>
                <c:pt idx="3850">
                  <c:v>0.17876716400000001</c:v>
                </c:pt>
                <c:pt idx="3851">
                  <c:v>0.17910348700000001</c:v>
                </c:pt>
                <c:pt idx="3852">
                  <c:v>0.179269079</c:v>
                </c:pt>
                <c:pt idx="3853">
                  <c:v>0.17961070900000001</c:v>
                </c:pt>
                <c:pt idx="3854">
                  <c:v>0.17977495399999999</c:v>
                </c:pt>
                <c:pt idx="3855">
                  <c:v>0.179940462</c:v>
                </c:pt>
                <c:pt idx="3856">
                  <c:v>0.18011523600000001</c:v>
                </c:pt>
                <c:pt idx="3857">
                  <c:v>0.180116583</c:v>
                </c:pt>
                <c:pt idx="3858">
                  <c:v>0.18044633600000001</c:v>
                </c:pt>
                <c:pt idx="3859">
                  <c:v>0.18078805000000001</c:v>
                </c:pt>
                <c:pt idx="3860">
                  <c:v>0.18095355799999999</c:v>
                </c:pt>
                <c:pt idx="3861">
                  <c:v>0.18111915100000001</c:v>
                </c:pt>
                <c:pt idx="3862">
                  <c:v>0.18112437300000001</c:v>
                </c:pt>
                <c:pt idx="3863">
                  <c:v>0.181293924</c:v>
                </c:pt>
                <c:pt idx="3864">
                  <c:v>0.181295188</c:v>
                </c:pt>
                <c:pt idx="3865">
                  <c:v>0.181459433</c:v>
                </c:pt>
                <c:pt idx="3866">
                  <c:v>0.182977056</c:v>
                </c:pt>
                <c:pt idx="3867">
                  <c:v>0.18331481099999999</c:v>
                </c:pt>
                <c:pt idx="3868">
                  <c:v>0.18432521199999999</c:v>
                </c:pt>
                <c:pt idx="3869">
                  <c:v>0.18483108600000001</c:v>
                </c:pt>
                <c:pt idx="3870">
                  <c:v>0.185170105</c:v>
                </c:pt>
                <c:pt idx="3871">
                  <c:v>0.18549985799999999</c:v>
                </c:pt>
                <c:pt idx="3872">
                  <c:v>0.18566679799999999</c:v>
                </c:pt>
                <c:pt idx="3873">
                  <c:v>0.18567336800000001</c:v>
                </c:pt>
                <c:pt idx="3874">
                  <c:v>0.18617267300000001</c:v>
                </c:pt>
                <c:pt idx="3875">
                  <c:v>0.186347446</c:v>
                </c:pt>
                <c:pt idx="3876">
                  <c:v>0.18651295400000001</c:v>
                </c:pt>
                <c:pt idx="3877">
                  <c:v>0.187694254</c:v>
                </c:pt>
                <c:pt idx="3878">
                  <c:v>0.18887420699999999</c:v>
                </c:pt>
                <c:pt idx="3879">
                  <c:v>0.18921052999999999</c:v>
                </c:pt>
                <c:pt idx="3880">
                  <c:v>0.18954163099999999</c:v>
                </c:pt>
                <c:pt idx="3881">
                  <c:v>0.18971775199999999</c:v>
                </c:pt>
                <c:pt idx="3882">
                  <c:v>0.189881997</c:v>
                </c:pt>
                <c:pt idx="3883">
                  <c:v>0.19022227899999999</c:v>
                </c:pt>
                <c:pt idx="3884">
                  <c:v>0.19055337899999999</c:v>
                </c:pt>
                <c:pt idx="3885">
                  <c:v>0.19072032</c:v>
                </c:pt>
                <c:pt idx="3886">
                  <c:v>0.190895009</c:v>
                </c:pt>
                <c:pt idx="3887">
                  <c:v>0.191060601</c:v>
                </c:pt>
                <c:pt idx="3888">
                  <c:v>0.19257300199999999</c:v>
                </c:pt>
                <c:pt idx="3889">
                  <c:v>0.19274777600000001</c:v>
                </c:pt>
                <c:pt idx="3890">
                  <c:v>0.19291328399999999</c:v>
                </c:pt>
                <c:pt idx="3891">
                  <c:v>0.19324707999999999</c:v>
                </c:pt>
                <c:pt idx="3892">
                  <c:v>0.19342176999999999</c:v>
                </c:pt>
                <c:pt idx="3893">
                  <c:v>0.194089278</c:v>
                </c:pt>
                <c:pt idx="3894">
                  <c:v>0.19426405099999999</c:v>
                </c:pt>
                <c:pt idx="3895">
                  <c:v>0.19442964400000001</c:v>
                </c:pt>
                <c:pt idx="3896">
                  <c:v>0.19459515199999999</c:v>
                </c:pt>
                <c:pt idx="3897">
                  <c:v>0.19510102700000001</c:v>
                </c:pt>
                <c:pt idx="3898">
                  <c:v>0.19510633299999999</c:v>
                </c:pt>
                <c:pt idx="3899">
                  <c:v>0.1952758</c:v>
                </c:pt>
                <c:pt idx="3900">
                  <c:v>0.19544139299999999</c:v>
                </c:pt>
                <c:pt idx="3901">
                  <c:v>0.195606901</c:v>
                </c:pt>
                <c:pt idx="3902">
                  <c:v>0.195773841</c:v>
                </c:pt>
                <c:pt idx="3903">
                  <c:v>0.19578041099999999</c:v>
                </c:pt>
                <c:pt idx="3904">
                  <c:v>0.19594853000000001</c:v>
                </c:pt>
                <c:pt idx="3905">
                  <c:v>0.196114123</c:v>
                </c:pt>
                <c:pt idx="3906">
                  <c:v>0.19611673399999999</c:v>
                </c:pt>
                <c:pt idx="3907">
                  <c:v>0.19627971599999999</c:v>
                </c:pt>
                <c:pt idx="3908">
                  <c:v>0.19645448900000001</c:v>
                </c:pt>
                <c:pt idx="3909">
                  <c:v>0.196960363</c:v>
                </c:pt>
                <c:pt idx="3910">
                  <c:v>0.197627787</c:v>
                </c:pt>
                <c:pt idx="3911">
                  <c:v>0.19813366199999999</c:v>
                </c:pt>
                <c:pt idx="3912">
                  <c:v>0.19830060199999999</c:v>
                </c:pt>
                <c:pt idx="3913">
                  <c:v>0.201673519</c:v>
                </c:pt>
                <c:pt idx="3914">
                  <c:v>0.20167613000000001</c:v>
                </c:pt>
                <c:pt idx="3915">
                  <c:v>0.20183911099999999</c:v>
                </c:pt>
                <c:pt idx="3916">
                  <c:v>0.202013885</c:v>
                </c:pt>
                <c:pt idx="3917">
                  <c:v>0.20201514800000001</c:v>
                </c:pt>
                <c:pt idx="3918">
                  <c:v>0.20336069300000001</c:v>
                </c:pt>
                <c:pt idx="3919">
                  <c:v>0.20403468699999999</c:v>
                </c:pt>
                <c:pt idx="3920">
                  <c:v>0.20470750200000001</c:v>
                </c:pt>
                <c:pt idx="3921">
                  <c:v>0.206223777</c:v>
                </c:pt>
                <c:pt idx="3922">
                  <c:v>0.20689785499999999</c:v>
                </c:pt>
                <c:pt idx="3923">
                  <c:v>0.20706740600000001</c:v>
                </c:pt>
                <c:pt idx="3924">
                  <c:v>0.20739850700000001</c:v>
                </c:pt>
                <c:pt idx="3925">
                  <c:v>0.207569322</c:v>
                </c:pt>
                <c:pt idx="3926">
                  <c:v>0.20773483000000001</c:v>
                </c:pt>
                <c:pt idx="3927">
                  <c:v>0.20807519599999999</c:v>
                </c:pt>
                <c:pt idx="3928">
                  <c:v>0.20976102299999999</c:v>
                </c:pt>
                <c:pt idx="3929">
                  <c:v>0.21312871799999999</c:v>
                </c:pt>
                <c:pt idx="3930">
                  <c:v>0.21313132900000001</c:v>
                </c:pt>
                <c:pt idx="3931">
                  <c:v>0.21548988599999999</c:v>
                </c:pt>
                <c:pt idx="3932">
                  <c:v>0.216162616</c:v>
                </c:pt>
                <c:pt idx="3933">
                  <c:v>0.21632820899999999</c:v>
                </c:pt>
                <c:pt idx="3934">
                  <c:v>0.21633082000000001</c:v>
                </c:pt>
                <c:pt idx="3935">
                  <c:v>0.216500371</c:v>
                </c:pt>
                <c:pt idx="3936">
                  <c:v>0.21683408300000001</c:v>
                </c:pt>
                <c:pt idx="3937">
                  <c:v>0.21717436500000001</c:v>
                </c:pt>
                <c:pt idx="3938">
                  <c:v>0.21750554999999999</c:v>
                </c:pt>
                <c:pt idx="3939">
                  <c:v>0.21767636500000001</c:v>
                </c:pt>
                <c:pt idx="3940">
                  <c:v>0.21801664700000001</c:v>
                </c:pt>
                <c:pt idx="3941">
                  <c:v>0.218182239</c:v>
                </c:pt>
                <c:pt idx="3942">
                  <c:v>0.21834774800000001</c:v>
                </c:pt>
                <c:pt idx="3943">
                  <c:v>0.21885631699999999</c:v>
                </c:pt>
                <c:pt idx="3944">
                  <c:v>0.21919525200000001</c:v>
                </c:pt>
                <c:pt idx="3945">
                  <c:v>0.21936345500000001</c:v>
                </c:pt>
                <c:pt idx="3946">
                  <c:v>0.22037393999999999</c:v>
                </c:pt>
                <c:pt idx="3947">
                  <c:v>0.221553893</c:v>
                </c:pt>
                <c:pt idx="3948">
                  <c:v>0.221890216</c:v>
                </c:pt>
                <c:pt idx="3949">
                  <c:v>0.222229234</c:v>
                </c:pt>
                <c:pt idx="3950">
                  <c:v>0.22407534700000001</c:v>
                </c:pt>
                <c:pt idx="3951">
                  <c:v>0.22408065399999999</c:v>
                </c:pt>
                <c:pt idx="3952">
                  <c:v>0.22424877300000001</c:v>
                </c:pt>
                <c:pt idx="3953">
                  <c:v>0.22441040700000001</c:v>
                </c:pt>
                <c:pt idx="3954">
                  <c:v>0.22458518</c:v>
                </c:pt>
                <c:pt idx="3955">
                  <c:v>0.22475203599999999</c:v>
                </c:pt>
                <c:pt idx="3956">
                  <c:v>0.226439211</c:v>
                </c:pt>
                <c:pt idx="3957">
                  <c:v>0.22828928200000001</c:v>
                </c:pt>
                <c:pt idx="3958">
                  <c:v>0.228460097</c:v>
                </c:pt>
                <c:pt idx="3959">
                  <c:v>0.228622994</c:v>
                </c:pt>
                <c:pt idx="3960">
                  <c:v>0.22912886900000001</c:v>
                </c:pt>
                <c:pt idx="3961">
                  <c:v>0.229465276</c:v>
                </c:pt>
                <c:pt idx="3962">
                  <c:v>0.22964004900000001</c:v>
                </c:pt>
                <c:pt idx="3963">
                  <c:v>0.22980555799999999</c:v>
                </c:pt>
                <c:pt idx="3964">
                  <c:v>0.22997115000000001</c:v>
                </c:pt>
                <c:pt idx="3965">
                  <c:v>0.230147187</c:v>
                </c:pt>
                <c:pt idx="3966">
                  <c:v>0.23031143200000001</c:v>
                </c:pt>
                <c:pt idx="3967">
                  <c:v>0.230477025</c:v>
                </c:pt>
                <c:pt idx="3968">
                  <c:v>0.230480984</c:v>
                </c:pt>
                <c:pt idx="3969">
                  <c:v>0.23098289899999999</c:v>
                </c:pt>
                <c:pt idx="3970">
                  <c:v>0.23114975500000001</c:v>
                </c:pt>
                <c:pt idx="3971">
                  <c:v>0.231324529</c:v>
                </c:pt>
                <c:pt idx="3972">
                  <c:v>0.23149012099999999</c:v>
                </c:pt>
                <c:pt idx="3973">
                  <c:v>0.23149273200000001</c:v>
                </c:pt>
                <c:pt idx="3974">
                  <c:v>0.23182905500000001</c:v>
                </c:pt>
                <c:pt idx="3975">
                  <c:v>0.23266737800000001</c:v>
                </c:pt>
                <c:pt idx="3976">
                  <c:v>0.23300243800000001</c:v>
                </c:pt>
                <c:pt idx="3977">
                  <c:v>0.23334280399999999</c:v>
                </c:pt>
                <c:pt idx="3978">
                  <c:v>0.23351361900000001</c:v>
                </c:pt>
                <c:pt idx="3979">
                  <c:v>0.233676516</c:v>
                </c:pt>
                <c:pt idx="3980">
                  <c:v>0.23385128899999999</c:v>
                </c:pt>
                <c:pt idx="3981">
                  <c:v>0.234187697</c:v>
                </c:pt>
                <c:pt idx="3982">
                  <c:v>0.235869565</c:v>
                </c:pt>
                <c:pt idx="3983">
                  <c:v>0.23604037899999999</c:v>
                </c:pt>
                <c:pt idx="3984">
                  <c:v>0.23620327699999999</c:v>
                </c:pt>
                <c:pt idx="3985">
                  <c:v>0.23637805000000001</c:v>
                </c:pt>
                <c:pt idx="3986">
                  <c:v>0.23670915100000001</c:v>
                </c:pt>
                <c:pt idx="3987">
                  <c:v>0.23704951699999999</c:v>
                </c:pt>
                <c:pt idx="3988">
                  <c:v>0.237215025</c:v>
                </c:pt>
                <c:pt idx="3989">
                  <c:v>0.237890451</c:v>
                </c:pt>
                <c:pt idx="3990">
                  <c:v>0.23805595900000001</c:v>
                </c:pt>
                <c:pt idx="3991">
                  <c:v>0.23873003700000001</c:v>
                </c:pt>
                <c:pt idx="3992">
                  <c:v>0.23907040299999999</c:v>
                </c:pt>
                <c:pt idx="3993">
                  <c:v>0.23957231900000001</c:v>
                </c:pt>
                <c:pt idx="3994">
                  <c:v>0.23974709299999999</c:v>
                </c:pt>
                <c:pt idx="3995">
                  <c:v>0.239912601</c:v>
                </c:pt>
                <c:pt idx="3996">
                  <c:v>0.24025423000000001</c:v>
                </c:pt>
                <c:pt idx="3997">
                  <c:v>0.24041847499999999</c:v>
                </c:pt>
                <c:pt idx="3998">
                  <c:v>0.240419823</c:v>
                </c:pt>
                <c:pt idx="3999">
                  <c:v>0.24058406800000001</c:v>
                </c:pt>
                <c:pt idx="4000">
                  <c:v>0.240758841</c:v>
                </c:pt>
                <c:pt idx="4001">
                  <c:v>0.24463106300000001</c:v>
                </c:pt>
                <c:pt idx="4002">
                  <c:v>0.24581236300000001</c:v>
                </c:pt>
                <c:pt idx="4003">
                  <c:v>0.24648509299999999</c:v>
                </c:pt>
                <c:pt idx="4004">
                  <c:v>0.24665068600000001</c:v>
                </c:pt>
                <c:pt idx="4005">
                  <c:v>0.24699096700000001</c:v>
                </c:pt>
                <c:pt idx="4006">
                  <c:v>0.24732737499999999</c:v>
                </c:pt>
                <c:pt idx="4007">
                  <c:v>0.24749549400000001</c:v>
                </c:pt>
                <c:pt idx="4008">
                  <c:v>0.24918005800000001</c:v>
                </c:pt>
                <c:pt idx="4009">
                  <c:v>0.24934295500000001</c:v>
                </c:pt>
                <c:pt idx="4010">
                  <c:v>0.24951772799999999</c:v>
                </c:pt>
                <c:pt idx="4011">
                  <c:v>0.24967936199999999</c:v>
                </c:pt>
                <c:pt idx="4012">
                  <c:v>0.25001964399999999</c:v>
                </c:pt>
                <c:pt idx="4013">
                  <c:v>0.25018523599999998</c:v>
                </c:pt>
                <c:pt idx="4014">
                  <c:v>0.25019045899999998</c:v>
                </c:pt>
                <c:pt idx="4015">
                  <c:v>0.250525518</c:v>
                </c:pt>
                <c:pt idx="4016">
                  <c:v>0.25069111100000002</c:v>
                </c:pt>
                <c:pt idx="4017">
                  <c:v>0.25103139299999999</c:v>
                </c:pt>
                <c:pt idx="4018">
                  <c:v>0.25136384099999998</c:v>
                </c:pt>
                <c:pt idx="4019">
                  <c:v>0.25170420700000001</c:v>
                </c:pt>
                <c:pt idx="4020">
                  <c:v>0.25204448899999998</c:v>
                </c:pt>
                <c:pt idx="4021">
                  <c:v>0.252210082</c:v>
                </c:pt>
                <c:pt idx="4022">
                  <c:v>0.252550363</c:v>
                </c:pt>
                <c:pt idx="4023">
                  <c:v>0.252881464</c:v>
                </c:pt>
                <c:pt idx="4024">
                  <c:v>0.25305101600000002</c:v>
                </c:pt>
                <c:pt idx="4025">
                  <c:v>0.253216524</c:v>
                </c:pt>
                <c:pt idx="4026">
                  <c:v>0.25355950100000002</c:v>
                </c:pt>
                <c:pt idx="4027">
                  <c:v>0.25372635700000001</c:v>
                </c:pt>
                <c:pt idx="4028">
                  <c:v>0.25389194999999998</c:v>
                </c:pt>
                <c:pt idx="4029">
                  <c:v>0.253897172</c:v>
                </c:pt>
                <c:pt idx="4030">
                  <c:v>0.25406663899999998</c:v>
                </c:pt>
                <c:pt idx="4031">
                  <c:v>0.25423223099999998</c:v>
                </c:pt>
                <c:pt idx="4032">
                  <c:v>0.25423357899999999</c:v>
                </c:pt>
                <c:pt idx="4033">
                  <c:v>0.25439782399999999</c:v>
                </c:pt>
                <c:pt idx="4034">
                  <c:v>0.25473288399999999</c:v>
                </c:pt>
                <c:pt idx="4035">
                  <c:v>0.25490765700000001</c:v>
                </c:pt>
                <c:pt idx="4036">
                  <c:v>0.25507316499999999</c:v>
                </c:pt>
                <c:pt idx="4037">
                  <c:v>0.25592066899999999</c:v>
                </c:pt>
                <c:pt idx="4038">
                  <c:v>0.25625446499999999</c:v>
                </c:pt>
                <c:pt idx="4039">
                  <c:v>0.25659213600000003</c:v>
                </c:pt>
                <c:pt idx="4040">
                  <c:v>0.25692854300000001</c:v>
                </c:pt>
                <c:pt idx="4041">
                  <c:v>0.25760523200000002</c:v>
                </c:pt>
                <c:pt idx="4042">
                  <c:v>0.258613023</c:v>
                </c:pt>
                <c:pt idx="4043">
                  <c:v>0.25878122599999998</c:v>
                </c:pt>
                <c:pt idx="4044">
                  <c:v>0.25895069300000001</c:v>
                </c:pt>
                <c:pt idx="4045">
                  <c:v>0.26012929800000001</c:v>
                </c:pt>
                <c:pt idx="4046">
                  <c:v>0.26029227900000002</c:v>
                </c:pt>
                <c:pt idx="4047">
                  <c:v>0.26046831599999998</c:v>
                </c:pt>
                <c:pt idx="4048">
                  <c:v>0.26063129800000001</c:v>
                </c:pt>
                <c:pt idx="4049">
                  <c:v>0.26097157999999998</c:v>
                </c:pt>
                <c:pt idx="4050">
                  <c:v>0.26113843599999997</c:v>
                </c:pt>
                <c:pt idx="4051">
                  <c:v>0.26130402800000002</c:v>
                </c:pt>
                <c:pt idx="4052">
                  <c:v>0.26181116599999998</c:v>
                </c:pt>
                <c:pt idx="4053">
                  <c:v>0.261976759</c:v>
                </c:pt>
                <c:pt idx="4054">
                  <c:v>0.26215153200000002</c:v>
                </c:pt>
                <c:pt idx="4055">
                  <c:v>0.26231712499999998</c:v>
                </c:pt>
                <c:pt idx="4056">
                  <c:v>0.26231973600000003</c:v>
                </c:pt>
                <c:pt idx="4057">
                  <c:v>0.26265740599999998</c:v>
                </c:pt>
                <c:pt idx="4058">
                  <c:v>0.262822999</c:v>
                </c:pt>
                <c:pt idx="4059">
                  <c:v>0.26298850699999998</c:v>
                </c:pt>
                <c:pt idx="4060">
                  <c:v>0.26315932199999997</c:v>
                </c:pt>
                <c:pt idx="4061">
                  <c:v>0.26332491499999999</c:v>
                </c:pt>
                <c:pt idx="4062">
                  <c:v>0.26333013700000002</c:v>
                </c:pt>
                <c:pt idx="4063">
                  <c:v>0.26349968800000001</c:v>
                </c:pt>
                <c:pt idx="4064">
                  <c:v>0.26366519599999999</c:v>
                </c:pt>
                <c:pt idx="4065">
                  <c:v>0.263997645</c:v>
                </c:pt>
                <c:pt idx="4066">
                  <c:v>0.26417241800000002</c:v>
                </c:pt>
                <c:pt idx="4067">
                  <c:v>0.26433927400000001</c:v>
                </c:pt>
                <c:pt idx="4068">
                  <c:v>0.26450486699999998</c:v>
                </c:pt>
                <c:pt idx="4069">
                  <c:v>0.26518020799999997</c:v>
                </c:pt>
                <c:pt idx="4070">
                  <c:v>0.26518281900000001</c:v>
                </c:pt>
                <c:pt idx="4071">
                  <c:v>0.26568608300000002</c:v>
                </c:pt>
                <c:pt idx="4072">
                  <c:v>0.26585167500000001</c:v>
                </c:pt>
                <c:pt idx="4073">
                  <c:v>0.266026449</c:v>
                </c:pt>
                <c:pt idx="4074">
                  <c:v>0.26619195699999998</c:v>
                </c:pt>
                <c:pt idx="4075">
                  <c:v>0.26635755</c:v>
                </c:pt>
                <c:pt idx="4076">
                  <c:v>0.26652440599999999</c:v>
                </c:pt>
                <c:pt idx="4077">
                  <c:v>0.26686468699999999</c:v>
                </c:pt>
                <c:pt idx="4078">
                  <c:v>0.26703028000000001</c:v>
                </c:pt>
                <c:pt idx="4079">
                  <c:v>0.26703550199999998</c:v>
                </c:pt>
                <c:pt idx="4080">
                  <c:v>0.26737064599999999</c:v>
                </c:pt>
                <c:pt idx="4081">
                  <c:v>0.26753615400000003</c:v>
                </c:pt>
                <c:pt idx="4082">
                  <c:v>0.26771092800000001</c:v>
                </c:pt>
                <c:pt idx="4083">
                  <c:v>0.26804994599999998</c:v>
                </c:pt>
                <c:pt idx="4084">
                  <c:v>0.268378436</c:v>
                </c:pt>
                <c:pt idx="4085">
                  <c:v>0.26855320999999999</c:v>
                </c:pt>
                <c:pt idx="4086">
                  <c:v>0.26888826900000001</c:v>
                </c:pt>
                <c:pt idx="4087">
                  <c:v>0.27074221500000001</c:v>
                </c:pt>
                <c:pt idx="4088">
                  <c:v>0.27107997</c:v>
                </c:pt>
                <c:pt idx="4089">
                  <c:v>0.27124547900000001</c:v>
                </c:pt>
                <c:pt idx="4090">
                  <c:v>0.27158710800000002</c:v>
                </c:pt>
                <c:pt idx="4091">
                  <c:v>0.27175270099999999</c:v>
                </c:pt>
                <c:pt idx="4092">
                  <c:v>0.27191955699999998</c:v>
                </c:pt>
                <c:pt idx="4093">
                  <c:v>0.27225722699999999</c:v>
                </c:pt>
                <c:pt idx="4094">
                  <c:v>0.27259489799999997</c:v>
                </c:pt>
                <c:pt idx="4095">
                  <c:v>0.27276310199999998</c:v>
                </c:pt>
                <c:pt idx="4096">
                  <c:v>0.27292608299999999</c:v>
                </c:pt>
                <c:pt idx="4097">
                  <c:v>0.27327032400000001</c:v>
                </c:pt>
                <c:pt idx="4098">
                  <c:v>0.273435916</c:v>
                </c:pt>
                <c:pt idx="4099">
                  <c:v>0.27343718</c:v>
                </c:pt>
                <c:pt idx="4100">
                  <c:v>0.27377619800000003</c:v>
                </c:pt>
                <c:pt idx="4101">
                  <c:v>0.27394179099999999</c:v>
                </c:pt>
                <c:pt idx="4102">
                  <c:v>0.27428207199999999</c:v>
                </c:pt>
                <c:pt idx="4103">
                  <c:v>0.27478272500000001</c:v>
                </c:pt>
                <c:pt idx="4104">
                  <c:v>0.27512165900000002</c:v>
                </c:pt>
                <c:pt idx="4105">
                  <c:v>0.27529121000000001</c:v>
                </c:pt>
                <c:pt idx="4106">
                  <c:v>0.275793126</c:v>
                </c:pt>
                <c:pt idx="4107">
                  <c:v>0.27595871799999999</c:v>
                </c:pt>
                <c:pt idx="4108">
                  <c:v>0.27613349199999998</c:v>
                </c:pt>
                <c:pt idx="4109">
                  <c:v>0.27629900000000002</c:v>
                </c:pt>
                <c:pt idx="4110">
                  <c:v>0.27646855100000001</c:v>
                </c:pt>
                <c:pt idx="4111">
                  <c:v>0.27646981500000001</c:v>
                </c:pt>
                <c:pt idx="4112">
                  <c:v>0.27680622199999999</c:v>
                </c:pt>
                <c:pt idx="4113">
                  <c:v>0.27697568900000002</c:v>
                </c:pt>
                <c:pt idx="4114">
                  <c:v>0.27731074900000002</c:v>
                </c:pt>
                <c:pt idx="4115">
                  <c:v>0.277482911</c:v>
                </c:pt>
                <c:pt idx="4116">
                  <c:v>0.27764842000000001</c:v>
                </c:pt>
                <c:pt idx="4117">
                  <c:v>0.277817971</c:v>
                </c:pt>
                <c:pt idx="4118">
                  <c:v>0.27798356299999999</c:v>
                </c:pt>
                <c:pt idx="4119">
                  <c:v>0.27815698900000002</c:v>
                </c:pt>
                <c:pt idx="4120">
                  <c:v>0.27831988600000002</c:v>
                </c:pt>
                <c:pt idx="4121">
                  <c:v>0.27848547899999998</c:v>
                </c:pt>
                <c:pt idx="4122">
                  <c:v>0.278995312</c:v>
                </c:pt>
                <c:pt idx="4123">
                  <c:v>0.278996576</c:v>
                </c:pt>
                <c:pt idx="4124">
                  <c:v>0.279159557</c:v>
                </c:pt>
                <c:pt idx="4125">
                  <c:v>0.27949983900000003</c:v>
                </c:pt>
                <c:pt idx="4126">
                  <c:v>0.27966543100000002</c:v>
                </c:pt>
                <c:pt idx="4127">
                  <c:v>0.28118827699999999</c:v>
                </c:pt>
                <c:pt idx="4128">
                  <c:v>0.281694151</c:v>
                </c:pt>
                <c:pt idx="4129">
                  <c:v>0.283210511</c:v>
                </c:pt>
                <c:pt idx="4130">
                  <c:v>0.28977508600000002</c:v>
                </c:pt>
                <c:pt idx="4131">
                  <c:v>0.29045042700000001</c:v>
                </c:pt>
                <c:pt idx="4132">
                  <c:v>0.29213625399999998</c:v>
                </c:pt>
                <c:pt idx="4133">
                  <c:v>0.29247131300000001</c:v>
                </c:pt>
                <c:pt idx="4134">
                  <c:v>0.292975924</c:v>
                </c:pt>
                <c:pt idx="4135">
                  <c:v>0.292977188</c:v>
                </c:pt>
                <c:pt idx="4136">
                  <c:v>0.29364604399999999</c:v>
                </c:pt>
                <c:pt idx="4137">
                  <c:v>0.29365126600000002</c:v>
                </c:pt>
                <c:pt idx="4138">
                  <c:v>0.29382081700000001</c:v>
                </c:pt>
                <c:pt idx="4139">
                  <c:v>0.29415587700000001</c:v>
                </c:pt>
                <c:pt idx="4140">
                  <c:v>0.29432012200000002</c:v>
                </c:pt>
                <c:pt idx="4141">
                  <c:v>0.29432534399999999</c:v>
                </c:pt>
                <c:pt idx="4142">
                  <c:v>0.295844314</c:v>
                </c:pt>
                <c:pt idx="4143">
                  <c:v>0.29668390100000003</c:v>
                </c:pt>
                <c:pt idx="4144">
                  <c:v>0.297022919</c:v>
                </c:pt>
                <c:pt idx="4145">
                  <c:v>0.29718977499999999</c:v>
                </c:pt>
                <c:pt idx="4146">
                  <c:v>0.29803205700000002</c:v>
                </c:pt>
                <c:pt idx="4147">
                  <c:v>0.29937364300000002</c:v>
                </c:pt>
                <c:pt idx="4148">
                  <c:v>0.29988473999999998</c:v>
                </c:pt>
                <c:pt idx="4149">
                  <c:v>0.30089783599999997</c:v>
                </c:pt>
                <c:pt idx="4150">
                  <c:v>0.30106073300000002</c:v>
                </c:pt>
                <c:pt idx="4151">
                  <c:v>0.30122632599999999</c:v>
                </c:pt>
                <c:pt idx="4152">
                  <c:v>0.30140101499999999</c:v>
                </c:pt>
                <c:pt idx="4153">
                  <c:v>0.30291602699999998</c:v>
                </c:pt>
                <c:pt idx="4154">
                  <c:v>0.30308684200000002</c:v>
                </c:pt>
                <c:pt idx="4155">
                  <c:v>0.30325243400000002</c:v>
                </c:pt>
                <c:pt idx="4156">
                  <c:v>0.30358749400000001</c:v>
                </c:pt>
                <c:pt idx="4157">
                  <c:v>0.30376226699999997</c:v>
                </c:pt>
                <c:pt idx="4158">
                  <c:v>0.30409597900000002</c:v>
                </c:pt>
                <c:pt idx="4159">
                  <c:v>0.304427165</c:v>
                </c:pt>
                <c:pt idx="4160">
                  <c:v>0.30460185400000001</c:v>
                </c:pt>
                <c:pt idx="4161">
                  <c:v>0.304767446</c:v>
                </c:pt>
                <c:pt idx="4162">
                  <c:v>0.30493303900000002</c:v>
                </c:pt>
                <c:pt idx="4163">
                  <c:v>0.30577523600000001</c:v>
                </c:pt>
                <c:pt idx="4164">
                  <c:v>0.30595135699999998</c:v>
                </c:pt>
                <c:pt idx="4165">
                  <c:v>0.306114255</c:v>
                </c:pt>
                <c:pt idx="4166">
                  <c:v>0.30628902800000002</c:v>
                </c:pt>
                <c:pt idx="4167">
                  <c:v>0.30645453700000003</c:v>
                </c:pt>
                <c:pt idx="4168">
                  <c:v>0.30662012900000002</c:v>
                </c:pt>
                <c:pt idx="4169">
                  <c:v>0.30679094400000001</c:v>
                </c:pt>
                <c:pt idx="4170">
                  <c:v>0.30695392500000002</c:v>
                </c:pt>
                <c:pt idx="4171">
                  <c:v>0.30745980000000001</c:v>
                </c:pt>
                <c:pt idx="4172">
                  <c:v>0.30746502199999998</c:v>
                </c:pt>
                <c:pt idx="4173">
                  <c:v>0.30780142900000002</c:v>
                </c:pt>
                <c:pt idx="4174">
                  <c:v>0.309317705</c:v>
                </c:pt>
                <c:pt idx="4175">
                  <c:v>0.30965015299999998</c:v>
                </c:pt>
                <c:pt idx="4176">
                  <c:v>0.30982492700000003</c:v>
                </c:pt>
                <c:pt idx="4177">
                  <c:v>0.31033206400000002</c:v>
                </c:pt>
                <c:pt idx="4178">
                  <c:v>0.31082875799999998</c:v>
                </c:pt>
                <c:pt idx="4179">
                  <c:v>0.31100487900000001</c:v>
                </c:pt>
                <c:pt idx="4180">
                  <c:v>0.311338591</c:v>
                </c:pt>
                <c:pt idx="4181">
                  <c:v>0.31150418400000002</c:v>
                </c:pt>
                <c:pt idx="4182">
                  <c:v>0.31150805799999998</c:v>
                </c:pt>
                <c:pt idx="4183">
                  <c:v>0.31184446500000002</c:v>
                </c:pt>
                <c:pt idx="4184">
                  <c:v>0.312184831</c:v>
                </c:pt>
                <c:pt idx="4185">
                  <c:v>0.31268539899999998</c:v>
                </c:pt>
                <c:pt idx="4186">
                  <c:v>0.31504395600000001</c:v>
                </c:pt>
                <c:pt idx="4187">
                  <c:v>0.315385586</c:v>
                </c:pt>
                <c:pt idx="4188">
                  <c:v>0.31555117799999999</c:v>
                </c:pt>
                <c:pt idx="4189">
                  <c:v>0.31572064599999999</c:v>
                </c:pt>
                <c:pt idx="4190">
                  <c:v>0.31588623799999999</c:v>
                </c:pt>
                <c:pt idx="4191">
                  <c:v>0.31605840099999999</c:v>
                </c:pt>
                <c:pt idx="4192">
                  <c:v>0.316396071</c:v>
                </c:pt>
                <c:pt idx="4193">
                  <c:v>0.316731131</c:v>
                </c:pt>
                <c:pt idx="4194">
                  <c:v>0.317062232</c:v>
                </c:pt>
                <c:pt idx="4195">
                  <c:v>0.31723700500000002</c:v>
                </c:pt>
                <c:pt idx="4196">
                  <c:v>0.31858516100000001</c:v>
                </c:pt>
                <c:pt idx="4197">
                  <c:v>0.31976241799999999</c:v>
                </c:pt>
                <c:pt idx="4198">
                  <c:v>0.319930622</c:v>
                </c:pt>
                <c:pt idx="4199">
                  <c:v>0.32178330500000002</c:v>
                </c:pt>
                <c:pt idx="4200">
                  <c:v>0.32279640100000001</c:v>
                </c:pt>
                <c:pt idx="4201">
                  <c:v>0.32734143700000001</c:v>
                </c:pt>
                <c:pt idx="4202">
                  <c:v>0.32869220399999999</c:v>
                </c:pt>
                <c:pt idx="4203">
                  <c:v>0.32885905999999998</c:v>
                </c:pt>
                <c:pt idx="4204">
                  <c:v>0.32919807899999998</c:v>
                </c:pt>
                <c:pt idx="4205">
                  <c:v>0.32953179100000002</c:v>
                </c:pt>
                <c:pt idx="4206">
                  <c:v>0.32970260499999998</c:v>
                </c:pt>
                <c:pt idx="4207">
                  <c:v>0.32986946099999997</c:v>
                </c:pt>
                <c:pt idx="4208">
                  <c:v>0.33003766499999998</c:v>
                </c:pt>
                <c:pt idx="4209">
                  <c:v>0.33020848000000003</c:v>
                </c:pt>
                <c:pt idx="4210">
                  <c:v>0.33037407200000002</c:v>
                </c:pt>
                <c:pt idx="4211">
                  <c:v>0.330543539</c:v>
                </c:pt>
                <c:pt idx="4212">
                  <c:v>0.33138582100000002</c:v>
                </c:pt>
                <c:pt idx="4213">
                  <c:v>0.331890348</c:v>
                </c:pt>
                <c:pt idx="4214">
                  <c:v>0.33223071399999998</c:v>
                </c:pt>
                <c:pt idx="4215">
                  <c:v>0.33374698899999999</c:v>
                </c:pt>
                <c:pt idx="4216">
                  <c:v>0.33509514499999998</c:v>
                </c:pt>
                <c:pt idx="4217">
                  <c:v>0.33627374999999998</c:v>
                </c:pt>
                <c:pt idx="4218">
                  <c:v>0.33728423499999999</c:v>
                </c:pt>
                <c:pt idx="4219">
                  <c:v>0.337449744</c:v>
                </c:pt>
                <c:pt idx="4220">
                  <c:v>0.343685829</c:v>
                </c:pt>
                <c:pt idx="4221">
                  <c:v>0.35497156099999999</c:v>
                </c:pt>
                <c:pt idx="4222">
                  <c:v>0.36288690200000001</c:v>
                </c:pt>
                <c:pt idx="4223">
                  <c:v>0.365246723</c:v>
                </c:pt>
                <c:pt idx="4224">
                  <c:v>0.365414927</c:v>
                </c:pt>
                <c:pt idx="4225">
                  <c:v>0.38630309099999999</c:v>
                </c:pt>
                <c:pt idx="4226">
                  <c:v>0.38663815000000001</c:v>
                </c:pt>
                <c:pt idx="4227">
                  <c:v>0.39186248600000001</c:v>
                </c:pt>
                <c:pt idx="4228">
                  <c:v>0.39219754600000001</c:v>
                </c:pt>
                <c:pt idx="4229">
                  <c:v>0.392368361</c:v>
                </c:pt>
                <c:pt idx="4230">
                  <c:v>0.39927195399999998</c:v>
                </c:pt>
                <c:pt idx="4231">
                  <c:v>0.40011423600000001</c:v>
                </c:pt>
                <c:pt idx="4232">
                  <c:v>0.40837120700000001</c:v>
                </c:pt>
                <c:pt idx="4233">
                  <c:v>0.409551159</c:v>
                </c:pt>
                <c:pt idx="4234">
                  <c:v>0.42150819</c:v>
                </c:pt>
                <c:pt idx="4235">
                  <c:v>0.43162180300000003</c:v>
                </c:pt>
                <c:pt idx="4236">
                  <c:v>0.432121107</c:v>
                </c:pt>
                <c:pt idx="4237">
                  <c:v>0.43549015000000002</c:v>
                </c:pt>
                <c:pt idx="4238">
                  <c:v>0.43717462899999998</c:v>
                </c:pt>
                <c:pt idx="4239">
                  <c:v>0.44138856399999998</c:v>
                </c:pt>
                <c:pt idx="4240">
                  <c:v>0.445262133</c:v>
                </c:pt>
                <c:pt idx="4241">
                  <c:v>0.459412296</c:v>
                </c:pt>
                <c:pt idx="4242">
                  <c:v>0.46901472900000002</c:v>
                </c:pt>
                <c:pt idx="4243">
                  <c:v>0.48232496899999999</c:v>
                </c:pt>
                <c:pt idx="4244">
                  <c:v>0.493448477</c:v>
                </c:pt>
                <c:pt idx="4245">
                  <c:v>0.49562998699999999</c:v>
                </c:pt>
                <c:pt idx="4246">
                  <c:v>0.49579440000000002</c:v>
                </c:pt>
                <c:pt idx="4247">
                  <c:v>0.49630069599999999</c:v>
                </c:pt>
                <c:pt idx="4248">
                  <c:v>0.49966965400000002</c:v>
                </c:pt>
                <c:pt idx="4249">
                  <c:v>0.50017594899999995</c:v>
                </c:pt>
                <c:pt idx="4250">
                  <c:v>0.51399433800000005</c:v>
                </c:pt>
                <c:pt idx="4251">
                  <c:v>0.51635356899999996</c:v>
                </c:pt>
                <c:pt idx="4252">
                  <c:v>0.522925219</c:v>
                </c:pt>
                <c:pt idx="4253">
                  <c:v>0.52494669500000002</c:v>
                </c:pt>
                <c:pt idx="4254">
                  <c:v>0.53354040999999996</c:v>
                </c:pt>
                <c:pt idx="4255">
                  <c:v>0.53807803399999998</c:v>
                </c:pt>
                <c:pt idx="4256">
                  <c:v>0.53893084499999999</c:v>
                </c:pt>
                <c:pt idx="4257">
                  <c:v>0.55020588000000004</c:v>
                </c:pt>
                <c:pt idx="4258">
                  <c:v>0.56014539299999999</c:v>
                </c:pt>
                <c:pt idx="4259">
                  <c:v>0.56149616000000002</c:v>
                </c:pt>
                <c:pt idx="4260">
                  <c:v>0.56452365699999996</c:v>
                </c:pt>
                <c:pt idx="4261">
                  <c:v>0.56486663400000003</c:v>
                </c:pt>
                <c:pt idx="4262">
                  <c:v>0.56503349000000003</c:v>
                </c:pt>
                <c:pt idx="4263">
                  <c:v>0.56941049099999996</c:v>
                </c:pt>
                <c:pt idx="4264">
                  <c:v>0.56957869500000002</c:v>
                </c:pt>
                <c:pt idx="4265">
                  <c:v>0.583574131</c:v>
                </c:pt>
                <c:pt idx="4266">
                  <c:v>0.59282592099999998</c:v>
                </c:pt>
                <c:pt idx="4267">
                  <c:v>0.60107901799999996</c:v>
                </c:pt>
                <c:pt idx="4268">
                  <c:v>0.60580935599999997</c:v>
                </c:pt>
                <c:pt idx="4269">
                  <c:v>0.61371425400000001</c:v>
                </c:pt>
                <c:pt idx="4270">
                  <c:v>0.64083597599999997</c:v>
                </c:pt>
                <c:pt idx="4271">
                  <c:v>0.64605770100000004</c:v>
                </c:pt>
                <c:pt idx="4272">
                  <c:v>0.66863295499999997</c:v>
                </c:pt>
                <c:pt idx="4273">
                  <c:v>0.67149738699999995</c:v>
                </c:pt>
                <c:pt idx="4274">
                  <c:v>0.67841411900000004</c:v>
                </c:pt>
                <c:pt idx="4275">
                  <c:v>0.69054204900000005</c:v>
                </c:pt>
                <c:pt idx="4276">
                  <c:v>0.69086919099999999</c:v>
                </c:pt>
                <c:pt idx="4277">
                  <c:v>0.69120820900000002</c:v>
                </c:pt>
                <c:pt idx="4278">
                  <c:v>0.70653562999999997</c:v>
                </c:pt>
                <c:pt idx="4279">
                  <c:v>0.70686942600000002</c:v>
                </c:pt>
                <c:pt idx="4280">
                  <c:v>0.71849274500000004</c:v>
                </c:pt>
                <c:pt idx="4281">
                  <c:v>0.72271720800000006</c:v>
                </c:pt>
                <c:pt idx="4282">
                  <c:v>0.72894933399999995</c:v>
                </c:pt>
                <c:pt idx="4283">
                  <c:v>0.73871997</c:v>
                </c:pt>
                <c:pt idx="4284">
                  <c:v>0.74056220900000003</c:v>
                </c:pt>
                <c:pt idx="4285">
                  <c:v>0.77982222000000001</c:v>
                </c:pt>
                <c:pt idx="4286">
                  <c:v>0.79009872999999997</c:v>
                </c:pt>
                <c:pt idx="4287">
                  <c:v>0.797333509</c:v>
                </c:pt>
                <c:pt idx="4288">
                  <c:v>0.79969989900000005</c:v>
                </c:pt>
                <c:pt idx="4289">
                  <c:v>0.80054218099999996</c:v>
                </c:pt>
                <c:pt idx="4290">
                  <c:v>0.819241255</c:v>
                </c:pt>
                <c:pt idx="4291">
                  <c:v>0.82092573400000002</c:v>
                </c:pt>
                <c:pt idx="4292">
                  <c:v>0.82125161199999996</c:v>
                </c:pt>
                <c:pt idx="4293">
                  <c:v>0.83844493899999994</c:v>
                </c:pt>
                <c:pt idx="4294">
                  <c:v>0.84518294000000005</c:v>
                </c:pt>
                <c:pt idx="4295">
                  <c:v>0.85899669599999995</c:v>
                </c:pt>
                <c:pt idx="4296">
                  <c:v>0.86337613999999996</c:v>
                </c:pt>
                <c:pt idx="4297">
                  <c:v>0.86387283299999995</c:v>
                </c:pt>
                <c:pt idx="4298">
                  <c:v>0.86405021800000004</c:v>
                </c:pt>
                <c:pt idx="4299">
                  <c:v>0.87617023000000005</c:v>
                </c:pt>
                <c:pt idx="4300">
                  <c:v>0.87988477600000004</c:v>
                </c:pt>
                <c:pt idx="4301">
                  <c:v>0.88931782500000001</c:v>
                </c:pt>
                <c:pt idx="4302">
                  <c:v>0.89268678300000004</c:v>
                </c:pt>
                <c:pt idx="4303">
                  <c:v>0.89993074299999998</c:v>
                </c:pt>
                <c:pt idx="4304">
                  <c:v>0.90430100499999999</c:v>
                </c:pt>
                <c:pt idx="4305">
                  <c:v>0.90767914400000005</c:v>
                </c:pt>
                <c:pt idx="4306">
                  <c:v>0.910711779</c:v>
                </c:pt>
                <c:pt idx="4307">
                  <c:v>0.92620083399999997</c:v>
                </c:pt>
                <c:pt idx="4308">
                  <c:v>0.95686755099999998</c:v>
                </c:pt>
                <c:pt idx="4309">
                  <c:v>0.95855203</c:v>
                </c:pt>
                <c:pt idx="4310">
                  <c:v>0.96865907299999998</c:v>
                </c:pt>
                <c:pt idx="4311">
                  <c:v>0.98196695499999997</c:v>
                </c:pt>
                <c:pt idx="4312">
                  <c:v>0.98230462600000001</c:v>
                </c:pt>
                <c:pt idx="4313">
                  <c:v>0.99392802800000002</c:v>
                </c:pt>
                <c:pt idx="4314">
                  <c:v>0.99409623199999997</c:v>
                </c:pt>
                <c:pt idx="4315">
                  <c:v>0.99578071099999999</c:v>
                </c:pt>
                <c:pt idx="4316">
                  <c:v>1.0193638389999999</c:v>
                </c:pt>
                <c:pt idx="4317">
                  <c:v>1.021216522</c:v>
                </c:pt>
                <c:pt idx="4318">
                  <c:v>1.0227327980000001</c:v>
                </c:pt>
                <c:pt idx="4319">
                  <c:v>1.040589674</c:v>
                </c:pt>
                <c:pt idx="4320">
                  <c:v>1.0439586320000001</c:v>
                </c:pt>
                <c:pt idx="4321">
                  <c:v>1.056426928</c:v>
                </c:pt>
                <c:pt idx="4322">
                  <c:v>1.0677125750000001</c:v>
                </c:pt>
                <c:pt idx="4323">
                  <c:v>1.0827023250000001</c:v>
                </c:pt>
                <c:pt idx="4324">
                  <c:v>1.087253931</c:v>
                </c:pt>
                <c:pt idx="4325">
                  <c:v>1.0946633990000001</c:v>
                </c:pt>
                <c:pt idx="4326">
                  <c:v>1.1017378069999999</c:v>
                </c:pt>
                <c:pt idx="4327">
                  <c:v>1.102748208</c:v>
                </c:pt>
                <c:pt idx="4328">
                  <c:v>1.1206050000000001</c:v>
                </c:pt>
                <c:pt idx="4329">
                  <c:v>1.108718876</c:v>
                </c:pt>
                <c:pt idx="4330">
                  <c:v>1.107631128</c:v>
                </c:pt>
                <c:pt idx="4331">
                  <c:v>1.1068776979999999</c:v>
                </c:pt>
                <c:pt idx="4332">
                  <c:v>1.1022727459999999</c:v>
                </c:pt>
                <c:pt idx="4333">
                  <c:v>1.0977540100000001</c:v>
                </c:pt>
                <c:pt idx="4334">
                  <c:v>1.0928154510000001</c:v>
                </c:pt>
                <c:pt idx="4335">
                  <c:v>1.0872063300000001</c:v>
                </c:pt>
                <c:pt idx="4336">
                  <c:v>1.087039841</c:v>
                </c:pt>
                <c:pt idx="4337">
                  <c:v>1.086954964</c:v>
                </c:pt>
                <c:pt idx="4338">
                  <c:v>1.081682756</c:v>
                </c:pt>
                <c:pt idx="4339">
                  <c:v>1.080595008</c:v>
                </c:pt>
                <c:pt idx="4340">
                  <c:v>1.080510801</c:v>
                </c:pt>
                <c:pt idx="4341">
                  <c:v>1.0788367409999999</c:v>
                </c:pt>
                <c:pt idx="4342">
                  <c:v>1.0714706919999999</c:v>
                </c:pt>
                <c:pt idx="4343">
                  <c:v>1.0707178900000001</c:v>
                </c:pt>
                <c:pt idx="4344">
                  <c:v>1.070466524</c:v>
                </c:pt>
                <c:pt idx="4345">
                  <c:v>1.06594649</c:v>
                </c:pt>
                <c:pt idx="4346">
                  <c:v>1.064021063</c:v>
                </c:pt>
                <c:pt idx="4347">
                  <c:v>1.0631833850000001</c:v>
                </c:pt>
                <c:pt idx="4348">
                  <c:v>1.050208885</c:v>
                </c:pt>
                <c:pt idx="4349">
                  <c:v>1.0481176379999999</c:v>
                </c:pt>
                <c:pt idx="4350">
                  <c:v>1.047950479</c:v>
                </c:pt>
                <c:pt idx="4351">
                  <c:v>1.0383240579999999</c:v>
                </c:pt>
                <c:pt idx="4352">
                  <c:v>1.0373185920000001</c:v>
                </c:pt>
                <c:pt idx="4353">
                  <c:v>1.0344725770000001</c:v>
                </c:pt>
                <c:pt idx="4354">
                  <c:v>1.033217042</c:v>
                </c:pt>
                <c:pt idx="4355">
                  <c:v>1.032799856</c:v>
                </c:pt>
                <c:pt idx="4356">
                  <c:v>1.0286147269999999</c:v>
                </c:pt>
                <c:pt idx="4357">
                  <c:v>1.0243460600000001</c:v>
                </c:pt>
                <c:pt idx="4358">
                  <c:v>1.0230043090000001</c:v>
                </c:pt>
                <c:pt idx="4359">
                  <c:v>1.016306854</c:v>
                </c:pt>
                <c:pt idx="4360">
                  <c:v>1.0107016680000001</c:v>
                </c:pt>
                <c:pt idx="4361">
                  <c:v>0.99856484700000003</c:v>
                </c:pt>
                <c:pt idx="4362">
                  <c:v>0.99772649800000002</c:v>
                </c:pt>
                <c:pt idx="4363">
                  <c:v>0.99714215299999998</c:v>
                </c:pt>
                <c:pt idx="4364">
                  <c:v>0.99705530899999995</c:v>
                </c:pt>
                <c:pt idx="4365">
                  <c:v>0.99329000199999995</c:v>
                </c:pt>
                <c:pt idx="4366">
                  <c:v>0.98600623600000004</c:v>
                </c:pt>
                <c:pt idx="4367">
                  <c:v>0.98483750299999995</c:v>
                </c:pt>
                <c:pt idx="4368">
                  <c:v>0.98458613699999997</c:v>
                </c:pt>
                <c:pt idx="4369">
                  <c:v>0.98425056300000002</c:v>
                </c:pt>
                <c:pt idx="4370">
                  <c:v>0.98190794999999997</c:v>
                </c:pt>
                <c:pt idx="4371">
                  <c:v>0.98106960200000004</c:v>
                </c:pt>
                <c:pt idx="4372">
                  <c:v>0.97931200399999996</c:v>
                </c:pt>
                <c:pt idx="4373">
                  <c:v>0.96968558199999999</c:v>
                </c:pt>
                <c:pt idx="4374">
                  <c:v>0.96742391299999997</c:v>
                </c:pt>
                <c:pt idx="4375">
                  <c:v>0.96014144300000004</c:v>
                </c:pt>
                <c:pt idx="4376">
                  <c:v>0.95537263800000005</c:v>
                </c:pt>
                <c:pt idx="4377">
                  <c:v>0.95085256299999998</c:v>
                </c:pt>
                <c:pt idx="4378">
                  <c:v>0.94733732500000001</c:v>
                </c:pt>
                <c:pt idx="4379">
                  <c:v>0.94708595900000003</c:v>
                </c:pt>
                <c:pt idx="4380">
                  <c:v>0.943235775</c:v>
                </c:pt>
                <c:pt idx="4381">
                  <c:v>0.93754115000000005</c:v>
                </c:pt>
                <c:pt idx="4382">
                  <c:v>0.93427857599999997</c:v>
                </c:pt>
                <c:pt idx="4383">
                  <c:v>0.92833651800000005</c:v>
                </c:pt>
                <c:pt idx="4384">
                  <c:v>0.92414812400000002</c:v>
                </c:pt>
                <c:pt idx="4385">
                  <c:v>0.91845940000000004</c:v>
                </c:pt>
                <c:pt idx="4386">
                  <c:v>0.91653137900000003</c:v>
                </c:pt>
                <c:pt idx="4387">
                  <c:v>0.91209488299999997</c:v>
                </c:pt>
                <c:pt idx="4388">
                  <c:v>0.90138397800000003</c:v>
                </c:pt>
                <c:pt idx="4389">
                  <c:v>0.90063054899999995</c:v>
                </c:pt>
                <c:pt idx="4390">
                  <c:v>0.89502142799999995</c:v>
                </c:pt>
                <c:pt idx="4391">
                  <c:v>0.89426146900000003</c:v>
                </c:pt>
                <c:pt idx="4392">
                  <c:v>0.89108833499999995</c:v>
                </c:pt>
                <c:pt idx="4393">
                  <c:v>0.89100148999999995</c:v>
                </c:pt>
                <c:pt idx="4394">
                  <c:v>0.88941364700000003</c:v>
                </c:pt>
                <c:pt idx="4395">
                  <c:v>0.88916227999999997</c:v>
                </c:pt>
                <c:pt idx="4396">
                  <c:v>0.88715197700000004</c:v>
                </c:pt>
                <c:pt idx="4397">
                  <c:v>0.87568567500000005</c:v>
                </c:pt>
                <c:pt idx="4398">
                  <c:v>0.87426302300000003</c:v>
                </c:pt>
                <c:pt idx="4399">
                  <c:v>0.87191777400000003</c:v>
                </c:pt>
                <c:pt idx="4400">
                  <c:v>0.86447011299999998</c:v>
                </c:pt>
                <c:pt idx="4401">
                  <c:v>0.85852738500000003</c:v>
                </c:pt>
                <c:pt idx="4402">
                  <c:v>0.85074214100000001</c:v>
                </c:pt>
                <c:pt idx="4403">
                  <c:v>0.84923590999999998</c:v>
                </c:pt>
                <c:pt idx="4404">
                  <c:v>0.846105883</c:v>
                </c:pt>
                <c:pt idx="4405">
                  <c:v>0.84429538400000004</c:v>
                </c:pt>
                <c:pt idx="4406">
                  <c:v>0.83809668599999998</c:v>
                </c:pt>
                <c:pt idx="4407">
                  <c:v>0.83793413100000003</c:v>
                </c:pt>
                <c:pt idx="4408">
                  <c:v>0.83517366199999998</c:v>
                </c:pt>
                <c:pt idx="4409">
                  <c:v>0.83466958999999996</c:v>
                </c:pt>
                <c:pt idx="4410">
                  <c:v>0.83065162000000003</c:v>
                </c:pt>
                <c:pt idx="4411">
                  <c:v>0.826215166</c:v>
                </c:pt>
                <c:pt idx="4412">
                  <c:v>0.824457526</c:v>
                </c:pt>
                <c:pt idx="4413">
                  <c:v>0.81918402099999998</c:v>
                </c:pt>
                <c:pt idx="4414">
                  <c:v>0.81525159700000005</c:v>
                </c:pt>
                <c:pt idx="4415">
                  <c:v>0.81047952700000003</c:v>
                </c:pt>
                <c:pt idx="4416">
                  <c:v>0.81039724499999999</c:v>
                </c:pt>
                <c:pt idx="4417">
                  <c:v>0.80913974399999999</c:v>
                </c:pt>
                <c:pt idx="4418">
                  <c:v>0.80335961300000003</c:v>
                </c:pt>
                <c:pt idx="4419">
                  <c:v>0.80051749000000005</c:v>
                </c:pt>
                <c:pt idx="4420">
                  <c:v>0.80009507300000005</c:v>
                </c:pt>
                <c:pt idx="4421">
                  <c:v>0.79725558600000002</c:v>
                </c:pt>
                <c:pt idx="4422">
                  <c:v>0.79641728000000001</c:v>
                </c:pt>
                <c:pt idx="4423">
                  <c:v>0.79591454699999997</c:v>
                </c:pt>
                <c:pt idx="4424">
                  <c:v>0.78829775899999999</c:v>
                </c:pt>
                <c:pt idx="4425">
                  <c:v>0.78520037799999998</c:v>
                </c:pt>
                <c:pt idx="4426">
                  <c:v>0.78017953699999998</c:v>
                </c:pt>
                <c:pt idx="4427">
                  <c:v>0.77975971399999999</c:v>
                </c:pt>
                <c:pt idx="4428">
                  <c:v>0.77280762800000002</c:v>
                </c:pt>
                <c:pt idx="4429">
                  <c:v>0.77105584800000004</c:v>
                </c:pt>
                <c:pt idx="4430">
                  <c:v>0.764861754</c:v>
                </c:pt>
                <c:pt idx="4431">
                  <c:v>0.76293569999999999</c:v>
                </c:pt>
                <c:pt idx="4432">
                  <c:v>0.75849857600000004</c:v>
                </c:pt>
                <c:pt idx="4433">
                  <c:v>0.75138322400000002</c:v>
                </c:pt>
                <c:pt idx="4434">
                  <c:v>0.75121150299999995</c:v>
                </c:pt>
                <c:pt idx="4435">
                  <c:v>0.751049576</c:v>
                </c:pt>
                <c:pt idx="4436">
                  <c:v>0.74050193799999997</c:v>
                </c:pt>
                <c:pt idx="4437">
                  <c:v>0.74007947799999996</c:v>
                </c:pt>
                <c:pt idx="4438">
                  <c:v>0.73890752299999996</c:v>
                </c:pt>
                <c:pt idx="4439">
                  <c:v>0.73865615699999998</c:v>
                </c:pt>
                <c:pt idx="4440">
                  <c:v>0.73564302400000003</c:v>
                </c:pt>
                <c:pt idx="4441">
                  <c:v>0.73555944500000003</c:v>
                </c:pt>
                <c:pt idx="4442">
                  <c:v>0.73095583099999994</c:v>
                </c:pt>
                <c:pt idx="4443">
                  <c:v>0.72978383400000002</c:v>
                </c:pt>
                <c:pt idx="4444">
                  <c:v>0.72727736899999995</c:v>
                </c:pt>
                <c:pt idx="4445">
                  <c:v>0.72710497799999996</c:v>
                </c:pt>
                <c:pt idx="4446">
                  <c:v>0.72284154300000003</c:v>
                </c:pt>
                <c:pt idx="4447">
                  <c:v>0.72049235899999997</c:v>
                </c:pt>
                <c:pt idx="4448">
                  <c:v>0.716390851</c:v>
                </c:pt>
                <c:pt idx="4449">
                  <c:v>0.71605590500000005</c:v>
                </c:pt>
                <c:pt idx="4450">
                  <c:v>0.71597232499999997</c:v>
                </c:pt>
                <c:pt idx="4451">
                  <c:v>0.70116183799999998</c:v>
                </c:pt>
                <c:pt idx="4452">
                  <c:v>0.70098948900000002</c:v>
                </c:pt>
                <c:pt idx="4453">
                  <c:v>0.69747425200000002</c:v>
                </c:pt>
                <c:pt idx="4454">
                  <c:v>0.69136369600000003</c:v>
                </c:pt>
                <c:pt idx="4455">
                  <c:v>0.68977714899999998</c:v>
                </c:pt>
                <c:pt idx="4456">
                  <c:v>0.68952707999999996</c:v>
                </c:pt>
                <c:pt idx="4457">
                  <c:v>0.689354731</c:v>
                </c:pt>
                <c:pt idx="4458">
                  <c:v>0.68550454800000005</c:v>
                </c:pt>
                <c:pt idx="4459">
                  <c:v>0.68341200400000002</c:v>
                </c:pt>
                <c:pt idx="4460">
                  <c:v>0.68332775499999998</c:v>
                </c:pt>
                <c:pt idx="4461">
                  <c:v>0.68282569199999998</c:v>
                </c:pt>
                <c:pt idx="4462">
                  <c:v>0.68257499499999996</c:v>
                </c:pt>
                <c:pt idx="4463">
                  <c:v>0.67914266700000003</c:v>
                </c:pt>
                <c:pt idx="4464">
                  <c:v>0.67186471800000003</c:v>
                </c:pt>
                <c:pt idx="4465">
                  <c:v>0.66742433000000001</c:v>
                </c:pt>
                <c:pt idx="4466">
                  <c:v>0.65461761699999998</c:v>
                </c:pt>
                <c:pt idx="4467">
                  <c:v>0.65252900700000005</c:v>
                </c:pt>
                <c:pt idx="4468">
                  <c:v>0.64206227000000005</c:v>
                </c:pt>
                <c:pt idx="4469">
                  <c:v>0.63495152200000005</c:v>
                </c:pt>
                <c:pt idx="4470">
                  <c:v>0.62791648499999997</c:v>
                </c:pt>
                <c:pt idx="4471">
                  <c:v>0.61452345900000005</c:v>
                </c:pt>
                <c:pt idx="4472">
                  <c:v>0.61326792500000005</c:v>
                </c:pt>
                <c:pt idx="4473">
                  <c:v>0.61310076599999996</c:v>
                </c:pt>
                <c:pt idx="4474">
                  <c:v>0.61142670600000004</c:v>
                </c:pt>
                <c:pt idx="4475">
                  <c:v>0.60690667200000004</c:v>
                </c:pt>
                <c:pt idx="4476">
                  <c:v>0.60623678000000003</c:v>
                </c:pt>
                <c:pt idx="4477">
                  <c:v>0.60548334999999998</c:v>
                </c:pt>
                <c:pt idx="4478">
                  <c:v>0.59585755699999998</c:v>
                </c:pt>
                <c:pt idx="4479">
                  <c:v>0.58957988400000005</c:v>
                </c:pt>
                <c:pt idx="4480">
                  <c:v>0.58639896400000002</c:v>
                </c:pt>
                <c:pt idx="4481">
                  <c:v>0.58614822600000005</c:v>
                </c:pt>
                <c:pt idx="4482">
                  <c:v>0.58464132400000002</c:v>
                </c:pt>
                <c:pt idx="4483">
                  <c:v>0.57794516799999995</c:v>
                </c:pt>
                <c:pt idx="4484">
                  <c:v>0.57325730500000005</c:v>
                </c:pt>
                <c:pt idx="4485">
                  <c:v>0.57074623599999996</c:v>
                </c:pt>
                <c:pt idx="4486">
                  <c:v>0.56723099799999999</c:v>
                </c:pt>
                <c:pt idx="4487">
                  <c:v>0.55819088900000002</c:v>
                </c:pt>
                <c:pt idx="4488">
                  <c:v>0.55534487399999999</c:v>
                </c:pt>
                <c:pt idx="4489">
                  <c:v>0.55316875099999996</c:v>
                </c:pt>
                <c:pt idx="4490">
                  <c:v>0.552079706</c:v>
                </c:pt>
                <c:pt idx="4491">
                  <c:v>0.54245328400000004</c:v>
                </c:pt>
                <c:pt idx="4492">
                  <c:v>0.53567484499999996</c:v>
                </c:pt>
                <c:pt idx="4493">
                  <c:v>0.52571285000000001</c:v>
                </c:pt>
                <c:pt idx="4494">
                  <c:v>0.52337023699999996</c:v>
                </c:pt>
                <c:pt idx="4495">
                  <c:v>0.52069071099999997</c:v>
                </c:pt>
                <c:pt idx="4496">
                  <c:v>0.517761786</c:v>
                </c:pt>
                <c:pt idx="4497">
                  <c:v>0.51700898399999995</c:v>
                </c:pt>
                <c:pt idx="4498">
                  <c:v>0.514330128</c:v>
                </c:pt>
                <c:pt idx="4499">
                  <c:v>0.51332529000000005</c:v>
                </c:pt>
                <c:pt idx="4500">
                  <c:v>0.51106558700000004</c:v>
                </c:pt>
                <c:pt idx="4501">
                  <c:v>0.51081489099999999</c:v>
                </c:pt>
                <c:pt idx="4502">
                  <c:v>0.50847093799999998</c:v>
                </c:pt>
                <c:pt idx="4503">
                  <c:v>0.50420227100000004</c:v>
                </c:pt>
                <c:pt idx="4504">
                  <c:v>0.50336392299999999</c:v>
                </c:pt>
                <c:pt idx="4505">
                  <c:v>0.496834883</c:v>
                </c:pt>
                <c:pt idx="4506">
                  <c:v>0.49507598800000002</c:v>
                </c:pt>
                <c:pt idx="4507">
                  <c:v>0.49482721600000001</c:v>
                </c:pt>
                <c:pt idx="4508">
                  <c:v>0.48955241399999999</c:v>
                </c:pt>
                <c:pt idx="4509">
                  <c:v>0.48879961199999999</c:v>
                </c:pt>
                <c:pt idx="4510">
                  <c:v>0.48787965100000003</c:v>
                </c:pt>
                <c:pt idx="4511">
                  <c:v>0.48335961799999999</c:v>
                </c:pt>
                <c:pt idx="4512">
                  <c:v>0.48327474100000001</c:v>
                </c:pt>
                <c:pt idx="4513">
                  <c:v>0.47758074299999997</c:v>
                </c:pt>
                <c:pt idx="4514">
                  <c:v>0.475069674</c:v>
                </c:pt>
                <c:pt idx="4515">
                  <c:v>0.471557701</c:v>
                </c:pt>
                <c:pt idx="4516">
                  <c:v>0.47147282400000001</c:v>
                </c:pt>
                <c:pt idx="4517">
                  <c:v>0.46527940000000001</c:v>
                </c:pt>
                <c:pt idx="4518">
                  <c:v>0.46368632399999998</c:v>
                </c:pt>
                <c:pt idx="4519">
                  <c:v>0.458747723</c:v>
                </c:pt>
                <c:pt idx="4520">
                  <c:v>0.45732766600000002</c:v>
                </c:pt>
                <c:pt idx="4521">
                  <c:v>0.45690851300000002</c:v>
                </c:pt>
                <c:pt idx="4522">
                  <c:v>0.45673875899999999</c:v>
                </c:pt>
                <c:pt idx="4523">
                  <c:v>0.45456263600000002</c:v>
                </c:pt>
                <c:pt idx="4524">
                  <c:v>0.45422898699999997</c:v>
                </c:pt>
                <c:pt idx="4525">
                  <c:v>0.45205483099999999</c:v>
                </c:pt>
                <c:pt idx="4526">
                  <c:v>0.43882959199999999</c:v>
                </c:pt>
                <c:pt idx="4527">
                  <c:v>0.438660508</c:v>
                </c:pt>
                <c:pt idx="4528">
                  <c:v>0.43397461300000001</c:v>
                </c:pt>
                <c:pt idx="4529">
                  <c:v>0.43388776899999998</c:v>
                </c:pt>
                <c:pt idx="4530">
                  <c:v>0.42401064999999999</c:v>
                </c:pt>
                <c:pt idx="4531">
                  <c:v>0.42200490899999998</c:v>
                </c:pt>
                <c:pt idx="4532">
                  <c:v>0.41304837900000002</c:v>
                </c:pt>
                <c:pt idx="4533">
                  <c:v>0.40727147200000002</c:v>
                </c:pt>
                <c:pt idx="4534">
                  <c:v>0.40325546899999998</c:v>
                </c:pt>
                <c:pt idx="4535">
                  <c:v>0.39881704699999998</c:v>
                </c:pt>
                <c:pt idx="4536">
                  <c:v>0.39680871099999998</c:v>
                </c:pt>
                <c:pt idx="4537">
                  <c:v>0.394464759</c:v>
                </c:pt>
                <c:pt idx="4538">
                  <c:v>0.39019542200000001</c:v>
                </c:pt>
                <c:pt idx="4539">
                  <c:v>0.389778864</c:v>
                </c:pt>
                <c:pt idx="4540">
                  <c:v>0.38584317499999998</c:v>
                </c:pt>
                <c:pt idx="4541">
                  <c:v>0.383749962</c:v>
                </c:pt>
                <c:pt idx="4542">
                  <c:v>0.35144167599999998</c:v>
                </c:pt>
                <c:pt idx="4543">
                  <c:v>0.34440990399999999</c:v>
                </c:pt>
                <c:pt idx="4544">
                  <c:v>0.34424211700000001</c:v>
                </c:pt>
                <c:pt idx="4545">
                  <c:v>0.34407366099999998</c:v>
                </c:pt>
                <c:pt idx="4546">
                  <c:v>0.34399137800000001</c:v>
                </c:pt>
                <c:pt idx="4547">
                  <c:v>0.34214953100000001</c:v>
                </c:pt>
                <c:pt idx="4548">
                  <c:v>0.34198107500000002</c:v>
                </c:pt>
                <c:pt idx="4549">
                  <c:v>0.34189686800000002</c:v>
                </c:pt>
                <c:pt idx="4550">
                  <c:v>0.33017986900000001</c:v>
                </c:pt>
                <c:pt idx="4551">
                  <c:v>0.327248977</c:v>
                </c:pt>
                <c:pt idx="4552">
                  <c:v>0.32691532899999998</c:v>
                </c:pt>
                <c:pt idx="4553">
                  <c:v>0.32147336700000001</c:v>
                </c:pt>
                <c:pt idx="4554">
                  <c:v>0.31954990799999999</c:v>
                </c:pt>
                <c:pt idx="4555">
                  <c:v>0.31929724399999998</c:v>
                </c:pt>
                <c:pt idx="4556">
                  <c:v>0.31703820999999999</c:v>
                </c:pt>
                <c:pt idx="4557">
                  <c:v>0.31276297199999997</c:v>
                </c:pt>
                <c:pt idx="4558">
                  <c:v>0.31243325799999999</c:v>
                </c:pt>
                <c:pt idx="4559">
                  <c:v>0.31017355499999999</c:v>
                </c:pt>
                <c:pt idx="4560">
                  <c:v>0.310006438</c:v>
                </c:pt>
                <c:pt idx="4561">
                  <c:v>0.30825009599999997</c:v>
                </c:pt>
                <c:pt idx="4562">
                  <c:v>0.30305887300000001</c:v>
                </c:pt>
                <c:pt idx="4563">
                  <c:v>0.29711547599999999</c:v>
                </c:pt>
                <c:pt idx="4564">
                  <c:v>0.29653112999999998</c:v>
                </c:pt>
                <c:pt idx="4565">
                  <c:v>0.29435370999999999</c:v>
                </c:pt>
                <c:pt idx="4566">
                  <c:v>0.29251186299999998</c:v>
                </c:pt>
                <c:pt idx="4567">
                  <c:v>0.29075426500000001</c:v>
                </c:pt>
                <c:pt idx="4568">
                  <c:v>0.29041931900000001</c:v>
                </c:pt>
                <c:pt idx="4569">
                  <c:v>0.29033573899999998</c:v>
                </c:pt>
                <c:pt idx="4570">
                  <c:v>0.2885781</c:v>
                </c:pt>
                <c:pt idx="4571">
                  <c:v>0.28807603599999998</c:v>
                </c:pt>
                <c:pt idx="4572">
                  <c:v>0.28397578400000001</c:v>
                </c:pt>
                <c:pt idx="4573">
                  <c:v>0.279281434</c:v>
                </c:pt>
                <c:pt idx="4574">
                  <c:v>0.27501795699999998</c:v>
                </c:pt>
                <c:pt idx="4575">
                  <c:v>0.273427476</c:v>
                </c:pt>
                <c:pt idx="4576">
                  <c:v>0.26514213599999997</c:v>
                </c:pt>
                <c:pt idx="4577">
                  <c:v>0.25593357100000003</c:v>
                </c:pt>
                <c:pt idx="4578">
                  <c:v>0.25451024900000002</c:v>
                </c:pt>
                <c:pt idx="4579">
                  <c:v>0.25434308999999999</c:v>
                </c:pt>
                <c:pt idx="4580">
                  <c:v>0.25283618899999999</c:v>
                </c:pt>
                <c:pt idx="4581">
                  <c:v>0.24823257600000001</c:v>
                </c:pt>
                <c:pt idx="4582">
                  <c:v>0.245302981</c:v>
                </c:pt>
                <c:pt idx="4583">
                  <c:v>0.241286308</c:v>
                </c:pt>
                <c:pt idx="4584">
                  <c:v>0.23533705199999999</c:v>
                </c:pt>
                <c:pt idx="4585">
                  <c:v>0.23165925900000001</c:v>
                </c:pt>
                <c:pt idx="4586">
                  <c:v>0.231324313</c:v>
                </c:pt>
                <c:pt idx="4587">
                  <c:v>0.22044302700000001</c:v>
                </c:pt>
                <c:pt idx="4588">
                  <c:v>0.21491359300000001</c:v>
                </c:pt>
                <c:pt idx="4589">
                  <c:v>0.210226359</c:v>
                </c:pt>
                <c:pt idx="4590">
                  <c:v>0.20327883499999999</c:v>
                </c:pt>
                <c:pt idx="4591">
                  <c:v>0.20185551400000001</c:v>
                </c:pt>
                <c:pt idx="4592">
                  <c:v>0.194490093</c:v>
                </c:pt>
                <c:pt idx="4593">
                  <c:v>0.19374185299999999</c:v>
                </c:pt>
                <c:pt idx="4594">
                  <c:v>0.19089060599999999</c:v>
                </c:pt>
                <c:pt idx="4595">
                  <c:v>0.18854669600000001</c:v>
                </c:pt>
                <c:pt idx="4596">
                  <c:v>0.18846834800000001</c:v>
                </c:pt>
                <c:pt idx="4597">
                  <c:v>0.182352602</c:v>
                </c:pt>
                <c:pt idx="4598">
                  <c:v>0.182274254</c:v>
                </c:pt>
                <c:pt idx="4599">
                  <c:v>0.17758183</c:v>
                </c:pt>
                <c:pt idx="4600">
                  <c:v>0.166532715</c:v>
                </c:pt>
                <c:pt idx="4601">
                  <c:v>0.16234762699999999</c:v>
                </c:pt>
                <c:pt idx="4602">
                  <c:v>0.159673961</c:v>
                </c:pt>
                <c:pt idx="4603">
                  <c:v>0.152888993</c:v>
                </c:pt>
                <c:pt idx="4604">
                  <c:v>0.14719700399999999</c:v>
                </c:pt>
                <c:pt idx="4605">
                  <c:v>0.136817781</c:v>
                </c:pt>
                <c:pt idx="4606">
                  <c:v>0.13673353099999999</c:v>
                </c:pt>
                <c:pt idx="4607">
                  <c:v>0.134306711</c:v>
                </c:pt>
                <c:pt idx="4608">
                  <c:v>0.133637489</c:v>
                </c:pt>
                <c:pt idx="4609">
                  <c:v>0.133302543</c:v>
                </c:pt>
                <c:pt idx="4610">
                  <c:v>0.12719198700000001</c:v>
                </c:pt>
                <c:pt idx="4611">
                  <c:v>0.12685708300000001</c:v>
                </c:pt>
                <c:pt idx="4612">
                  <c:v>0.121416419</c:v>
                </c:pt>
                <c:pt idx="4613">
                  <c:v>0.115222325</c:v>
                </c:pt>
                <c:pt idx="4614">
                  <c:v>0.11020018600000001</c:v>
                </c:pt>
                <c:pt idx="4615">
                  <c:v>0.10266697800000001</c:v>
                </c:pt>
                <c:pt idx="4616">
                  <c:v>8.5340189999999996E-2</c:v>
                </c:pt>
                <c:pt idx="4617">
                  <c:v>8.0736577000000004E-2</c:v>
                </c:pt>
                <c:pt idx="4618">
                  <c:v>7.6635026999999994E-2</c:v>
                </c:pt>
                <c:pt idx="4619">
                  <c:v>7.646791E-2</c:v>
                </c:pt>
                <c:pt idx="4620">
                  <c:v>7.4291117000000004E-2</c:v>
                </c:pt>
                <c:pt idx="4621">
                  <c:v>6.5917970000000006E-2</c:v>
                </c:pt>
                <c:pt idx="4622">
                  <c:v>6.5881304000000002E-2</c:v>
                </c:pt>
                <c:pt idx="4623">
                  <c:v>6.5350487999999998E-2</c:v>
                </c:pt>
                <c:pt idx="4624">
                  <c:v>6.5338473999999994E-2</c:v>
                </c:pt>
                <c:pt idx="4625">
                  <c:v>6.5326172000000002E-2</c:v>
                </c:pt>
                <c:pt idx="4626">
                  <c:v>6.5191811000000002E-2</c:v>
                </c:pt>
                <c:pt idx="4627">
                  <c:v>6.5039101000000002E-2</c:v>
                </c:pt>
                <c:pt idx="4628">
                  <c:v>6.5027239000000001E-2</c:v>
                </c:pt>
                <c:pt idx="4629">
                  <c:v>6.5020759999999997E-2</c:v>
                </c:pt>
                <c:pt idx="4630">
                  <c:v>6.4410629999999996E-2</c:v>
                </c:pt>
                <c:pt idx="4631">
                  <c:v>6.4056585999999999E-2</c:v>
                </c:pt>
                <c:pt idx="4632">
                  <c:v>6.4019967999999997E-2</c:v>
                </c:pt>
                <c:pt idx="4633">
                  <c:v>6.4013873999999998E-2</c:v>
                </c:pt>
                <c:pt idx="4634">
                  <c:v>6.3806312000000004E-2</c:v>
                </c:pt>
                <c:pt idx="4635">
                  <c:v>6.3800169000000004E-2</c:v>
                </c:pt>
                <c:pt idx="4636">
                  <c:v>6.3153460999999994E-2</c:v>
                </c:pt>
                <c:pt idx="4637">
                  <c:v>6.2592040000000002E-2</c:v>
                </c:pt>
                <c:pt idx="4638">
                  <c:v>6.1102708999999998E-2</c:v>
                </c:pt>
                <c:pt idx="4639">
                  <c:v>6.0992831999999997E-2</c:v>
                </c:pt>
                <c:pt idx="4640">
                  <c:v>6.0901284E-2</c:v>
                </c:pt>
                <c:pt idx="4641">
                  <c:v>6.0895189000000002E-2</c:v>
                </c:pt>
                <c:pt idx="4642">
                  <c:v>6.0748701000000002E-2</c:v>
                </c:pt>
                <c:pt idx="4643">
                  <c:v>6.0736512999999999E-2</c:v>
                </c:pt>
                <c:pt idx="4644">
                  <c:v>5.9997979E-2</c:v>
                </c:pt>
                <c:pt idx="4645">
                  <c:v>5.9961370999999999E-2</c:v>
                </c:pt>
                <c:pt idx="4646">
                  <c:v>5.9747756999999999E-2</c:v>
                </c:pt>
                <c:pt idx="4647">
                  <c:v>5.9735568000000003E-2</c:v>
                </c:pt>
                <c:pt idx="4648">
                  <c:v>5.9723334000000003E-2</c:v>
                </c:pt>
                <c:pt idx="4649">
                  <c:v>5.9570849000000002E-2</c:v>
                </c:pt>
                <c:pt idx="4650">
                  <c:v>5.9509815000000001E-2</c:v>
                </c:pt>
                <c:pt idx="4651">
                  <c:v>5.9210652000000003E-2</c:v>
                </c:pt>
                <c:pt idx="4652">
                  <c:v>5.8984804000000002E-2</c:v>
                </c:pt>
                <c:pt idx="4653">
                  <c:v>5.8917678000000001E-2</c:v>
                </c:pt>
                <c:pt idx="4654">
                  <c:v>5.8904302999999998E-2</c:v>
                </c:pt>
                <c:pt idx="4655">
                  <c:v>5.8837986000000002E-2</c:v>
                </c:pt>
                <c:pt idx="4656">
                  <c:v>5.8831891999999997E-2</c:v>
                </c:pt>
                <c:pt idx="4657">
                  <c:v>5.8734630000000003E-2</c:v>
                </c:pt>
                <c:pt idx="4658">
                  <c:v>5.8477886999999999E-2</c:v>
                </c:pt>
                <c:pt idx="4659">
                  <c:v>5.8472174000000002E-2</c:v>
                </c:pt>
                <c:pt idx="4660">
                  <c:v>5.8410758E-2</c:v>
                </c:pt>
                <c:pt idx="4661">
                  <c:v>5.7837425999999997E-2</c:v>
                </c:pt>
                <c:pt idx="4662">
                  <c:v>5.7153838999999998E-2</c:v>
                </c:pt>
                <c:pt idx="4663">
                  <c:v>5.6964648E-2</c:v>
                </c:pt>
                <c:pt idx="4664">
                  <c:v>5.6879194000000001E-2</c:v>
                </c:pt>
                <c:pt idx="4665">
                  <c:v>5.6867005999999998E-2</c:v>
                </c:pt>
                <c:pt idx="4666">
                  <c:v>5.664073E-2</c:v>
                </c:pt>
                <c:pt idx="4667">
                  <c:v>5.6610213E-2</c:v>
                </c:pt>
                <c:pt idx="4668">
                  <c:v>5.6244447000000003E-2</c:v>
                </c:pt>
                <c:pt idx="4669">
                  <c:v>5.6232260999999999E-2</c:v>
                </c:pt>
                <c:pt idx="4670">
                  <c:v>5.6085390999999998E-2</c:v>
                </c:pt>
                <c:pt idx="4671">
                  <c:v>5.5932811999999998E-2</c:v>
                </c:pt>
                <c:pt idx="4672">
                  <c:v>5.5383520999999998E-2</c:v>
                </c:pt>
                <c:pt idx="4673">
                  <c:v>5.5133298999999997E-2</c:v>
                </c:pt>
                <c:pt idx="4674">
                  <c:v>5.4675511000000003E-2</c:v>
                </c:pt>
                <c:pt idx="4675">
                  <c:v>5.4565679999999998E-2</c:v>
                </c:pt>
                <c:pt idx="4676">
                  <c:v>5.3619633E-2</c:v>
                </c:pt>
                <c:pt idx="4677">
                  <c:v>5.3497949000000003E-2</c:v>
                </c:pt>
                <c:pt idx="4678">
                  <c:v>5.3485381999999998E-2</c:v>
                </c:pt>
                <c:pt idx="4679">
                  <c:v>5.3326705000000002E-2</c:v>
                </c:pt>
                <c:pt idx="4680">
                  <c:v>5.3266006999999997E-2</c:v>
                </c:pt>
                <c:pt idx="4681">
                  <c:v>5.3064249000000001E-2</c:v>
                </c:pt>
                <c:pt idx="4682">
                  <c:v>5.3052396000000002E-2</c:v>
                </c:pt>
                <c:pt idx="4683">
                  <c:v>5.2716338000000001E-2</c:v>
                </c:pt>
                <c:pt idx="4684">
                  <c:v>5.247835E-2</c:v>
                </c:pt>
                <c:pt idx="4685">
                  <c:v>5.2344050000000003E-2</c:v>
                </c:pt>
                <c:pt idx="4686">
                  <c:v>5.2270829999999997E-2</c:v>
                </c:pt>
                <c:pt idx="4687">
                  <c:v>5.1898494000000003E-2</c:v>
                </c:pt>
                <c:pt idx="4688">
                  <c:v>5.1837462000000001E-2</c:v>
                </c:pt>
                <c:pt idx="4689">
                  <c:v>5.1831368000000003E-2</c:v>
                </c:pt>
                <c:pt idx="4690">
                  <c:v>5.1715400000000002E-2</c:v>
                </c:pt>
                <c:pt idx="4691">
                  <c:v>5.1233235000000002E-2</c:v>
                </c:pt>
                <c:pt idx="4692">
                  <c:v>5.1098981000000002E-2</c:v>
                </c:pt>
                <c:pt idx="4693">
                  <c:v>5.1068466999999999E-2</c:v>
                </c:pt>
                <c:pt idx="4694">
                  <c:v>5.0928072999999997E-2</c:v>
                </c:pt>
                <c:pt idx="4695">
                  <c:v>5.0659854999999997E-2</c:v>
                </c:pt>
                <c:pt idx="4696">
                  <c:v>5.0494754000000003E-2</c:v>
                </c:pt>
                <c:pt idx="4697">
                  <c:v>5.0360453999999999E-2</c:v>
                </c:pt>
                <c:pt idx="4698">
                  <c:v>5.0257004000000001E-2</c:v>
                </c:pt>
                <c:pt idx="4699">
                  <c:v>4.9823397999999998E-2</c:v>
                </c:pt>
                <c:pt idx="4700">
                  <c:v>4.9750132000000002E-2</c:v>
                </c:pt>
                <c:pt idx="4701">
                  <c:v>4.9634161000000003E-2</c:v>
                </c:pt>
                <c:pt idx="4702">
                  <c:v>4.9463299000000002E-2</c:v>
                </c:pt>
                <c:pt idx="4703">
                  <c:v>4.9420547000000002E-2</c:v>
                </c:pt>
                <c:pt idx="4704">
                  <c:v>4.9347327000000003E-2</c:v>
                </c:pt>
                <c:pt idx="4705">
                  <c:v>4.9328998999999998E-2</c:v>
                </c:pt>
                <c:pt idx="4706">
                  <c:v>4.8498972000000001E-2</c:v>
                </c:pt>
                <c:pt idx="4707">
                  <c:v>4.805951E-2</c:v>
                </c:pt>
                <c:pt idx="4708">
                  <c:v>4.8035086999999997E-2</c:v>
                </c:pt>
                <c:pt idx="4709">
                  <c:v>4.7931353000000003E-2</c:v>
                </c:pt>
                <c:pt idx="4710">
                  <c:v>4.7705550999999999E-2</c:v>
                </c:pt>
                <c:pt idx="4711">
                  <c:v>4.7235574000000002E-2</c:v>
                </c:pt>
                <c:pt idx="4712">
                  <c:v>4.7137932E-2</c:v>
                </c:pt>
                <c:pt idx="4713">
                  <c:v>4.6722895E-2</c:v>
                </c:pt>
                <c:pt idx="4714">
                  <c:v>4.5685346000000002E-2</c:v>
                </c:pt>
                <c:pt idx="4715">
                  <c:v>4.5569375000000002E-2</c:v>
                </c:pt>
                <c:pt idx="4716">
                  <c:v>4.5496109E-2</c:v>
                </c:pt>
                <c:pt idx="4717">
                  <c:v>4.5471732000000001E-2</c:v>
                </c:pt>
                <c:pt idx="4718">
                  <c:v>4.4684408000000002E-2</c:v>
                </c:pt>
                <c:pt idx="4719">
                  <c:v>4.4592811000000003E-2</c:v>
                </c:pt>
                <c:pt idx="4720">
                  <c:v>4.4324259999999997E-2</c:v>
                </c:pt>
                <c:pt idx="4721">
                  <c:v>4.3713938000000001E-2</c:v>
                </c:pt>
                <c:pt idx="4722">
                  <c:v>4.3622389999999997E-2</c:v>
                </c:pt>
                <c:pt idx="4723">
                  <c:v>4.2841062999999999E-2</c:v>
                </c:pt>
                <c:pt idx="4724">
                  <c:v>4.2572655000000001E-2</c:v>
                </c:pt>
                <c:pt idx="4725">
                  <c:v>4.2334617999999997E-2</c:v>
                </c:pt>
                <c:pt idx="4726">
                  <c:v>4.2297961000000002E-2</c:v>
                </c:pt>
                <c:pt idx="4727">
                  <c:v>4.2279681E-2</c:v>
                </c:pt>
                <c:pt idx="4728">
                  <c:v>4.1797516999999999E-2</c:v>
                </c:pt>
                <c:pt idx="4729">
                  <c:v>4.1522871000000003E-2</c:v>
                </c:pt>
                <c:pt idx="4730">
                  <c:v>4.1046801000000001E-2</c:v>
                </c:pt>
                <c:pt idx="4731">
                  <c:v>4.0912549999999999E-2</c:v>
                </c:pt>
                <c:pt idx="4732">
                  <c:v>4.0717216000000001E-2</c:v>
                </c:pt>
                <c:pt idx="4733">
                  <c:v>4.0131317E-2</c:v>
                </c:pt>
                <c:pt idx="4734">
                  <c:v>3.9758982999999998E-2</c:v>
                </c:pt>
                <c:pt idx="4735">
                  <c:v>3.9704092000000003E-2</c:v>
                </c:pt>
                <c:pt idx="4736">
                  <c:v>3.9435398000000003E-2</c:v>
                </c:pt>
                <c:pt idx="4737">
                  <c:v>3.9105955999999997E-2</c:v>
                </c:pt>
                <c:pt idx="4738">
                  <c:v>3.8568854E-2</c:v>
                </c:pt>
                <c:pt idx="4739">
                  <c:v>3.8385757999999999E-2</c:v>
                </c:pt>
                <c:pt idx="4740">
                  <c:v>3.8294209000000003E-2</c:v>
                </c:pt>
                <c:pt idx="4741">
                  <c:v>3.8007329999999999E-2</c:v>
                </c:pt>
                <c:pt idx="4742">
                  <c:v>3.7653084000000003E-2</c:v>
                </c:pt>
                <c:pt idx="4743">
                  <c:v>3.7622758999999999E-2</c:v>
                </c:pt>
                <c:pt idx="4744">
                  <c:v>3.7195391000000001E-2</c:v>
                </c:pt>
                <c:pt idx="4745">
                  <c:v>3.7103841999999998E-2</c:v>
                </c:pt>
                <c:pt idx="4746">
                  <c:v>3.6572975000000001E-2</c:v>
                </c:pt>
                <c:pt idx="4747">
                  <c:v>3.6566975000000002E-2</c:v>
                </c:pt>
                <c:pt idx="4748">
                  <c:v>3.6218827000000002E-2</c:v>
                </c:pt>
                <c:pt idx="4749">
                  <c:v>3.5832449000000002E-2</c:v>
                </c:pt>
                <c:pt idx="4750">
                  <c:v>3.5285252000000003E-2</c:v>
                </c:pt>
                <c:pt idx="4751">
                  <c:v>3.5248406000000003E-2</c:v>
                </c:pt>
                <c:pt idx="4752">
                  <c:v>3.4833603999999997E-2</c:v>
                </c:pt>
                <c:pt idx="4753">
                  <c:v>3.4723535E-2</c:v>
                </c:pt>
                <c:pt idx="4754">
                  <c:v>3.4699115000000003E-2</c:v>
                </c:pt>
                <c:pt idx="4755">
                  <c:v>3.4680786999999998E-2</c:v>
                </c:pt>
                <c:pt idx="4756">
                  <c:v>3.4589238000000001E-2</c:v>
                </c:pt>
                <c:pt idx="4757">
                  <c:v>3.4516019000000002E-2</c:v>
                </c:pt>
                <c:pt idx="4758">
                  <c:v>3.3948399999999997E-2</c:v>
                </c:pt>
                <c:pt idx="4759">
                  <c:v>3.3905932E-2</c:v>
                </c:pt>
                <c:pt idx="4760">
                  <c:v>3.3515220999999998E-2</c:v>
                </c:pt>
                <c:pt idx="4761">
                  <c:v>3.3374830000000001E-2</c:v>
                </c:pt>
                <c:pt idx="4762">
                  <c:v>3.3008636000000001E-2</c:v>
                </c:pt>
                <c:pt idx="4763">
                  <c:v>3.2996303999999997E-2</c:v>
                </c:pt>
                <c:pt idx="4764">
                  <c:v>3.2507951E-2</c:v>
                </c:pt>
                <c:pt idx="4765">
                  <c:v>3.2300529000000001E-2</c:v>
                </c:pt>
                <c:pt idx="4766">
                  <c:v>3.1897772999999997E-2</c:v>
                </c:pt>
                <c:pt idx="4767">
                  <c:v>3.1793940999999999E-2</c:v>
                </c:pt>
                <c:pt idx="4768">
                  <c:v>3.1476639000000001E-2</c:v>
                </c:pt>
                <c:pt idx="4769">
                  <c:v>3.1415657E-2</c:v>
                </c:pt>
                <c:pt idx="4770">
                  <c:v>3.1293448000000001E-2</c:v>
                </c:pt>
                <c:pt idx="4771">
                  <c:v>3.1128728000000001E-2</c:v>
                </c:pt>
                <c:pt idx="4772">
                  <c:v>3.1037130999999999E-2</c:v>
                </c:pt>
                <c:pt idx="4773">
                  <c:v>3.0261947000000001E-2</c:v>
                </c:pt>
                <c:pt idx="4774">
                  <c:v>2.9450389E-2</c:v>
                </c:pt>
                <c:pt idx="4775">
                  <c:v>2.9346512000000002E-2</c:v>
                </c:pt>
                <c:pt idx="4776">
                  <c:v>2.8778794999999999E-2</c:v>
                </c:pt>
                <c:pt idx="4777">
                  <c:v>2.8589702000000002E-2</c:v>
                </c:pt>
                <c:pt idx="4778">
                  <c:v>2.8577086000000002E-2</c:v>
                </c:pt>
                <c:pt idx="4779">
                  <c:v>2.7771812E-2</c:v>
                </c:pt>
                <c:pt idx="4780">
                  <c:v>2.7350681000000002E-2</c:v>
                </c:pt>
                <c:pt idx="4781">
                  <c:v>2.7192101999999999E-2</c:v>
                </c:pt>
                <c:pt idx="4782">
                  <c:v>2.7179723999999999E-2</c:v>
                </c:pt>
                <c:pt idx="4783">
                  <c:v>2.7051658999999999E-2</c:v>
                </c:pt>
                <c:pt idx="4784">
                  <c:v>2.7045565000000001E-2</c:v>
                </c:pt>
                <c:pt idx="4785">
                  <c:v>2.7008529E-2</c:v>
                </c:pt>
                <c:pt idx="4786">
                  <c:v>2.6276618000000002E-2</c:v>
                </c:pt>
                <c:pt idx="4787">
                  <c:v>2.6264286000000001E-2</c:v>
                </c:pt>
                <c:pt idx="4788">
                  <c:v>2.6215108000000001E-2</c:v>
                </c:pt>
                <c:pt idx="4789">
                  <c:v>2.6197160000000001E-2</c:v>
                </c:pt>
                <c:pt idx="4790">
                  <c:v>2.6105612E-2</c:v>
                </c:pt>
                <c:pt idx="4791">
                  <c:v>2.5647488999999999E-2</c:v>
                </c:pt>
                <c:pt idx="4792">
                  <c:v>2.5501049000000001E-2</c:v>
                </c:pt>
                <c:pt idx="4793">
                  <c:v>2.5440351E-2</c:v>
                </c:pt>
                <c:pt idx="4794">
                  <c:v>2.5208411E-2</c:v>
                </c:pt>
                <c:pt idx="4795">
                  <c:v>2.5129097E-2</c:v>
                </c:pt>
                <c:pt idx="4796">
                  <c:v>2.5025314E-2</c:v>
                </c:pt>
                <c:pt idx="4797">
                  <c:v>2.4933766E-2</c:v>
                </c:pt>
                <c:pt idx="4798">
                  <c:v>2.4817795E-2</c:v>
                </c:pt>
                <c:pt idx="4799">
                  <c:v>2.4756759999999999E-2</c:v>
                </c:pt>
                <c:pt idx="4800">
                  <c:v>2.4500065000000001E-2</c:v>
                </c:pt>
                <c:pt idx="4801">
                  <c:v>2.4469548000000001E-2</c:v>
                </c:pt>
                <c:pt idx="4802">
                  <c:v>2.4237655E-2</c:v>
                </c:pt>
                <c:pt idx="4803">
                  <c:v>2.406703E-2</c:v>
                </c:pt>
                <c:pt idx="4804">
                  <c:v>2.362119E-2</c:v>
                </c:pt>
                <c:pt idx="4805">
                  <c:v>2.3535785E-2</c:v>
                </c:pt>
                <c:pt idx="4806">
                  <c:v>2.291932E-2</c:v>
                </c:pt>
                <c:pt idx="4807">
                  <c:v>2.2474145000000001E-2</c:v>
                </c:pt>
                <c:pt idx="4808">
                  <c:v>2.2468054000000001E-2</c:v>
                </c:pt>
                <c:pt idx="4809">
                  <c:v>2.2400928000000001E-2</c:v>
                </c:pt>
                <c:pt idx="4810">
                  <c:v>2.1759707999999999E-2</c:v>
                </c:pt>
                <c:pt idx="4811">
                  <c:v>2.1265642000000001E-2</c:v>
                </c:pt>
                <c:pt idx="4812">
                  <c:v>2.0911349999999999E-2</c:v>
                </c:pt>
                <c:pt idx="4813">
                  <c:v>2.0832368E-2</c:v>
                </c:pt>
                <c:pt idx="4814">
                  <c:v>2.0819752E-2</c:v>
                </c:pt>
                <c:pt idx="4815">
                  <c:v>2.0722113E-2</c:v>
                </c:pt>
                <c:pt idx="4816">
                  <c:v>1.9872847999999999E-2</c:v>
                </c:pt>
                <c:pt idx="4817">
                  <c:v>1.9768781999999999E-2</c:v>
                </c:pt>
                <c:pt idx="4818">
                  <c:v>1.8810546000000001E-2</c:v>
                </c:pt>
                <c:pt idx="4819">
                  <c:v>1.7913295999999999E-2</c:v>
                </c:pt>
                <c:pt idx="4820">
                  <c:v>1.7016186999999999E-2</c:v>
                </c:pt>
                <c:pt idx="4821">
                  <c:v>1.6906310000000001E-2</c:v>
                </c:pt>
                <c:pt idx="4822">
                  <c:v>1.6619479E-2</c:v>
                </c:pt>
                <c:pt idx="4823">
                  <c:v>1.6436381999999999E-2</c:v>
                </c:pt>
                <c:pt idx="4824">
                  <c:v>1.6155643000000001E-2</c:v>
                </c:pt>
                <c:pt idx="4825">
                  <c:v>1.5331658999999999E-2</c:v>
                </c:pt>
                <c:pt idx="4826">
                  <c:v>1.517289E-2</c:v>
                </c:pt>
                <c:pt idx="4827">
                  <c:v>1.5148562000000001E-2</c:v>
                </c:pt>
                <c:pt idx="4828">
                  <c:v>1.4641977E-2</c:v>
                </c:pt>
                <c:pt idx="4829">
                  <c:v>1.4538239999999999E-2</c:v>
                </c:pt>
                <c:pt idx="4830">
                  <c:v>1.4471019999999999E-2</c:v>
                </c:pt>
                <c:pt idx="4831">
                  <c:v>1.4178141E-2</c:v>
                </c:pt>
                <c:pt idx="4832">
                  <c:v>1.3970621000000001E-2</c:v>
                </c:pt>
                <c:pt idx="4833">
                  <c:v>1.3927919E-2</c:v>
                </c:pt>
                <c:pt idx="4834">
                  <c:v>1.3891212999999999E-2</c:v>
                </c:pt>
                <c:pt idx="4835">
                  <c:v>1.3653274E-2</c:v>
                </c:pt>
                <c:pt idx="4836">
                  <c:v>1.3219668E-2</c:v>
                </c:pt>
                <c:pt idx="4837">
                  <c:v>1.2682852999999999E-2</c:v>
                </c:pt>
                <c:pt idx="4838">
                  <c:v>1.2109045000000001E-2</c:v>
                </c:pt>
                <c:pt idx="4839">
                  <c:v>1.2005353999999999E-2</c:v>
                </c:pt>
                <c:pt idx="4840">
                  <c:v>1.1181323999999999E-2</c:v>
                </c:pt>
                <c:pt idx="4841">
                  <c:v>1.1059355999999999E-2</c:v>
                </c:pt>
                <c:pt idx="4842">
                  <c:v>1.0796899E-2</c:v>
                </c:pt>
                <c:pt idx="4843">
                  <c:v>1.0479548E-2</c:v>
                </c:pt>
                <c:pt idx="4844">
                  <c:v>1.0371338000000001E-2</c:v>
                </c:pt>
                <c:pt idx="4845">
                  <c:v>1.0003382999999999E-2</c:v>
                </c:pt>
                <c:pt idx="4846">
                  <c:v>9.8690830000000007E-3</c:v>
                </c:pt>
                <c:pt idx="4847">
                  <c:v>9.3198420000000001E-3</c:v>
                </c:pt>
                <c:pt idx="4848">
                  <c:v>9.2588559999999993E-3</c:v>
                </c:pt>
                <c:pt idx="4849">
                  <c:v>9.2361490000000008E-3</c:v>
                </c:pt>
                <c:pt idx="4850">
                  <c:v>8.5567000000000004E-3</c:v>
                </c:pt>
                <c:pt idx="4851">
                  <c:v>8.4776239999999996E-3</c:v>
                </c:pt>
                <c:pt idx="4852">
                  <c:v>8.1356150000000006E-3</c:v>
                </c:pt>
                <c:pt idx="4853">
                  <c:v>8.1175239999999992E-3</c:v>
                </c:pt>
                <c:pt idx="4854">
                  <c:v>7.69625E-3</c:v>
                </c:pt>
                <c:pt idx="4855">
                  <c:v>7.6047969999999999E-3</c:v>
                </c:pt>
                <c:pt idx="4856">
                  <c:v>7.5987019999999997E-3</c:v>
                </c:pt>
                <c:pt idx="4857">
                  <c:v>7.5558099999999996E-3</c:v>
                </c:pt>
                <c:pt idx="4858">
                  <c:v>7.5436219999999998E-3</c:v>
                </c:pt>
                <c:pt idx="4859">
                  <c:v>7.5011080000000003E-3</c:v>
                </c:pt>
                <c:pt idx="4860">
                  <c:v>7.4888250000000002E-3</c:v>
                </c:pt>
                <c:pt idx="4861">
                  <c:v>6.8297560000000002E-3</c:v>
                </c:pt>
                <c:pt idx="4862">
                  <c:v>6.634376E-3</c:v>
                </c:pt>
                <c:pt idx="4863">
                  <c:v>6.249854E-3</c:v>
                </c:pt>
                <c:pt idx="4864">
                  <c:v>6.1459269999999998E-3</c:v>
                </c:pt>
                <c:pt idx="4865">
                  <c:v>5.9752080000000001E-3</c:v>
                </c:pt>
                <c:pt idx="4866">
                  <c:v>5.9691140000000002E-3</c:v>
                </c:pt>
                <c:pt idx="4867">
                  <c:v>5.6149659999999999E-3</c:v>
                </c:pt>
                <c:pt idx="4868">
                  <c:v>5.1207099999999997E-3</c:v>
                </c:pt>
                <c:pt idx="4869">
                  <c:v>4.6325460000000004E-3</c:v>
                </c:pt>
                <c:pt idx="4870">
                  <c:v>4.620262E-3</c:v>
                </c:pt>
                <c:pt idx="4871">
                  <c:v>4.6140280000000001E-3</c:v>
                </c:pt>
                <c:pt idx="4872">
                  <c:v>3.4421780000000002E-3</c:v>
                </c:pt>
                <c:pt idx="4873">
                  <c:v>3.411805E-3</c:v>
                </c:pt>
                <c:pt idx="4874">
                  <c:v>3.4054760000000002E-3</c:v>
                </c:pt>
                <c:pt idx="4875">
                  <c:v>2.7892490000000002E-3</c:v>
                </c:pt>
                <c:pt idx="4876">
                  <c:v>1.9346070000000001E-3</c:v>
                </c:pt>
                <c:pt idx="4877">
                  <c:v>1.8981880000000001E-3</c:v>
                </c:pt>
                <c:pt idx="4878">
                  <c:v>1.5440390000000001E-3</c:v>
                </c:pt>
                <c:pt idx="4879">
                  <c:v>1.5319940000000001E-3</c:v>
                </c:pt>
                <c:pt idx="4880">
                  <c:v>1.299814E-3</c:v>
                </c:pt>
                <c:pt idx="4881">
                  <c:v>1.190031E-3</c:v>
                </c:pt>
                <c:pt idx="4882">
                  <c:v>1.1229059999999999E-3</c:v>
                </c:pt>
                <c:pt idx="4883">
                  <c:v>2.8078499999999998E-4</c:v>
                </c:pt>
                <c:pt idx="4884">
                  <c:v>2.50268E-4</c:v>
                </c:pt>
                <c:pt idx="4885">
                  <c:v>2.38034E-4</c:v>
                </c:pt>
                <c:pt idx="4886">
                  <c:v>1.09734E-4</c:v>
                </c:pt>
                <c:pt idx="4887">
                  <c:v>0</c:v>
                </c:pt>
                <c:pt idx="4888">
                  <c:v>4.2299999999999998E-5</c:v>
                </c:pt>
                <c:pt idx="4889">
                  <c:v>1.6910499999999999E-4</c:v>
                </c:pt>
                <c:pt idx="4890">
                  <c:v>1.548523E-3</c:v>
                </c:pt>
                <c:pt idx="4891">
                  <c:v>3.4741059999999998E-3</c:v>
                </c:pt>
                <c:pt idx="4892">
                  <c:v>3.5787369999999998E-3</c:v>
                </c:pt>
                <c:pt idx="4893">
                  <c:v>3.6205170000000002E-3</c:v>
                </c:pt>
                <c:pt idx="4894">
                  <c:v>4.4779390000000002E-3</c:v>
                </c:pt>
                <c:pt idx="4895">
                  <c:v>4.6872019999999997E-3</c:v>
                </c:pt>
                <c:pt idx="4896">
                  <c:v>6.6129420000000001E-3</c:v>
                </c:pt>
                <c:pt idx="4897">
                  <c:v>7.1569729999999996E-3</c:v>
                </c:pt>
                <c:pt idx="4898">
                  <c:v>7.1778679999999996E-3</c:v>
                </c:pt>
                <c:pt idx="4899">
                  <c:v>7.5129699999999999E-3</c:v>
                </c:pt>
                <c:pt idx="4900">
                  <c:v>8.0359390000000006E-3</c:v>
                </c:pt>
                <c:pt idx="4901">
                  <c:v>8.6008639999999997E-3</c:v>
                </c:pt>
                <c:pt idx="4902">
                  <c:v>9.1240109999999996E-3</c:v>
                </c:pt>
                <c:pt idx="4903">
                  <c:v>1.0505228E-2</c:v>
                </c:pt>
                <c:pt idx="4904">
                  <c:v>1.1593289999999999E-2</c:v>
                </c:pt>
                <c:pt idx="4905">
                  <c:v>1.2765255E-2</c:v>
                </c:pt>
                <c:pt idx="4906">
                  <c:v>1.3958104000000001E-2</c:v>
                </c:pt>
                <c:pt idx="4907">
                  <c:v>1.4041684E-2</c:v>
                </c:pt>
                <c:pt idx="4908">
                  <c:v>1.4732125E-2</c:v>
                </c:pt>
                <c:pt idx="4909">
                  <c:v>1.5569312E-2</c:v>
                </c:pt>
                <c:pt idx="4910">
                  <c:v>1.7682761000000002E-2</c:v>
                </c:pt>
                <c:pt idx="4911">
                  <c:v>1.7871117999999998E-2</c:v>
                </c:pt>
                <c:pt idx="4912">
                  <c:v>1.8666201E-2</c:v>
                </c:pt>
                <c:pt idx="4913">
                  <c:v>1.9440536000000001E-2</c:v>
                </c:pt>
                <c:pt idx="4914">
                  <c:v>2.0089197999999999E-2</c:v>
                </c:pt>
                <c:pt idx="4915">
                  <c:v>2.0361302000000001E-2</c:v>
                </c:pt>
                <c:pt idx="4916">
                  <c:v>2.1512205E-2</c:v>
                </c:pt>
                <c:pt idx="4917">
                  <c:v>2.5195071999999999E-2</c:v>
                </c:pt>
                <c:pt idx="4918">
                  <c:v>2.5362545E-2</c:v>
                </c:pt>
                <c:pt idx="4919">
                  <c:v>2.5571797E-2</c:v>
                </c:pt>
                <c:pt idx="4920">
                  <c:v>2.5634639000000001E-2</c:v>
                </c:pt>
                <c:pt idx="4921">
                  <c:v>2.6764814000000001E-2</c:v>
                </c:pt>
                <c:pt idx="4922">
                  <c:v>2.7183162E-2</c:v>
                </c:pt>
                <c:pt idx="4923">
                  <c:v>2.9151340000000001E-2</c:v>
                </c:pt>
                <c:pt idx="4924">
                  <c:v>3.1118546E-2</c:v>
                </c:pt>
                <c:pt idx="4925">
                  <c:v>3.3063381000000003E-2</c:v>
                </c:pt>
                <c:pt idx="4926">
                  <c:v>3.3105160000000002E-2</c:v>
                </c:pt>
                <c:pt idx="4927">
                  <c:v>3.4067706000000003E-2</c:v>
                </c:pt>
                <c:pt idx="4928">
                  <c:v>3.4926928000000003E-2</c:v>
                </c:pt>
                <c:pt idx="4929">
                  <c:v>3.7227603999999997E-2</c:v>
                </c:pt>
                <c:pt idx="4930">
                  <c:v>3.7457907999999998E-2</c:v>
                </c:pt>
                <c:pt idx="4931">
                  <c:v>3.8504022999999998E-2</c:v>
                </c:pt>
                <c:pt idx="4932">
                  <c:v>3.9006274000000001E-2</c:v>
                </c:pt>
                <c:pt idx="4933">
                  <c:v>4.0367737000000001E-2</c:v>
                </c:pt>
                <c:pt idx="4934">
                  <c:v>4.0743153999999997E-2</c:v>
                </c:pt>
                <c:pt idx="4935">
                  <c:v>4.1414019000000003E-2</c:v>
                </c:pt>
                <c:pt idx="4936">
                  <c:v>4.1623271000000003E-2</c:v>
                </c:pt>
                <c:pt idx="4937">
                  <c:v>4.1644166000000003E-2</c:v>
                </c:pt>
                <c:pt idx="4938">
                  <c:v>4.2815963999999998E-2</c:v>
                </c:pt>
                <c:pt idx="4939">
                  <c:v>4.3381382000000003E-2</c:v>
                </c:pt>
                <c:pt idx="4940">
                  <c:v>4.4176287000000002E-2</c:v>
                </c:pt>
                <c:pt idx="4941">
                  <c:v>4.4218400999999997E-2</c:v>
                </c:pt>
                <c:pt idx="4942">
                  <c:v>4.4783002000000002E-2</c:v>
                </c:pt>
                <c:pt idx="4943">
                  <c:v>4.7629006000000002E-2</c:v>
                </c:pt>
                <c:pt idx="4944">
                  <c:v>4.9575148999999999E-2</c:v>
                </c:pt>
                <c:pt idx="4945">
                  <c:v>4.9909927999999999E-2</c:v>
                </c:pt>
                <c:pt idx="4946">
                  <c:v>5.1457478000000001E-2</c:v>
                </c:pt>
                <c:pt idx="4947">
                  <c:v>5.1667713999999997E-2</c:v>
                </c:pt>
                <c:pt idx="4948">
                  <c:v>5.3571899999999999E-2</c:v>
                </c:pt>
                <c:pt idx="4949">
                  <c:v>5.3592962000000001E-2</c:v>
                </c:pt>
                <c:pt idx="4950">
                  <c:v>5.3844004000000001E-2</c:v>
                </c:pt>
                <c:pt idx="4951">
                  <c:v>5.4764760000000003E-2</c:v>
                </c:pt>
                <c:pt idx="4952">
                  <c:v>5.6773912000000003E-2</c:v>
                </c:pt>
                <c:pt idx="4953">
                  <c:v>5.6836418999999999E-2</c:v>
                </c:pt>
                <c:pt idx="4954">
                  <c:v>5.7925307000000002E-2</c:v>
                </c:pt>
                <c:pt idx="4955">
                  <c:v>5.8112848000000002E-2</c:v>
                </c:pt>
                <c:pt idx="4956">
                  <c:v>5.8133743000000002E-2</c:v>
                </c:pt>
                <c:pt idx="4957">
                  <c:v>5.9347486999999997E-2</c:v>
                </c:pt>
                <c:pt idx="4958">
                  <c:v>5.9368706E-2</c:v>
                </c:pt>
                <c:pt idx="4959">
                  <c:v>6.2068142999999999E-2</c:v>
                </c:pt>
                <c:pt idx="4960">
                  <c:v>6.3951277000000001E-2</c:v>
                </c:pt>
                <c:pt idx="4961">
                  <c:v>6.4349064999999997E-2</c:v>
                </c:pt>
                <c:pt idx="4962">
                  <c:v>6.4767411999999996E-2</c:v>
                </c:pt>
                <c:pt idx="4963">
                  <c:v>6.7049138999999994E-2</c:v>
                </c:pt>
                <c:pt idx="4964">
                  <c:v>6.7990789999999995E-2</c:v>
                </c:pt>
                <c:pt idx="4965">
                  <c:v>6.8722539999999999E-2</c:v>
                </c:pt>
                <c:pt idx="4966">
                  <c:v>7.1902997999999996E-2</c:v>
                </c:pt>
                <c:pt idx="4967">
                  <c:v>7.2133301999999996E-2</c:v>
                </c:pt>
                <c:pt idx="4968">
                  <c:v>7.2154197000000003E-2</c:v>
                </c:pt>
                <c:pt idx="4969">
                  <c:v>7.3284215999999999E-2</c:v>
                </c:pt>
                <c:pt idx="4970">
                  <c:v>7.3451521000000006E-2</c:v>
                </c:pt>
                <c:pt idx="4971">
                  <c:v>7.4268461999999993E-2</c:v>
                </c:pt>
                <c:pt idx="4972">
                  <c:v>7.4897860999999996E-2</c:v>
                </c:pt>
                <c:pt idx="4973">
                  <c:v>7.4979148999999995E-2</c:v>
                </c:pt>
                <c:pt idx="4974">
                  <c:v>7.5021263000000005E-2</c:v>
                </c:pt>
                <c:pt idx="4975">
                  <c:v>7.5525796000000006E-2</c:v>
                </c:pt>
                <c:pt idx="4976">
                  <c:v>7.6213789000000004E-2</c:v>
                </c:pt>
                <c:pt idx="4977">
                  <c:v>7.8664631999999998E-2</c:v>
                </c:pt>
                <c:pt idx="4978">
                  <c:v>7.9081022000000001E-2</c:v>
                </c:pt>
                <c:pt idx="4979">
                  <c:v>8.1047726E-2</c:v>
                </c:pt>
                <c:pt idx="4980">
                  <c:v>8.1340882000000003E-2</c:v>
                </c:pt>
                <c:pt idx="4981">
                  <c:v>8.2910131999999997E-2</c:v>
                </c:pt>
                <c:pt idx="4982">
                  <c:v>8.2952245999999993E-2</c:v>
                </c:pt>
                <c:pt idx="4983">
                  <c:v>8.3203121000000005E-2</c:v>
                </c:pt>
                <c:pt idx="4984">
                  <c:v>8.3244911000000005E-2</c:v>
                </c:pt>
                <c:pt idx="4985">
                  <c:v>8.4605400999999997E-2</c:v>
                </c:pt>
                <c:pt idx="4986">
                  <c:v>8.6216441000000005E-2</c:v>
                </c:pt>
                <c:pt idx="4987">
                  <c:v>8.6969723999999998E-2</c:v>
                </c:pt>
                <c:pt idx="4988">
                  <c:v>8.8225258000000001E-2</c:v>
                </c:pt>
                <c:pt idx="4989">
                  <c:v>8.9439337999999993E-2</c:v>
                </c:pt>
                <c:pt idx="4990">
                  <c:v>8.9523230999999995E-2</c:v>
                </c:pt>
                <c:pt idx="4991">
                  <c:v>9.1343534000000004E-2</c:v>
                </c:pt>
                <c:pt idx="4992">
                  <c:v>9.6030893000000006E-2</c:v>
                </c:pt>
                <c:pt idx="4993">
                  <c:v>9.6700282999999998E-2</c:v>
                </c:pt>
                <c:pt idx="4994">
                  <c:v>9.8835598999999996E-2</c:v>
                </c:pt>
                <c:pt idx="4995">
                  <c:v>9.8876897000000005E-2</c:v>
                </c:pt>
                <c:pt idx="4996">
                  <c:v>9.8897468000000002E-2</c:v>
                </c:pt>
                <c:pt idx="4997">
                  <c:v>0.100091133</c:v>
                </c:pt>
                <c:pt idx="4998">
                  <c:v>0.10034217500000001</c:v>
                </c:pt>
                <c:pt idx="4999">
                  <c:v>0.101764691</c:v>
                </c:pt>
                <c:pt idx="5000">
                  <c:v>0.10302022500000001</c:v>
                </c:pt>
                <c:pt idx="5001">
                  <c:v>0.103208258</c:v>
                </c:pt>
                <c:pt idx="5002">
                  <c:v>0.103229969</c:v>
                </c:pt>
                <c:pt idx="5003">
                  <c:v>0.104129349</c:v>
                </c:pt>
                <c:pt idx="5004">
                  <c:v>0.104903527</c:v>
                </c:pt>
                <c:pt idx="5005">
                  <c:v>0.10609622</c:v>
                </c:pt>
                <c:pt idx="5006">
                  <c:v>0.1088172</c:v>
                </c:pt>
                <c:pt idx="5007">
                  <c:v>0.109005065</c:v>
                </c:pt>
                <c:pt idx="5008">
                  <c:v>0.109090434</c:v>
                </c:pt>
                <c:pt idx="5009">
                  <c:v>0.111788395</c:v>
                </c:pt>
                <c:pt idx="5010">
                  <c:v>0.111913921</c:v>
                </c:pt>
                <c:pt idx="5011">
                  <c:v>0.112562573</c:v>
                </c:pt>
                <c:pt idx="5012">
                  <c:v>0.11344204099999999</c:v>
                </c:pt>
                <c:pt idx="5013">
                  <c:v>0.11471830299999999</c:v>
                </c:pt>
                <c:pt idx="5014">
                  <c:v>0.115932048</c:v>
                </c:pt>
                <c:pt idx="5015">
                  <c:v>0.116831542</c:v>
                </c:pt>
                <c:pt idx="5016">
                  <c:v>0.11685295</c:v>
                </c:pt>
                <c:pt idx="5017">
                  <c:v>0.118129044</c:v>
                </c:pt>
                <c:pt idx="5018">
                  <c:v>0.118715587</c:v>
                </c:pt>
                <c:pt idx="5019">
                  <c:v>0.120159102</c:v>
                </c:pt>
                <c:pt idx="5020">
                  <c:v>0.122611106</c:v>
                </c:pt>
                <c:pt idx="5021">
                  <c:v>0.122711709</c:v>
                </c:pt>
                <c:pt idx="5022">
                  <c:v>0.13125004600000001</c:v>
                </c:pt>
                <c:pt idx="5023">
                  <c:v>0.131354677</c:v>
                </c:pt>
                <c:pt idx="5024">
                  <c:v>0.13233861999999999</c:v>
                </c:pt>
                <c:pt idx="5025">
                  <c:v>0.13411731099999999</c:v>
                </c:pt>
                <c:pt idx="5026">
                  <c:v>0.135686415</c:v>
                </c:pt>
                <c:pt idx="5027">
                  <c:v>0.13715121199999999</c:v>
                </c:pt>
                <c:pt idx="5028">
                  <c:v>0.137193326</c:v>
                </c:pt>
                <c:pt idx="5029">
                  <c:v>0.13746509600000001</c:v>
                </c:pt>
                <c:pt idx="5030">
                  <c:v>0.14292713500000001</c:v>
                </c:pt>
                <c:pt idx="5031">
                  <c:v>0.143136387</c:v>
                </c:pt>
                <c:pt idx="5032">
                  <c:v>0.14319922800000001</c:v>
                </c:pt>
                <c:pt idx="5033">
                  <c:v>0.143680418</c:v>
                </c:pt>
                <c:pt idx="5034">
                  <c:v>0.14805389299999999</c:v>
                </c:pt>
                <c:pt idx="5035">
                  <c:v>0.14889108000000001</c:v>
                </c:pt>
                <c:pt idx="5036">
                  <c:v>0.15066974999999999</c:v>
                </c:pt>
                <c:pt idx="5037">
                  <c:v>0.151025099</c:v>
                </c:pt>
                <c:pt idx="5038">
                  <c:v>0.15150678000000001</c:v>
                </c:pt>
                <c:pt idx="5039">
                  <c:v>0.15426904699999999</c:v>
                </c:pt>
                <c:pt idx="5040">
                  <c:v>0.15449887000000001</c:v>
                </c:pt>
                <c:pt idx="5041">
                  <c:v>0.155568495</c:v>
                </c:pt>
                <c:pt idx="5042">
                  <c:v>0.15558694200000001</c:v>
                </c:pt>
                <c:pt idx="5043">
                  <c:v>0.15562888899999999</c:v>
                </c:pt>
                <c:pt idx="5044">
                  <c:v>0.15638217200000001</c:v>
                </c:pt>
                <c:pt idx="5045">
                  <c:v>0.15665427600000001</c:v>
                </c:pt>
                <c:pt idx="5046">
                  <c:v>0.156696055</c:v>
                </c:pt>
                <c:pt idx="5047">
                  <c:v>0.158078089</c:v>
                </c:pt>
                <c:pt idx="5048">
                  <c:v>0.15864219800000001</c:v>
                </c:pt>
                <c:pt idx="5049">
                  <c:v>0.15880999600000001</c:v>
                </c:pt>
                <c:pt idx="5050">
                  <c:v>0.15924940500000001</c:v>
                </c:pt>
                <c:pt idx="5051">
                  <c:v>0.16073475200000001</c:v>
                </c:pt>
                <c:pt idx="5052">
                  <c:v>0.164250648</c:v>
                </c:pt>
                <c:pt idx="5053">
                  <c:v>0.16590428400000001</c:v>
                </c:pt>
                <c:pt idx="5054">
                  <c:v>0.16791277600000001</c:v>
                </c:pt>
                <c:pt idx="5055">
                  <c:v>0.17069545799999999</c:v>
                </c:pt>
                <c:pt idx="5056">
                  <c:v>0.17086325499999999</c:v>
                </c:pt>
                <c:pt idx="5057">
                  <c:v>0.17144923200000001</c:v>
                </c:pt>
                <c:pt idx="5058">
                  <c:v>0.17383478499999999</c:v>
                </c:pt>
                <c:pt idx="5059">
                  <c:v>0.17820826100000001</c:v>
                </c:pt>
                <c:pt idx="5060">
                  <c:v>0.18320999499999999</c:v>
                </c:pt>
                <c:pt idx="5061">
                  <c:v>0.184360406</c:v>
                </c:pt>
                <c:pt idx="5062">
                  <c:v>0.18567878199999999</c:v>
                </c:pt>
                <c:pt idx="5063">
                  <c:v>0.185783905</c:v>
                </c:pt>
                <c:pt idx="5064">
                  <c:v>0.18618151499999999</c:v>
                </c:pt>
                <c:pt idx="5065">
                  <c:v>0.186391102</c:v>
                </c:pt>
                <c:pt idx="5066">
                  <c:v>0.187059999</c:v>
                </c:pt>
                <c:pt idx="5067">
                  <c:v>0.18718552599999999</c:v>
                </c:pt>
                <c:pt idx="5068">
                  <c:v>0.18936181599999999</c:v>
                </c:pt>
                <c:pt idx="5069">
                  <c:v>0.18944555199999999</c:v>
                </c:pt>
                <c:pt idx="5070">
                  <c:v>0.189508227</c:v>
                </c:pt>
                <c:pt idx="5071">
                  <c:v>0.190847497</c:v>
                </c:pt>
                <c:pt idx="5072">
                  <c:v>0.19091033900000001</c:v>
                </c:pt>
                <c:pt idx="5073">
                  <c:v>0.19093123400000001</c:v>
                </c:pt>
                <c:pt idx="5074">
                  <c:v>0.19227050500000001</c:v>
                </c:pt>
                <c:pt idx="5075">
                  <c:v>0.19281469200000001</c:v>
                </c:pt>
                <c:pt idx="5076">
                  <c:v>0.19404917499999999</c:v>
                </c:pt>
                <c:pt idx="5077">
                  <c:v>0.19419624499999999</c:v>
                </c:pt>
                <c:pt idx="5078">
                  <c:v>0.19630985000000001</c:v>
                </c:pt>
                <c:pt idx="5079">
                  <c:v>0.196811442</c:v>
                </c:pt>
                <c:pt idx="5080">
                  <c:v>0.197063301</c:v>
                </c:pt>
                <c:pt idx="5081">
                  <c:v>0.19913496999999999</c:v>
                </c:pt>
                <c:pt idx="5082">
                  <c:v>0.19915569699999999</c:v>
                </c:pt>
                <c:pt idx="5083">
                  <c:v>0.199658106</c:v>
                </c:pt>
                <c:pt idx="5084">
                  <c:v>0.20099705200000001</c:v>
                </c:pt>
                <c:pt idx="5085">
                  <c:v>0.20110167300000001</c:v>
                </c:pt>
                <c:pt idx="5086">
                  <c:v>0.201144928</c:v>
                </c:pt>
                <c:pt idx="5087">
                  <c:v>0.202106165</c:v>
                </c:pt>
                <c:pt idx="5088">
                  <c:v>0.20551661399999999</c:v>
                </c:pt>
                <c:pt idx="5089">
                  <c:v>0.20642055500000001</c:v>
                </c:pt>
                <c:pt idx="5090">
                  <c:v>0.206793859</c:v>
                </c:pt>
                <c:pt idx="5091">
                  <c:v>0.20970237999999999</c:v>
                </c:pt>
                <c:pt idx="5092">
                  <c:v>0.20999651</c:v>
                </c:pt>
                <c:pt idx="5093">
                  <c:v>0.21003682400000001</c:v>
                </c:pt>
                <c:pt idx="5094">
                  <c:v>0.210769547</c:v>
                </c:pt>
                <c:pt idx="5095">
                  <c:v>0.212297186</c:v>
                </c:pt>
                <c:pt idx="5096">
                  <c:v>0.212319378</c:v>
                </c:pt>
                <c:pt idx="5097">
                  <c:v>0.21344939600000001</c:v>
                </c:pt>
                <c:pt idx="5098">
                  <c:v>0.216190612</c:v>
                </c:pt>
                <c:pt idx="5099">
                  <c:v>0.22192440999999999</c:v>
                </c:pt>
                <c:pt idx="5100">
                  <c:v>0.22324164599999999</c:v>
                </c:pt>
                <c:pt idx="5101">
                  <c:v>0.22361820299999999</c:v>
                </c:pt>
                <c:pt idx="5102">
                  <c:v>0.22525389500000001</c:v>
                </c:pt>
                <c:pt idx="5103">
                  <c:v>0.22556419</c:v>
                </c:pt>
                <c:pt idx="5104">
                  <c:v>0.22596181000000001</c:v>
                </c:pt>
                <c:pt idx="5105">
                  <c:v>0.228158995</c:v>
                </c:pt>
                <c:pt idx="5106">
                  <c:v>0.23027259999999999</c:v>
                </c:pt>
                <c:pt idx="5107">
                  <c:v>0.23035633699999999</c:v>
                </c:pt>
                <c:pt idx="5108">
                  <c:v>0.231010879</c:v>
                </c:pt>
                <c:pt idx="5109">
                  <c:v>0.23238735699999999</c:v>
                </c:pt>
                <c:pt idx="5110">
                  <c:v>0.233621996</c:v>
                </c:pt>
                <c:pt idx="5111">
                  <c:v>0.23383125900000001</c:v>
                </c:pt>
                <c:pt idx="5112">
                  <c:v>0.236194766</c:v>
                </c:pt>
                <c:pt idx="5113">
                  <c:v>0.23623638799999999</c:v>
                </c:pt>
                <c:pt idx="5114">
                  <c:v>0.23763964100000001</c:v>
                </c:pt>
                <c:pt idx="5115">
                  <c:v>0.23960553900000001</c:v>
                </c:pt>
                <c:pt idx="5116">
                  <c:v>0.240547346</c:v>
                </c:pt>
                <c:pt idx="5117">
                  <c:v>0.24209702</c:v>
                </c:pt>
                <c:pt idx="5118">
                  <c:v>0.24328873000000001</c:v>
                </c:pt>
                <c:pt idx="5119">
                  <c:v>0.24341522900000001</c:v>
                </c:pt>
                <c:pt idx="5120">
                  <c:v>0.24450345800000001</c:v>
                </c:pt>
                <c:pt idx="5121">
                  <c:v>0.246741449</c:v>
                </c:pt>
                <c:pt idx="5122">
                  <c:v>0.24728548</c:v>
                </c:pt>
                <c:pt idx="5123">
                  <c:v>0.24766318800000001</c:v>
                </c:pt>
                <c:pt idx="5124">
                  <c:v>0.24887742500000001</c:v>
                </c:pt>
                <c:pt idx="5125">
                  <c:v>0.25086534700000002</c:v>
                </c:pt>
                <c:pt idx="5126">
                  <c:v>0.252099505</c:v>
                </c:pt>
                <c:pt idx="5127">
                  <c:v>0.25241240500000001</c:v>
                </c:pt>
                <c:pt idx="5128">
                  <c:v>0.25276921899999999</c:v>
                </c:pt>
                <c:pt idx="5129">
                  <c:v>0.252832061</c:v>
                </c:pt>
                <c:pt idx="5130">
                  <c:v>0.253731765</c:v>
                </c:pt>
                <c:pt idx="5131">
                  <c:v>0.25423434099999997</c:v>
                </c:pt>
                <c:pt idx="5132">
                  <c:v>0.25437944299999998</c:v>
                </c:pt>
                <c:pt idx="5133">
                  <c:v>0.25488169500000002</c:v>
                </c:pt>
                <c:pt idx="5134">
                  <c:v>0.256075528</c:v>
                </c:pt>
                <c:pt idx="5135">
                  <c:v>0.25640932300000002</c:v>
                </c:pt>
                <c:pt idx="5136">
                  <c:v>0.256431191</c:v>
                </c:pt>
                <c:pt idx="5137">
                  <c:v>0.25720553600000001</c:v>
                </c:pt>
                <c:pt idx="5138">
                  <c:v>0.25850383300000002</c:v>
                </c:pt>
                <c:pt idx="5139">
                  <c:v>0.25975936799999999</c:v>
                </c:pt>
                <c:pt idx="5140">
                  <c:v>0.26005138300000002</c:v>
                </c:pt>
                <c:pt idx="5141">
                  <c:v>0.26019796099999998</c:v>
                </c:pt>
                <c:pt idx="5142">
                  <c:v>0.26367190000000001</c:v>
                </c:pt>
                <c:pt idx="5143">
                  <c:v>0.28358662400000001</c:v>
                </c:pt>
                <c:pt idx="5144">
                  <c:v>0.28981199899999999</c:v>
                </c:pt>
                <c:pt idx="5145">
                  <c:v>0.31783163199999998</c:v>
                </c:pt>
                <c:pt idx="5146">
                  <c:v>0.31908424000000002</c:v>
                </c:pt>
                <c:pt idx="5147">
                  <c:v>0.40000103599999998</c:v>
                </c:pt>
                <c:pt idx="5148">
                  <c:v>0.43363405999999999</c:v>
                </c:pt>
                <c:pt idx="5149">
                  <c:v>0.47347315800000001</c:v>
                </c:pt>
                <c:pt idx="5150">
                  <c:v>0.503969369</c:v>
                </c:pt>
                <c:pt idx="5151">
                  <c:v>0.56435945600000004</c:v>
                </c:pt>
                <c:pt idx="5152">
                  <c:v>0.57744180099999998</c:v>
                </c:pt>
                <c:pt idx="5153">
                  <c:v>0.60172695700000001</c:v>
                </c:pt>
                <c:pt idx="5154">
                  <c:v>0.63534067999999999</c:v>
                </c:pt>
                <c:pt idx="5155">
                  <c:v>0.65400715399999998</c:v>
                </c:pt>
                <c:pt idx="5156">
                  <c:v>0.65837758599999996</c:v>
                </c:pt>
                <c:pt idx="5157">
                  <c:v>0.73621080000000005</c:v>
                </c:pt>
                <c:pt idx="5158">
                  <c:v>0.76233159900000003</c:v>
                </c:pt>
                <c:pt idx="5159">
                  <c:v>0.825212583</c:v>
                </c:pt>
                <c:pt idx="5160">
                  <c:v>0.90740159899999995</c:v>
                </c:pt>
                <c:pt idx="5161">
                  <c:v>0.93231336899999995</c:v>
                </c:pt>
                <c:pt idx="5162">
                  <c:v>0.95159182799999997</c:v>
                </c:pt>
                <c:pt idx="5163">
                  <c:v>0.97026826399999999</c:v>
                </c:pt>
                <c:pt idx="5164">
                  <c:v>1.0119769350000001</c:v>
                </c:pt>
                <c:pt idx="5165">
                  <c:v>1.026297569</c:v>
                </c:pt>
                <c:pt idx="5166">
                  <c:v>1.06240717</c:v>
                </c:pt>
                <c:pt idx="5167">
                  <c:v>1.0692688100000001</c:v>
                </c:pt>
                <c:pt idx="5168">
                  <c:v>1.0841964479999999</c:v>
                </c:pt>
                <c:pt idx="5169">
                  <c:v>1.0848327129999999</c:v>
                </c:pt>
                <c:pt idx="5170">
                  <c:v>1.0854493679999999</c:v>
                </c:pt>
                <c:pt idx="5171">
                  <c:v>1.086061041</c:v>
                </c:pt>
                <c:pt idx="5172">
                  <c:v>1.087309291</c:v>
                </c:pt>
                <c:pt idx="5173">
                  <c:v>1.091116298</c:v>
                </c:pt>
                <c:pt idx="5174">
                  <c:v>1.093534666</c:v>
                </c:pt>
                <c:pt idx="5175">
                  <c:v>1.1134640200000001</c:v>
                </c:pt>
                <c:pt idx="5176">
                  <c:v>1.1147023089999999</c:v>
                </c:pt>
                <c:pt idx="5177">
                  <c:v>1.1333787449999999</c:v>
                </c:pt>
                <c:pt idx="5178">
                  <c:v>1.2068412159999999</c:v>
                </c:pt>
                <c:pt idx="5179">
                  <c:v>1.2429461479999999</c:v>
                </c:pt>
                <c:pt idx="5180">
                  <c:v>1.287772331</c:v>
                </c:pt>
                <c:pt idx="5181">
                  <c:v>1.338824201</c:v>
                </c:pt>
                <c:pt idx="5182">
                  <c:v>1.3705733309999999</c:v>
                </c:pt>
                <c:pt idx="5183">
                  <c:v>1.384277</c:v>
                </c:pt>
                <c:pt idx="5184">
                  <c:v>1.84267526</c:v>
                </c:pt>
                <c:pt idx="5185">
                  <c:v>2.044271111</c:v>
                </c:pt>
                <c:pt idx="5186">
                  <c:v>2.7503860549999999</c:v>
                </c:pt>
                <c:pt idx="5187">
                  <c:v>3.3186244180000002</c:v>
                </c:pt>
                <c:pt idx="5188">
                  <c:v>4.208099582</c:v>
                </c:pt>
                <c:pt idx="5189">
                  <c:v>4.4466663620000002</c:v>
                </c:pt>
                <c:pt idx="5190">
                  <c:v>4.4741985880000001</c:v>
                </c:pt>
                <c:pt idx="5191">
                  <c:v>5.3814097140000001</c:v>
                </c:pt>
                <c:pt idx="5192">
                  <c:v>5.5190020789999998</c:v>
                </c:pt>
                <c:pt idx="5193">
                  <c:v>5.5648386969999999</c:v>
                </c:pt>
                <c:pt idx="5194">
                  <c:v>6.0419034939999996</c:v>
                </c:pt>
                <c:pt idx="5195">
                  <c:v>6.7109741630000004</c:v>
                </c:pt>
                <c:pt idx="5196">
                  <c:v>7.3620980019999998</c:v>
                </c:pt>
                <c:pt idx="5197">
                  <c:v>7.6459329670000002</c:v>
                </c:pt>
                <c:pt idx="5198">
                  <c:v>7.9485032330000003</c:v>
                </c:pt>
                <c:pt idx="5199">
                  <c:v>9.6630925160000007</c:v>
                </c:pt>
                <c:pt idx="5200">
                  <c:v>9.7639981680000005</c:v>
                </c:pt>
                <c:pt idx="5201">
                  <c:v>9.9291915209999999</c:v>
                </c:pt>
                <c:pt idx="5202">
                  <c:v>9.9379884470000004</c:v>
                </c:pt>
                <c:pt idx="5203">
                  <c:v>9.9473538050000005</c:v>
                </c:pt>
                <c:pt idx="5204">
                  <c:v>9.9564395309999991</c:v>
                </c:pt>
                <c:pt idx="5205">
                  <c:v>9.9659469959999996</c:v>
                </c:pt>
                <c:pt idx="5206">
                  <c:v>9.975032723</c:v>
                </c:pt>
                <c:pt idx="5207">
                  <c:v>9.9839717570000008</c:v>
                </c:pt>
                <c:pt idx="5208">
                  <c:v>10.002491600000001</c:v>
                </c:pt>
                <c:pt idx="5209">
                  <c:v>10.011503980000001</c:v>
                </c:pt>
                <c:pt idx="5210">
                  <c:v>10.030097169999999</c:v>
                </c:pt>
                <c:pt idx="5211">
                  <c:v>10.039036210000001</c:v>
                </c:pt>
                <c:pt idx="5212">
                  <c:v>10.04811735</c:v>
                </c:pt>
                <c:pt idx="5213">
                  <c:v>10.0576294</c:v>
                </c:pt>
                <c:pt idx="5214">
                  <c:v>10.075649569999999</c:v>
                </c:pt>
                <c:pt idx="5215">
                  <c:v>10.09395855</c:v>
                </c:pt>
                <c:pt idx="5216">
                  <c:v>10.103466020000001</c:v>
                </c:pt>
                <c:pt idx="5217">
                  <c:v>10.140083969999999</c:v>
                </c:pt>
                <c:pt idx="5218">
                  <c:v>10.158030800000001</c:v>
                </c:pt>
                <c:pt idx="5219">
                  <c:v>10.16761619</c:v>
                </c:pt>
                <c:pt idx="5220">
                  <c:v>10.17655523</c:v>
                </c:pt>
                <c:pt idx="5221">
                  <c:v>10.24098504</c:v>
                </c:pt>
                <c:pt idx="5222">
                  <c:v>10.25007076</c:v>
                </c:pt>
                <c:pt idx="5223">
                  <c:v>10.259009799999999</c:v>
                </c:pt>
                <c:pt idx="5224">
                  <c:v>10.268375150000001</c:v>
                </c:pt>
                <c:pt idx="5225">
                  <c:v>10.27002085</c:v>
                </c:pt>
                <c:pt idx="5226">
                  <c:v>10.27760299</c:v>
                </c:pt>
                <c:pt idx="5227">
                  <c:v>10.286542020000001</c:v>
                </c:pt>
                <c:pt idx="5228">
                  <c:v>10.29554982</c:v>
                </c:pt>
                <c:pt idx="5229">
                  <c:v>10.30513521</c:v>
                </c:pt>
                <c:pt idx="5230">
                  <c:v>10.314074250000001</c:v>
                </c:pt>
                <c:pt idx="5231">
                  <c:v>10.32315539</c:v>
                </c:pt>
                <c:pt idx="5232">
                  <c:v>10.33266744</c:v>
                </c:pt>
                <c:pt idx="5233">
                  <c:v>10.341748580000001</c:v>
                </c:pt>
                <c:pt idx="5234">
                  <c:v>10.350760960000001</c:v>
                </c:pt>
                <c:pt idx="5235">
                  <c:v>10.37850405</c:v>
                </c:pt>
                <c:pt idx="5236">
                  <c:v>10.387589780000001</c:v>
                </c:pt>
                <c:pt idx="5237">
                  <c:v>10.39652882</c:v>
                </c:pt>
                <c:pt idx="5238">
                  <c:v>10.407539870000001</c:v>
                </c:pt>
                <c:pt idx="5239">
                  <c:v>10.42406104</c:v>
                </c:pt>
                <c:pt idx="5240">
                  <c:v>10.433068840000001</c:v>
                </c:pt>
                <c:pt idx="5241">
                  <c:v>10.506584370000001</c:v>
                </c:pt>
                <c:pt idx="5242">
                  <c:v>10.5251088</c:v>
                </c:pt>
                <c:pt idx="5243">
                  <c:v>10.534116600000001</c:v>
                </c:pt>
                <c:pt idx="5244">
                  <c:v>10.54505889</c:v>
                </c:pt>
                <c:pt idx="5245">
                  <c:v>10.60770548</c:v>
                </c:pt>
                <c:pt idx="5246">
                  <c:v>10.682577909999999</c:v>
                </c:pt>
                <c:pt idx="5247">
                  <c:v>10.70824898</c:v>
                </c:pt>
                <c:pt idx="5248">
                  <c:v>10.72663131</c:v>
                </c:pt>
                <c:pt idx="5249">
                  <c:v>10.74479359</c:v>
                </c:pt>
                <c:pt idx="5250">
                  <c:v>10.809154639999999</c:v>
                </c:pt>
                <c:pt idx="5251">
                  <c:v>10.82009693</c:v>
                </c:pt>
                <c:pt idx="5252">
                  <c:v>10.87330023</c:v>
                </c:pt>
                <c:pt idx="5253">
                  <c:v>10.88231261</c:v>
                </c:pt>
                <c:pt idx="5254">
                  <c:v>10.891824659999999</c:v>
                </c:pt>
                <c:pt idx="5255">
                  <c:v>10.900837040000001</c:v>
                </c:pt>
                <c:pt idx="5256">
                  <c:v>10.90998694</c:v>
                </c:pt>
                <c:pt idx="5257">
                  <c:v>10.91914143</c:v>
                </c:pt>
                <c:pt idx="5258">
                  <c:v>10.92815381</c:v>
                </c:pt>
                <c:pt idx="5259">
                  <c:v>10.957615949999999</c:v>
                </c:pt>
                <c:pt idx="5260">
                  <c:v>11.00166935</c:v>
                </c:pt>
                <c:pt idx="5261">
                  <c:v>11.047505960000001</c:v>
                </c:pt>
                <c:pt idx="5262">
                  <c:v>11.056660450000001</c:v>
                </c:pt>
                <c:pt idx="5263">
                  <c:v>11.066603410000001</c:v>
                </c:pt>
                <c:pt idx="5264">
                  <c:v>11.09356262</c:v>
                </c:pt>
                <c:pt idx="5265">
                  <c:v>11.09513497</c:v>
                </c:pt>
                <c:pt idx="5266">
                  <c:v>11.10271711</c:v>
                </c:pt>
                <c:pt idx="5267">
                  <c:v>11.121163599999999</c:v>
                </c:pt>
                <c:pt idx="5268">
                  <c:v>11.139257130000001</c:v>
                </c:pt>
                <c:pt idx="5269">
                  <c:v>11.175870489999999</c:v>
                </c:pt>
                <c:pt idx="5270">
                  <c:v>11.231081639999999</c:v>
                </c:pt>
                <c:pt idx="5271">
                  <c:v>11.232653989999999</c:v>
                </c:pt>
                <c:pt idx="5272">
                  <c:v>11.24023613</c:v>
                </c:pt>
                <c:pt idx="5273">
                  <c:v>11.24924392</c:v>
                </c:pt>
                <c:pt idx="5274">
                  <c:v>11.267768350000001</c:v>
                </c:pt>
                <c:pt idx="5275">
                  <c:v>11.27670738</c:v>
                </c:pt>
                <c:pt idx="5276">
                  <c:v>11.285857289999999</c:v>
                </c:pt>
                <c:pt idx="5277">
                  <c:v>11.295369340000001</c:v>
                </c:pt>
                <c:pt idx="5278">
                  <c:v>11.30438172</c:v>
                </c:pt>
                <c:pt idx="5279">
                  <c:v>11.31338951</c:v>
                </c:pt>
                <c:pt idx="5280">
                  <c:v>11.322544000000001</c:v>
                </c:pt>
                <c:pt idx="5281">
                  <c:v>11.331698490000001</c:v>
                </c:pt>
                <c:pt idx="5282">
                  <c:v>11.359230719999999</c:v>
                </c:pt>
                <c:pt idx="5283">
                  <c:v>11.36860066</c:v>
                </c:pt>
                <c:pt idx="5284">
                  <c:v>11.37017301</c:v>
                </c:pt>
                <c:pt idx="5285">
                  <c:v>11.4142264</c:v>
                </c:pt>
                <c:pt idx="5286">
                  <c:v>11.42337631</c:v>
                </c:pt>
                <c:pt idx="5287">
                  <c:v>11.49682308</c:v>
                </c:pt>
                <c:pt idx="5288">
                  <c:v>11.506119679999999</c:v>
                </c:pt>
                <c:pt idx="5289">
                  <c:v>11.515274160000001</c:v>
                </c:pt>
                <c:pt idx="5290">
                  <c:v>11.5242132</c:v>
                </c:pt>
                <c:pt idx="5291">
                  <c:v>11.560895329999999</c:v>
                </c:pt>
                <c:pt idx="5292">
                  <c:v>11.57941976</c:v>
                </c:pt>
                <c:pt idx="5293">
                  <c:v>11.58842755</c:v>
                </c:pt>
                <c:pt idx="5294">
                  <c:v>11.65279318</c:v>
                </c:pt>
                <c:pt idx="5295">
                  <c:v>11.661732219999999</c:v>
                </c:pt>
                <c:pt idx="5296">
                  <c:v>11.68032541</c:v>
                </c:pt>
                <c:pt idx="5297">
                  <c:v>11.689264440000001</c:v>
                </c:pt>
                <c:pt idx="5298">
                  <c:v>11.69841435</c:v>
                </c:pt>
                <c:pt idx="5299">
                  <c:v>11.7079264</c:v>
                </c:pt>
                <c:pt idx="5300">
                  <c:v>11.72594657</c:v>
                </c:pt>
                <c:pt idx="5301">
                  <c:v>11.74425555</c:v>
                </c:pt>
                <c:pt idx="5302">
                  <c:v>11.78115772</c:v>
                </c:pt>
                <c:pt idx="5303">
                  <c:v>11.790312200000001</c:v>
                </c:pt>
                <c:pt idx="5304">
                  <c:v>11.79932</c:v>
                </c:pt>
                <c:pt idx="5305">
                  <c:v>15.635522630000001</c:v>
                </c:pt>
                <c:pt idx="5306">
                  <c:v>23.400880000000001</c:v>
                </c:pt>
                <c:pt idx="5307">
                  <c:v>35.272350840000001</c:v>
                </c:pt>
                <c:pt idx="5308">
                  <c:v>37.019178439999997</c:v>
                </c:pt>
                <c:pt idx="5309">
                  <c:v>42.101861280000001</c:v>
                </c:pt>
                <c:pt idx="5310">
                  <c:v>45.449594079999997</c:v>
                </c:pt>
                <c:pt idx="5311">
                  <c:v>47.197270000000003</c:v>
                </c:pt>
                <c:pt idx="5312">
                  <c:v>51.120402839999997</c:v>
                </c:pt>
                <c:pt idx="5313">
                  <c:v>55.075479350000002</c:v>
                </c:pt>
                <c:pt idx="5314">
                  <c:v>59.0625</c:v>
                </c:pt>
                <c:pt idx="5315">
                  <c:v>60.536301420000001</c:v>
                </c:pt>
                <c:pt idx="5316">
                  <c:v>61.943534700000001</c:v>
                </c:pt>
                <c:pt idx="5317">
                  <c:v>71.982420000000005</c:v>
                </c:pt>
                <c:pt idx="5318">
                  <c:v>75.532358410000001</c:v>
                </c:pt>
                <c:pt idx="5319">
                  <c:v>86.493475509999996</c:v>
                </c:pt>
                <c:pt idx="5320">
                  <c:v>93.735349999999997</c:v>
                </c:pt>
                <c:pt idx="5321">
                  <c:v>94.262730079999997</c:v>
                </c:pt>
                <c:pt idx="5322">
                  <c:v>94.76628977</c:v>
                </c:pt>
                <c:pt idx="5323">
                  <c:v>95.277789580000004</c:v>
                </c:pt>
                <c:pt idx="5324">
                  <c:v>95.785191249999997</c:v>
                </c:pt>
                <c:pt idx="5325">
                  <c:v>97.323532740000005</c:v>
                </c:pt>
                <c:pt idx="5326">
                  <c:v>97.847070900000006</c:v>
                </c:pt>
                <c:pt idx="5327">
                  <c:v>98.358570720000003</c:v>
                </c:pt>
                <c:pt idx="5328">
                  <c:v>99.896912209999996</c:v>
                </c:pt>
                <c:pt idx="5329">
                  <c:v>100.90761740000001</c:v>
                </c:pt>
                <c:pt idx="5330">
                  <c:v>101.94265540000001</c:v>
                </c:pt>
                <c:pt idx="5331">
                  <c:v>103.4689585</c:v>
                </c:pt>
                <c:pt idx="5332">
                  <c:v>105.0073</c:v>
                </c:pt>
                <c:pt idx="5333">
                  <c:v>105.67227250000001</c:v>
                </c:pt>
                <c:pt idx="5334">
                  <c:v>105.78386039999999</c:v>
                </c:pt>
                <c:pt idx="5335">
                  <c:v>108.2758807</c:v>
                </c:pt>
                <c:pt idx="5336">
                  <c:v>108.9151523</c:v>
                </c:pt>
                <c:pt idx="5337">
                  <c:v>109.5596291</c:v>
                </c:pt>
                <c:pt idx="5338">
                  <c:v>110.23468680000001</c:v>
                </c:pt>
                <c:pt idx="5339">
                  <c:v>110.8742836</c:v>
                </c:pt>
                <c:pt idx="5340">
                  <c:v>115.4318179</c:v>
                </c:pt>
                <c:pt idx="5341">
                  <c:v>115.5434058</c:v>
                </c:pt>
                <c:pt idx="5342">
                  <c:v>116.08150000000001</c:v>
                </c:pt>
                <c:pt idx="5343">
                  <c:v>116.85728</c:v>
                </c:pt>
                <c:pt idx="5344">
                  <c:v>120.04076259999999</c:v>
                </c:pt>
                <c:pt idx="5345">
                  <c:v>120.866272</c:v>
                </c:pt>
                <c:pt idx="5346">
                  <c:v>121.6543849</c:v>
                </c:pt>
                <c:pt idx="5347">
                  <c:v>122.4301648</c:v>
                </c:pt>
                <c:pt idx="5348">
                  <c:v>124.8446306</c:v>
                </c:pt>
                <c:pt idx="5349">
                  <c:v>125.6327436</c:v>
                </c:pt>
                <c:pt idx="5350">
                  <c:v>126.40852340000001</c:v>
                </c:pt>
                <c:pt idx="5351">
                  <c:v>127.2217</c:v>
                </c:pt>
                <c:pt idx="5352">
                  <c:v>127.1923857</c:v>
                </c:pt>
                <c:pt idx="5353">
                  <c:v>127.0581787</c:v>
                </c:pt>
                <c:pt idx="5354">
                  <c:v>126.898506</c:v>
                </c:pt>
                <c:pt idx="5355">
                  <c:v>126.7362949</c:v>
                </c:pt>
                <c:pt idx="5356">
                  <c:v>126.5663867</c:v>
                </c:pt>
                <c:pt idx="5357">
                  <c:v>126.40548579999999</c:v>
                </c:pt>
                <c:pt idx="5358">
                  <c:v>126.24327460000001</c:v>
                </c:pt>
                <c:pt idx="5359">
                  <c:v>126.07336650000001</c:v>
                </c:pt>
                <c:pt idx="5360">
                  <c:v>125.9111554</c:v>
                </c:pt>
                <c:pt idx="5361">
                  <c:v>125.7514826</c:v>
                </c:pt>
                <c:pt idx="5362">
                  <c:v>125.58665120000001</c:v>
                </c:pt>
                <c:pt idx="5363">
                  <c:v>125.4244401</c:v>
                </c:pt>
                <c:pt idx="5364">
                  <c:v>125.2545319</c:v>
                </c:pt>
                <c:pt idx="5365">
                  <c:v>125.0923208</c:v>
                </c:pt>
                <c:pt idx="5366">
                  <c:v>124.93264809999999</c:v>
                </c:pt>
                <c:pt idx="5367">
                  <c:v>124.76527830000001</c:v>
                </c:pt>
                <c:pt idx="5368">
                  <c:v>124.7371923</c:v>
                </c:pt>
                <c:pt idx="5369">
                  <c:v>124.601839</c:v>
                </c:pt>
                <c:pt idx="5370">
                  <c:v>124.4420843</c:v>
                </c:pt>
                <c:pt idx="5371">
                  <c:v>124.27225799999999</c:v>
                </c:pt>
                <c:pt idx="5372">
                  <c:v>124.1099651</c:v>
                </c:pt>
                <c:pt idx="5373">
                  <c:v>123.9490641</c:v>
                </c:pt>
                <c:pt idx="5374">
                  <c:v>123.7868529</c:v>
                </c:pt>
                <c:pt idx="5375">
                  <c:v>123.6169448</c:v>
                </c:pt>
                <c:pt idx="5376">
                  <c:v>123.45473370000001</c:v>
                </c:pt>
                <c:pt idx="5377">
                  <c:v>123.2950609</c:v>
                </c:pt>
                <c:pt idx="5378">
                  <c:v>123.1302295</c:v>
                </c:pt>
                <c:pt idx="5379">
                  <c:v>122.96801840000001</c:v>
                </c:pt>
                <c:pt idx="5380">
                  <c:v>122.7981103</c:v>
                </c:pt>
                <c:pt idx="5381">
                  <c:v>122.6358991</c:v>
                </c:pt>
                <c:pt idx="5382">
                  <c:v>122.4762264</c:v>
                </c:pt>
                <c:pt idx="5383">
                  <c:v>122.3088566</c:v>
                </c:pt>
                <c:pt idx="5384">
                  <c:v>122.2795424</c:v>
                </c:pt>
                <c:pt idx="5385">
                  <c:v>122.14541730000001</c:v>
                </c:pt>
                <c:pt idx="5386">
                  <c:v>121.80813929999999</c:v>
                </c:pt>
                <c:pt idx="5387">
                  <c:v>121.6535434</c:v>
                </c:pt>
                <c:pt idx="5388">
                  <c:v>121.49264239999999</c:v>
                </c:pt>
                <c:pt idx="5389">
                  <c:v>121.3304313</c:v>
                </c:pt>
                <c:pt idx="5390">
                  <c:v>121.16052310000001</c:v>
                </c:pt>
                <c:pt idx="5391">
                  <c:v>120.998312</c:v>
                </c:pt>
                <c:pt idx="5392">
                  <c:v>120.8386393</c:v>
                </c:pt>
                <c:pt idx="5393">
                  <c:v>120.6738079</c:v>
                </c:pt>
                <c:pt idx="5394">
                  <c:v>120.5115967</c:v>
                </c:pt>
                <c:pt idx="5395">
                  <c:v>120.3416886</c:v>
                </c:pt>
                <c:pt idx="5396">
                  <c:v>120.1794774</c:v>
                </c:pt>
                <c:pt idx="5397">
                  <c:v>120.01980469999999</c:v>
                </c:pt>
                <c:pt idx="5398">
                  <c:v>119.85243490000001</c:v>
                </c:pt>
                <c:pt idx="5399">
                  <c:v>119.8231207</c:v>
                </c:pt>
                <c:pt idx="5400">
                  <c:v>119.6889956</c:v>
                </c:pt>
                <c:pt idx="5401">
                  <c:v>119.5280127</c:v>
                </c:pt>
                <c:pt idx="5402">
                  <c:v>119.3504075</c:v>
                </c:pt>
                <c:pt idx="5403">
                  <c:v>119.1971217</c:v>
                </c:pt>
                <c:pt idx="5404">
                  <c:v>119.0362207</c:v>
                </c:pt>
                <c:pt idx="5405">
                  <c:v>118.87400959999999</c:v>
                </c:pt>
                <c:pt idx="5406">
                  <c:v>118.7041014</c:v>
                </c:pt>
                <c:pt idx="5407">
                  <c:v>118.54189030000001</c:v>
                </c:pt>
                <c:pt idx="5408">
                  <c:v>118.3822176</c:v>
                </c:pt>
                <c:pt idx="5409">
                  <c:v>118.21738620000001</c:v>
                </c:pt>
                <c:pt idx="5410">
                  <c:v>118.0551751</c:v>
                </c:pt>
                <c:pt idx="5411">
                  <c:v>117.8852669</c:v>
                </c:pt>
                <c:pt idx="5412">
                  <c:v>117.7230558</c:v>
                </c:pt>
                <c:pt idx="5413">
                  <c:v>117.563383</c:v>
                </c:pt>
                <c:pt idx="5414">
                  <c:v>117.39601330000001</c:v>
                </c:pt>
                <c:pt idx="5415">
                  <c:v>117.366699</c:v>
                </c:pt>
                <c:pt idx="5416">
                  <c:v>117.23257390000001</c:v>
                </c:pt>
                <c:pt idx="5417">
                  <c:v>117.071591</c:v>
                </c:pt>
                <c:pt idx="5418">
                  <c:v>116.8939858</c:v>
                </c:pt>
                <c:pt idx="5419">
                  <c:v>116.7407</c:v>
                </c:pt>
                <c:pt idx="5420">
                  <c:v>116.43688880000001</c:v>
                </c:pt>
                <c:pt idx="5421">
                  <c:v>116.1306039</c:v>
                </c:pt>
                <c:pt idx="5422">
                  <c:v>115.8097856</c:v>
                </c:pt>
                <c:pt idx="5423">
                  <c:v>115.5058198</c:v>
                </c:pt>
                <c:pt idx="5424">
                  <c:v>115.5035007</c:v>
                </c:pt>
                <c:pt idx="5425">
                  <c:v>115.20200869999999</c:v>
                </c:pt>
                <c:pt idx="5426">
                  <c:v>114.8907762</c:v>
                </c:pt>
                <c:pt idx="5427">
                  <c:v>114.5844913</c:v>
                </c:pt>
                <c:pt idx="5428">
                  <c:v>114.2636729</c:v>
                </c:pt>
                <c:pt idx="5429">
                  <c:v>113.95738799999999</c:v>
                </c:pt>
                <c:pt idx="5430">
                  <c:v>113.65589610000001</c:v>
                </c:pt>
                <c:pt idx="5431">
                  <c:v>113.3398706</c:v>
                </c:pt>
                <c:pt idx="5432">
                  <c:v>113.2845198</c:v>
                </c:pt>
                <c:pt idx="5433">
                  <c:v>113.0312666</c:v>
                </c:pt>
                <c:pt idx="5434">
                  <c:v>112.72730079999999</c:v>
                </c:pt>
                <c:pt idx="5435">
                  <c:v>112.3921036</c:v>
                </c:pt>
                <c:pt idx="5436">
                  <c:v>112.1025167</c:v>
                </c:pt>
                <c:pt idx="5437">
                  <c:v>112.10019749999999</c:v>
                </c:pt>
                <c:pt idx="5438">
                  <c:v>111.79870560000001</c:v>
                </c:pt>
                <c:pt idx="5439">
                  <c:v>111.4924206</c:v>
                </c:pt>
                <c:pt idx="5440">
                  <c:v>111.1691285</c:v>
                </c:pt>
                <c:pt idx="5441">
                  <c:v>111.1570688</c:v>
                </c:pt>
                <c:pt idx="5442">
                  <c:v>110.8653174</c:v>
                </c:pt>
                <c:pt idx="5443">
                  <c:v>110.56135159999999</c:v>
                </c:pt>
                <c:pt idx="5444">
                  <c:v>110.252593</c:v>
                </c:pt>
                <c:pt idx="5445">
                  <c:v>109.946308</c:v>
                </c:pt>
                <c:pt idx="5446">
                  <c:v>109.62548959999999</c:v>
                </c:pt>
                <c:pt idx="5447">
                  <c:v>109.3216785</c:v>
                </c:pt>
                <c:pt idx="5448">
                  <c:v>109.3192047</c:v>
                </c:pt>
                <c:pt idx="5449">
                  <c:v>109.0177128</c:v>
                </c:pt>
                <c:pt idx="5450">
                  <c:v>108.7016873</c:v>
                </c:pt>
                <c:pt idx="5451">
                  <c:v>108.3930833</c:v>
                </c:pt>
                <c:pt idx="5452">
                  <c:v>108.0891175</c:v>
                </c:pt>
                <c:pt idx="5453">
                  <c:v>107.7682992</c:v>
                </c:pt>
                <c:pt idx="5454">
                  <c:v>107.7514465</c:v>
                </c:pt>
                <c:pt idx="5455">
                  <c:v>107.464488</c:v>
                </c:pt>
                <c:pt idx="5456">
                  <c:v>107.1605223</c:v>
                </c:pt>
                <c:pt idx="5457">
                  <c:v>106.8542374</c:v>
                </c:pt>
                <c:pt idx="5458">
                  <c:v>106.53341899999999</c:v>
                </c:pt>
                <c:pt idx="5459">
                  <c:v>106.22945319999999</c:v>
                </c:pt>
                <c:pt idx="5460">
                  <c:v>106.2271341</c:v>
                </c:pt>
                <c:pt idx="5461">
                  <c:v>105.9256421</c:v>
                </c:pt>
                <c:pt idx="5462">
                  <c:v>105.6144097</c:v>
                </c:pt>
                <c:pt idx="5463">
                  <c:v>105.3081248</c:v>
                </c:pt>
                <c:pt idx="5464">
                  <c:v>104.98730639999999</c:v>
                </c:pt>
                <c:pt idx="5465">
                  <c:v>104.6810215</c:v>
                </c:pt>
                <c:pt idx="5466">
                  <c:v>104.3795295</c:v>
                </c:pt>
                <c:pt idx="5467">
                  <c:v>104.0635041</c:v>
                </c:pt>
                <c:pt idx="5468">
                  <c:v>104.0081533</c:v>
                </c:pt>
                <c:pt idx="5469">
                  <c:v>103.75490000000001</c:v>
                </c:pt>
                <c:pt idx="5470">
                  <c:v>103.10654049999999</c:v>
                </c:pt>
                <c:pt idx="5471">
                  <c:v>102.42223420000001</c:v>
                </c:pt>
                <c:pt idx="5472">
                  <c:v>102.3915642</c:v>
                </c:pt>
                <c:pt idx="5473">
                  <c:v>101.7742045</c:v>
                </c:pt>
                <c:pt idx="5474">
                  <c:v>101.768928</c:v>
                </c:pt>
                <c:pt idx="5475">
                  <c:v>101.125845</c:v>
                </c:pt>
                <c:pt idx="5476">
                  <c:v>100.4725387</c:v>
                </c:pt>
                <c:pt idx="5477">
                  <c:v>99.788232500000007</c:v>
                </c:pt>
                <c:pt idx="5478">
                  <c:v>99.134926210000003</c:v>
                </c:pt>
                <c:pt idx="5479">
                  <c:v>98.491843259999996</c:v>
                </c:pt>
                <c:pt idx="5480">
                  <c:v>97.827983790000005</c:v>
                </c:pt>
                <c:pt idx="5481">
                  <c:v>97.174677500000001</c:v>
                </c:pt>
                <c:pt idx="5482">
                  <c:v>96.490371289999999</c:v>
                </c:pt>
                <c:pt idx="5483">
                  <c:v>95.842341590000004</c:v>
                </c:pt>
                <c:pt idx="5484">
                  <c:v>95.837064999999996</c:v>
                </c:pt>
                <c:pt idx="5485">
                  <c:v>95.193982050000002</c:v>
                </c:pt>
                <c:pt idx="5486">
                  <c:v>94.51495242</c:v>
                </c:pt>
                <c:pt idx="5487">
                  <c:v>94.468452560000003</c:v>
                </c:pt>
                <c:pt idx="5488">
                  <c:v>93.856369540000003</c:v>
                </c:pt>
                <c:pt idx="5489">
                  <c:v>93.208010000000002</c:v>
                </c:pt>
                <c:pt idx="5490">
                  <c:v>86.272422700000007</c:v>
                </c:pt>
                <c:pt idx="5491">
                  <c:v>82.924800000000005</c:v>
                </c:pt>
                <c:pt idx="5492">
                  <c:v>71.041016999999997</c:v>
                </c:pt>
                <c:pt idx="5493">
                  <c:v>62.011008330000003</c:v>
                </c:pt>
                <c:pt idx="5494">
                  <c:v>59.06349694</c:v>
                </c:pt>
                <c:pt idx="5495">
                  <c:v>56.162109999999998</c:v>
                </c:pt>
                <c:pt idx="5496">
                  <c:v>51.924160919999998</c:v>
                </c:pt>
                <c:pt idx="5497">
                  <c:v>50.46000094</c:v>
                </c:pt>
                <c:pt idx="5498">
                  <c:v>49.062169249999997</c:v>
                </c:pt>
                <c:pt idx="5499">
                  <c:v>46.288379810000002</c:v>
                </c:pt>
                <c:pt idx="5500">
                  <c:v>44.824219999999997</c:v>
                </c:pt>
                <c:pt idx="5501">
                  <c:v>37.935046079999999</c:v>
                </c:pt>
                <c:pt idx="5502">
                  <c:v>34.42308877</c:v>
                </c:pt>
                <c:pt idx="5503">
                  <c:v>34.409179999999999</c:v>
                </c:pt>
                <c:pt idx="5504">
                  <c:v>33.625059589999999</c:v>
                </c:pt>
                <c:pt idx="5505">
                  <c:v>32.79710876</c:v>
                </c:pt>
                <c:pt idx="5506">
                  <c:v>30.338187319999999</c:v>
                </c:pt>
                <c:pt idx="5507">
                  <c:v>28.794877320000001</c:v>
                </c:pt>
                <c:pt idx="5508">
                  <c:v>22.34619</c:v>
                </c:pt>
                <c:pt idx="5509">
                  <c:v>19.406125509999999</c:v>
                </c:pt>
                <c:pt idx="5510">
                  <c:v>18.548659350000001</c:v>
                </c:pt>
                <c:pt idx="5511">
                  <c:v>11.40381</c:v>
                </c:pt>
                <c:pt idx="5512">
                  <c:v>7.510434761</c:v>
                </c:pt>
                <c:pt idx="5513">
                  <c:v>6.064476472</c:v>
                </c:pt>
                <c:pt idx="5514">
                  <c:v>5.9755403530000004</c:v>
                </c:pt>
                <c:pt idx="5515">
                  <c:v>5.8852018890000002</c:v>
                </c:pt>
                <c:pt idx="5516">
                  <c:v>5.7948634239999999</c:v>
                </c:pt>
                <c:pt idx="5517">
                  <c:v>5.52316947</c:v>
                </c:pt>
                <c:pt idx="5518">
                  <c:v>5.4307501</c:v>
                </c:pt>
                <c:pt idx="5519">
                  <c:v>5.3404116349999997</c:v>
                </c:pt>
                <c:pt idx="5520">
                  <c:v>5.154125305</c:v>
                </c:pt>
                <c:pt idx="5521">
                  <c:v>5.0687176809999999</c:v>
                </c:pt>
                <c:pt idx="5522">
                  <c:v>4.890166893</c:v>
                </c:pt>
                <c:pt idx="5523">
                  <c:v>4.6184729390000001</c:v>
                </c:pt>
                <c:pt idx="5524">
                  <c:v>4.5281344739999998</c:v>
                </c:pt>
                <c:pt idx="5525">
                  <c:v>3.6234379429999999</c:v>
                </c:pt>
                <c:pt idx="5526">
                  <c:v>3.533099478</c:v>
                </c:pt>
                <c:pt idx="5527">
                  <c:v>3.08077384</c:v>
                </c:pt>
                <c:pt idx="5528">
                  <c:v>2.8090346519999998</c:v>
                </c:pt>
                <c:pt idx="5529">
                  <c:v>2.4441975330000001</c:v>
                </c:pt>
                <c:pt idx="5530">
                  <c:v>1.1809970789999999</c:v>
                </c:pt>
                <c:pt idx="5531">
                  <c:v>1.0871301179999999</c:v>
                </c:pt>
                <c:pt idx="5532">
                  <c:v>0.99823924399999997</c:v>
                </c:pt>
                <c:pt idx="5533">
                  <c:v>0.81896466000000001</c:v>
                </c:pt>
                <c:pt idx="5534">
                  <c:v>0.72509769999999996</c:v>
                </c:pt>
                <c:pt idx="5535">
                  <c:v>0.72494573699999998</c:v>
                </c:pt>
                <c:pt idx="5536">
                  <c:v>0.72489457000000002</c:v>
                </c:pt>
                <c:pt idx="5537">
                  <c:v>0.72484137699999995</c:v>
                </c:pt>
                <c:pt idx="5538">
                  <c:v>0.724790979</c:v>
                </c:pt>
                <c:pt idx="5539">
                  <c:v>0.72474058100000005</c:v>
                </c:pt>
                <c:pt idx="5540">
                  <c:v>0.72468820899999997</c:v>
                </c:pt>
                <c:pt idx="5541">
                  <c:v>0.72463742600000003</c:v>
                </c:pt>
                <c:pt idx="5542">
                  <c:v>0.72458702799999997</c:v>
                </c:pt>
                <c:pt idx="5543">
                  <c:v>0.72448346399999997</c:v>
                </c:pt>
                <c:pt idx="5544">
                  <c:v>0.72438187300000001</c:v>
                </c:pt>
                <c:pt idx="5545">
                  <c:v>0.72427830800000004</c:v>
                </c:pt>
                <c:pt idx="5546">
                  <c:v>0.72412555000000001</c:v>
                </c:pt>
                <c:pt idx="5547">
                  <c:v>0.72407235800000003</c:v>
                </c:pt>
                <c:pt idx="5548">
                  <c:v>0.72402195999999996</c:v>
                </c:pt>
                <c:pt idx="5549">
                  <c:v>0.72397156200000001</c:v>
                </c:pt>
                <c:pt idx="5550">
                  <c:v>0.72391919000000005</c:v>
                </c:pt>
                <c:pt idx="5551">
                  <c:v>0.72386799700000004</c:v>
                </c:pt>
                <c:pt idx="5552">
                  <c:v>0.72381759899999998</c:v>
                </c:pt>
                <c:pt idx="5553">
                  <c:v>0.72371403400000001</c:v>
                </c:pt>
                <c:pt idx="5554">
                  <c:v>0.72366404600000001</c:v>
                </c:pt>
                <c:pt idx="5555">
                  <c:v>0.723612853</c:v>
                </c:pt>
                <c:pt idx="5556">
                  <c:v>0.72355966100000002</c:v>
                </c:pt>
                <c:pt idx="5557">
                  <c:v>0.72345888999999997</c:v>
                </c:pt>
                <c:pt idx="5558">
                  <c:v>0.72335653</c:v>
                </c:pt>
                <c:pt idx="5559">
                  <c:v>0.72325293999999996</c:v>
                </c:pt>
                <c:pt idx="5560">
                  <c:v>0.723202542</c:v>
                </c:pt>
                <c:pt idx="5561">
                  <c:v>0.72315017000000004</c:v>
                </c:pt>
                <c:pt idx="5562">
                  <c:v>0.72309897700000003</c:v>
                </c:pt>
                <c:pt idx="5563">
                  <c:v>0.72304857899999997</c:v>
                </c:pt>
                <c:pt idx="5564">
                  <c:v>0.72299541199999995</c:v>
                </c:pt>
                <c:pt idx="5565">
                  <c:v>0.722945014</c:v>
                </c:pt>
                <c:pt idx="5566">
                  <c:v>0.722895026</c:v>
                </c:pt>
                <c:pt idx="5567">
                  <c:v>0.72284383399999996</c:v>
                </c:pt>
                <c:pt idx="5568">
                  <c:v>0.72263749899999996</c:v>
                </c:pt>
                <c:pt idx="5569">
                  <c:v>0.72248312599999998</c:v>
                </c:pt>
                <c:pt idx="5570">
                  <c:v>0.72233036799999994</c:v>
                </c:pt>
                <c:pt idx="5571">
                  <c:v>0.72232995799999999</c:v>
                </c:pt>
                <c:pt idx="5572">
                  <c:v>0.72227996999999999</c:v>
                </c:pt>
                <c:pt idx="5573">
                  <c:v>0.72217640500000002</c:v>
                </c:pt>
                <c:pt idx="5574">
                  <c:v>0.72207481399999995</c:v>
                </c:pt>
                <c:pt idx="5575">
                  <c:v>0.72197124899999998</c:v>
                </c:pt>
                <c:pt idx="5576">
                  <c:v>0.72181849099999995</c:v>
                </c:pt>
                <c:pt idx="5577">
                  <c:v>0.72176529899999997</c:v>
                </c:pt>
                <c:pt idx="5578">
                  <c:v>0.72171490100000002</c:v>
                </c:pt>
                <c:pt idx="5579">
                  <c:v>0.721664529</c:v>
                </c:pt>
                <c:pt idx="5580">
                  <c:v>0.72156093799999999</c:v>
                </c:pt>
                <c:pt idx="5581">
                  <c:v>0.72145737300000001</c:v>
                </c:pt>
                <c:pt idx="5582">
                  <c:v>0.72135698699999995</c:v>
                </c:pt>
                <c:pt idx="5583">
                  <c:v>0.72130579500000003</c:v>
                </c:pt>
                <c:pt idx="5584">
                  <c:v>0.72120223000000006</c:v>
                </c:pt>
                <c:pt idx="5585">
                  <c:v>0.72104947200000002</c:v>
                </c:pt>
                <c:pt idx="5586">
                  <c:v>0.72099628000000004</c:v>
                </c:pt>
                <c:pt idx="5587">
                  <c:v>0.72094588100000001</c:v>
                </c:pt>
                <c:pt idx="5588">
                  <c:v>0.72084311099999998</c:v>
                </c:pt>
                <c:pt idx="5589">
                  <c:v>0.71981853799999995</c:v>
                </c:pt>
                <c:pt idx="5590">
                  <c:v>0.71976775500000001</c:v>
                </c:pt>
                <c:pt idx="5591">
                  <c:v>0.71945824000000003</c:v>
                </c:pt>
                <c:pt idx="5592">
                  <c:v>0.71930427799999996</c:v>
                </c:pt>
                <c:pt idx="5593">
                  <c:v>0.71904992899999998</c:v>
                </c:pt>
                <c:pt idx="5594">
                  <c:v>0.71899873599999997</c:v>
                </c:pt>
                <c:pt idx="5595">
                  <c:v>0.718895171</c:v>
                </c:pt>
                <c:pt idx="5596">
                  <c:v>0.71878919699999999</c:v>
                </c:pt>
                <c:pt idx="5597">
                  <c:v>0.71869081000000001</c:v>
                </c:pt>
                <c:pt idx="5598">
                  <c:v>0.71863761800000003</c:v>
                </c:pt>
                <c:pt idx="5599">
                  <c:v>0.71858724600000001</c:v>
                </c:pt>
                <c:pt idx="5600">
                  <c:v>0.71853605300000001</c:v>
                </c:pt>
                <c:pt idx="5601">
                  <c:v>0.71751147900000001</c:v>
                </c:pt>
                <c:pt idx="5602">
                  <c:v>0.71704920599999999</c:v>
                </c:pt>
                <c:pt idx="5603">
                  <c:v>0.71699801399999996</c:v>
                </c:pt>
                <c:pt idx="5604">
                  <c:v>0.71694682099999996</c:v>
                </c:pt>
                <c:pt idx="5605">
                  <c:v>0.71689644799999996</c:v>
                </c:pt>
                <c:pt idx="5606">
                  <c:v>0.71622819900000001</c:v>
                </c:pt>
                <c:pt idx="5607">
                  <c:v>0.71617780099999995</c:v>
                </c:pt>
                <c:pt idx="5608">
                  <c:v>0.71612742900000004</c:v>
                </c:pt>
                <c:pt idx="5609">
                  <c:v>0.71607423699999995</c:v>
                </c:pt>
                <c:pt idx="5610">
                  <c:v>0.71602383800000002</c:v>
                </c:pt>
                <c:pt idx="5611">
                  <c:v>0.71597343999999996</c:v>
                </c:pt>
                <c:pt idx="5612">
                  <c:v>0.71592265799999999</c:v>
                </c:pt>
                <c:pt idx="5613">
                  <c:v>0.71581909300000002</c:v>
                </c:pt>
                <c:pt idx="5614">
                  <c:v>0.71571550299999998</c:v>
                </c:pt>
                <c:pt idx="5615">
                  <c:v>0.71561473200000003</c:v>
                </c:pt>
                <c:pt idx="5616">
                  <c:v>0.71520442100000003</c:v>
                </c:pt>
                <c:pt idx="5617">
                  <c:v>0.71515363799999998</c:v>
                </c:pt>
                <c:pt idx="5618">
                  <c:v>0.71499967499999995</c:v>
                </c:pt>
                <c:pt idx="5619">
                  <c:v>0.71489690500000003</c:v>
                </c:pt>
                <c:pt idx="5620">
                  <c:v>0.71484371300000005</c:v>
                </c:pt>
                <c:pt idx="5621">
                  <c:v>0.71479334100000003</c:v>
                </c:pt>
                <c:pt idx="5622">
                  <c:v>0.71474294199999999</c:v>
                </c:pt>
                <c:pt idx="5623">
                  <c:v>0.71469095500000002</c:v>
                </c:pt>
                <c:pt idx="5624">
                  <c:v>0.71463976200000001</c:v>
                </c:pt>
                <c:pt idx="5625">
                  <c:v>0.71453619700000004</c:v>
                </c:pt>
                <c:pt idx="5626">
                  <c:v>0.71443542699999996</c:v>
                </c:pt>
                <c:pt idx="5627">
                  <c:v>0.71438461900000005</c:v>
                </c:pt>
                <c:pt idx="5628">
                  <c:v>0.71428105399999997</c:v>
                </c:pt>
                <c:pt idx="5629">
                  <c:v>0.71423065600000002</c:v>
                </c:pt>
                <c:pt idx="5630">
                  <c:v>0.71417907899999999</c:v>
                </c:pt>
                <c:pt idx="5631">
                  <c:v>0.71412709100000005</c:v>
                </c:pt>
                <c:pt idx="5632">
                  <c:v>0.71402111700000004</c:v>
                </c:pt>
                <c:pt idx="5633">
                  <c:v>0.71351162400000001</c:v>
                </c:pt>
                <c:pt idx="5634">
                  <c:v>0.71341005899999999</c:v>
                </c:pt>
                <c:pt idx="5635">
                  <c:v>0.71335886599999998</c:v>
                </c:pt>
                <c:pt idx="5636">
                  <c:v>0.713305674</c:v>
                </c:pt>
                <c:pt idx="5637">
                  <c:v>0.71325530100000001</c:v>
                </c:pt>
                <c:pt idx="5638">
                  <c:v>0.71315291599999997</c:v>
                </c:pt>
                <c:pt idx="5639">
                  <c:v>0.71305135100000006</c:v>
                </c:pt>
                <c:pt idx="5640">
                  <c:v>0.71299815799999999</c:v>
                </c:pt>
                <c:pt idx="5641">
                  <c:v>0.712589052</c:v>
                </c:pt>
                <c:pt idx="5642">
                  <c:v>0.71233270400000004</c:v>
                </c:pt>
                <c:pt idx="5643">
                  <c:v>0.71197358499999996</c:v>
                </c:pt>
                <c:pt idx="5644">
                  <c:v>0.71182082700000004</c:v>
                </c:pt>
                <c:pt idx="5645">
                  <c:v>0.71161487700000003</c:v>
                </c:pt>
                <c:pt idx="5646">
                  <c:v>0.71089705000000003</c:v>
                </c:pt>
                <c:pt idx="5647">
                  <c:v>0.71084544699999996</c:v>
                </c:pt>
                <c:pt idx="5648">
                  <c:v>0.710744292</c:v>
                </c:pt>
                <c:pt idx="5649">
                  <c:v>0.71068869000000001</c:v>
                </c:pt>
                <c:pt idx="5650">
                  <c:v>0.71007642800000004</c:v>
                </c:pt>
                <c:pt idx="5651">
                  <c:v>0.70987168199999995</c:v>
                </c:pt>
                <c:pt idx="5652">
                  <c:v>0.70941020399999999</c:v>
                </c:pt>
                <c:pt idx="5653">
                  <c:v>0.70925624099999995</c:v>
                </c:pt>
                <c:pt idx="5654">
                  <c:v>0.70915306099999997</c:v>
                </c:pt>
                <c:pt idx="5655">
                  <c:v>0.70905229000000003</c:v>
                </c:pt>
                <c:pt idx="5656">
                  <c:v>0.70900109700000002</c:v>
                </c:pt>
                <c:pt idx="5657">
                  <c:v>0.70889750699999998</c:v>
                </c:pt>
                <c:pt idx="5658">
                  <c:v>0.70884713399999999</c:v>
                </c:pt>
                <c:pt idx="5659">
                  <c:v>0.70879594199999996</c:v>
                </c:pt>
                <c:pt idx="5660">
                  <c:v>0.70874474899999995</c:v>
                </c:pt>
                <c:pt idx="5661">
                  <c:v>0.70869155699999997</c:v>
                </c:pt>
                <c:pt idx="5662">
                  <c:v>0.70864118399999998</c:v>
                </c:pt>
                <c:pt idx="5663">
                  <c:v>0.70859078600000003</c:v>
                </c:pt>
                <c:pt idx="5664">
                  <c:v>0.70853879900000005</c:v>
                </c:pt>
                <c:pt idx="5665">
                  <c:v>0.70843723300000006</c:v>
                </c:pt>
                <c:pt idx="5666">
                  <c:v>0.70838404099999996</c:v>
                </c:pt>
                <c:pt idx="5667">
                  <c:v>0.70833364300000001</c:v>
                </c:pt>
                <c:pt idx="5668">
                  <c:v>0.70828327099999999</c:v>
                </c:pt>
                <c:pt idx="5669">
                  <c:v>0.70823207799999999</c:v>
                </c:pt>
                <c:pt idx="5670">
                  <c:v>0.70797452500000002</c:v>
                </c:pt>
                <c:pt idx="5671">
                  <c:v>0.70782056199999999</c:v>
                </c:pt>
                <c:pt idx="5672">
                  <c:v>0.70776977900000004</c:v>
                </c:pt>
                <c:pt idx="5673">
                  <c:v>0.70771858600000004</c:v>
                </c:pt>
                <c:pt idx="5674">
                  <c:v>0.70761502200000004</c:v>
                </c:pt>
                <c:pt idx="5675">
                  <c:v>0.707564623</c:v>
                </c:pt>
                <c:pt idx="5676">
                  <c:v>0.70751425099999998</c:v>
                </c:pt>
                <c:pt idx="5677">
                  <c:v>0.70735946800000005</c:v>
                </c:pt>
                <c:pt idx="5678">
                  <c:v>0.70730909500000005</c:v>
                </c:pt>
                <c:pt idx="5679">
                  <c:v>0.70725790300000002</c:v>
                </c:pt>
                <c:pt idx="5680">
                  <c:v>0.70720671000000002</c:v>
                </c:pt>
                <c:pt idx="5681">
                  <c:v>0.70715351800000004</c:v>
                </c:pt>
                <c:pt idx="5682">
                  <c:v>0.70705274699999998</c:v>
                </c:pt>
                <c:pt idx="5683">
                  <c:v>0.706999555</c:v>
                </c:pt>
                <c:pt idx="5684">
                  <c:v>0.70689878399999995</c:v>
                </c:pt>
                <c:pt idx="5685">
                  <c:v>0.70684559199999997</c:v>
                </c:pt>
                <c:pt idx="5686">
                  <c:v>0.70669403900000005</c:v>
                </c:pt>
                <c:pt idx="5687">
                  <c:v>0.70664084599999999</c:v>
                </c:pt>
                <c:pt idx="5688">
                  <c:v>0.70654007600000002</c:v>
                </c:pt>
                <c:pt idx="5689">
                  <c:v>0.70648688400000004</c:v>
                </c:pt>
                <c:pt idx="5690">
                  <c:v>0.70612976500000002</c:v>
                </c:pt>
                <c:pt idx="5691">
                  <c:v>0.705565106</c:v>
                </c:pt>
                <c:pt idx="5692">
                  <c:v>0.70541114299999996</c:v>
                </c:pt>
                <c:pt idx="5693">
                  <c:v>0.70520719200000004</c:v>
                </c:pt>
                <c:pt idx="5694">
                  <c:v>0.70413063200000003</c:v>
                </c:pt>
                <c:pt idx="5695">
                  <c:v>0.70402706699999995</c:v>
                </c:pt>
                <c:pt idx="5696">
                  <c:v>0.70392109300000005</c:v>
                </c:pt>
                <c:pt idx="5697">
                  <c:v>0.70341080499999997</c:v>
                </c:pt>
                <c:pt idx="5698">
                  <c:v>0.70340839600000005</c:v>
                </c:pt>
                <c:pt idx="5699">
                  <c:v>0.70284894099999995</c:v>
                </c:pt>
                <c:pt idx="5700">
                  <c:v>0.70274535100000002</c:v>
                </c:pt>
                <c:pt idx="5701">
                  <c:v>0.70238623200000005</c:v>
                </c:pt>
                <c:pt idx="5702">
                  <c:v>0.70233506499999998</c:v>
                </c:pt>
                <c:pt idx="5703">
                  <c:v>0.70228466700000003</c:v>
                </c:pt>
                <c:pt idx="5704">
                  <c:v>0.70223147500000005</c:v>
                </c:pt>
                <c:pt idx="5705">
                  <c:v>0.70218110199999995</c:v>
                </c:pt>
                <c:pt idx="5706">
                  <c:v>0.70213111399999995</c:v>
                </c:pt>
                <c:pt idx="5707">
                  <c:v>0.70207992100000005</c:v>
                </c:pt>
                <c:pt idx="5708">
                  <c:v>0.70192595899999999</c:v>
                </c:pt>
                <c:pt idx="5709">
                  <c:v>0.70187276600000004</c:v>
                </c:pt>
                <c:pt idx="5710">
                  <c:v>0.70182236799999997</c:v>
                </c:pt>
                <c:pt idx="5711">
                  <c:v>0.70156604499999997</c:v>
                </c:pt>
                <c:pt idx="5712">
                  <c:v>0.70146245500000004</c:v>
                </c:pt>
                <c:pt idx="5713">
                  <c:v>0.70033672700000005</c:v>
                </c:pt>
                <c:pt idx="5714">
                  <c:v>0.70018076399999996</c:v>
                </c:pt>
                <c:pt idx="5715">
                  <c:v>0.700130366</c:v>
                </c:pt>
                <c:pt idx="5716">
                  <c:v>0.70007919900000004</c:v>
                </c:pt>
                <c:pt idx="5717">
                  <c:v>0.70002800600000004</c:v>
                </c:pt>
                <c:pt idx="5718">
                  <c:v>0.69997760799999997</c:v>
                </c:pt>
                <c:pt idx="5719">
                  <c:v>0.69982405599999997</c:v>
                </c:pt>
                <c:pt idx="5720">
                  <c:v>0.69977006900000005</c:v>
                </c:pt>
                <c:pt idx="5721">
                  <c:v>0.69971967099999999</c:v>
                </c:pt>
                <c:pt idx="5722">
                  <c:v>0.69956770700000004</c:v>
                </c:pt>
                <c:pt idx="5723">
                  <c:v>0.69936216699999998</c:v>
                </c:pt>
                <c:pt idx="5724">
                  <c:v>0.69931018</c:v>
                </c:pt>
                <c:pt idx="5725">
                  <c:v>0.69920858900000005</c:v>
                </c:pt>
                <c:pt idx="5726">
                  <c:v>0.69915539599999998</c:v>
                </c:pt>
                <c:pt idx="5727">
                  <c:v>0.69910502399999996</c:v>
                </c:pt>
                <c:pt idx="5728">
                  <c:v>0.69905503599999996</c:v>
                </c:pt>
                <c:pt idx="5729">
                  <c:v>0.69895065099999998</c:v>
                </c:pt>
                <c:pt idx="5730">
                  <c:v>0.69890025300000003</c:v>
                </c:pt>
                <c:pt idx="5731">
                  <c:v>0.69879789299999995</c:v>
                </c:pt>
                <c:pt idx="5732">
                  <c:v>0.69874628999999999</c:v>
                </c:pt>
                <c:pt idx="5733">
                  <c:v>0.69869591799999997</c:v>
                </c:pt>
                <c:pt idx="5734">
                  <c:v>0.69864272500000002</c:v>
                </c:pt>
                <c:pt idx="5735">
                  <c:v>0.69864072600000005</c:v>
                </c:pt>
                <c:pt idx="5736">
                  <c:v>0.69859232699999996</c:v>
                </c:pt>
                <c:pt idx="5737">
                  <c:v>0.69854115999999999</c:v>
                </c:pt>
                <c:pt idx="5738">
                  <c:v>0.69848996699999999</c:v>
                </c:pt>
                <c:pt idx="5739">
                  <c:v>0.698285606</c:v>
                </c:pt>
                <c:pt idx="5740">
                  <c:v>0.69730704799999998</c:v>
                </c:pt>
                <c:pt idx="5741">
                  <c:v>0.69726023800000003</c:v>
                </c:pt>
                <c:pt idx="5742">
                  <c:v>0.69684595400000005</c:v>
                </c:pt>
                <c:pt idx="5743">
                  <c:v>0.69633646100000002</c:v>
                </c:pt>
                <c:pt idx="5744">
                  <c:v>0.69597854800000003</c:v>
                </c:pt>
                <c:pt idx="5745">
                  <c:v>0.69546508200000001</c:v>
                </c:pt>
                <c:pt idx="5746">
                  <c:v>0.69536349099999994</c:v>
                </c:pt>
                <c:pt idx="5747">
                  <c:v>0.69531029899999997</c:v>
                </c:pt>
                <c:pt idx="5748">
                  <c:v>0.69525992599999997</c:v>
                </c:pt>
                <c:pt idx="5749">
                  <c:v>0.69520952800000002</c:v>
                </c:pt>
                <c:pt idx="5750">
                  <c:v>0.69515833500000002</c:v>
                </c:pt>
                <c:pt idx="5751">
                  <c:v>0.69500437299999995</c:v>
                </c:pt>
                <c:pt idx="5752">
                  <c:v>0.69490201299999999</c:v>
                </c:pt>
                <c:pt idx="5753">
                  <c:v>0.69484882000000003</c:v>
                </c:pt>
                <c:pt idx="5754">
                  <c:v>0.69479842199999997</c:v>
                </c:pt>
                <c:pt idx="5755">
                  <c:v>0.69474804999999995</c:v>
                </c:pt>
                <c:pt idx="5756">
                  <c:v>0.69464445900000005</c:v>
                </c:pt>
                <c:pt idx="5757">
                  <c:v>0.69459408700000003</c:v>
                </c:pt>
                <c:pt idx="5758">
                  <c:v>0.69453889499999999</c:v>
                </c:pt>
                <c:pt idx="5759">
                  <c:v>0.69449049699999998</c:v>
                </c:pt>
                <c:pt idx="5760">
                  <c:v>0.69444050899999998</c:v>
                </c:pt>
                <c:pt idx="5761">
                  <c:v>0.69438693200000001</c:v>
                </c:pt>
                <c:pt idx="5762">
                  <c:v>0.694286136</c:v>
                </c:pt>
                <c:pt idx="5763">
                  <c:v>0.69418416000000005</c:v>
                </c:pt>
                <c:pt idx="5764">
                  <c:v>0.69413217299999996</c:v>
                </c:pt>
                <c:pt idx="5765">
                  <c:v>0.69408179999999997</c:v>
                </c:pt>
                <c:pt idx="5766">
                  <c:v>0.69402860799999999</c:v>
                </c:pt>
                <c:pt idx="5767">
                  <c:v>0.69402619799999998</c:v>
                </c:pt>
                <c:pt idx="5768">
                  <c:v>0.69392704299999997</c:v>
                </c:pt>
                <c:pt idx="5769">
                  <c:v>0.69382545200000001</c:v>
                </c:pt>
                <c:pt idx="5770">
                  <c:v>0.69377226000000003</c:v>
                </c:pt>
                <c:pt idx="5771">
                  <c:v>0.69356751400000005</c:v>
                </c:pt>
                <c:pt idx="5772">
                  <c:v>0.69351711599999999</c:v>
                </c:pt>
                <c:pt idx="5773">
                  <c:v>0.69336397400000005</c:v>
                </c:pt>
                <c:pt idx="5774">
                  <c:v>0.69331078099999999</c:v>
                </c:pt>
                <c:pt idx="5775">
                  <c:v>0.69321001100000001</c:v>
                </c:pt>
                <c:pt idx="5776">
                  <c:v>0.69315681799999995</c:v>
                </c:pt>
                <c:pt idx="5777">
                  <c:v>0.69295245699999997</c:v>
                </c:pt>
                <c:pt idx="5778">
                  <c:v>0.69290247000000005</c:v>
                </c:pt>
                <c:pt idx="5779">
                  <c:v>0.69284889299999997</c:v>
                </c:pt>
                <c:pt idx="5780">
                  <c:v>0.69279849500000001</c:v>
                </c:pt>
                <c:pt idx="5781">
                  <c:v>0.69274809699999995</c:v>
                </c:pt>
                <c:pt idx="5782">
                  <c:v>0.69269493000000004</c:v>
                </c:pt>
                <c:pt idx="5783">
                  <c:v>0.69254376100000004</c:v>
                </c:pt>
                <c:pt idx="5784">
                  <c:v>0.69249056899999994</c:v>
                </c:pt>
                <c:pt idx="5785">
                  <c:v>0.69238900400000003</c:v>
                </c:pt>
                <c:pt idx="5786">
                  <c:v>0.69233781100000003</c:v>
                </c:pt>
                <c:pt idx="5787">
                  <c:v>0.69228741299999996</c:v>
                </c:pt>
                <c:pt idx="5788">
                  <c:v>0.69218384799999999</c:v>
                </c:pt>
                <c:pt idx="5789">
                  <c:v>0.69213345000000004</c:v>
                </c:pt>
                <c:pt idx="5790">
                  <c:v>0.69172234399999999</c:v>
                </c:pt>
                <c:pt idx="5791">
                  <c:v>0.69156838099999995</c:v>
                </c:pt>
                <c:pt idx="5792">
                  <c:v>0.69141441800000003</c:v>
                </c:pt>
                <c:pt idx="5793">
                  <c:v>0.69136443000000003</c:v>
                </c:pt>
                <c:pt idx="5794">
                  <c:v>0.69054021899999996</c:v>
                </c:pt>
                <c:pt idx="5795">
                  <c:v>0.69049143599999996</c:v>
                </c:pt>
                <c:pt idx="5796">
                  <c:v>0.69013311200000005</c:v>
                </c:pt>
                <c:pt idx="5797">
                  <c:v>0.69003075199999997</c:v>
                </c:pt>
                <c:pt idx="5798">
                  <c:v>0.68972241599999995</c:v>
                </c:pt>
                <c:pt idx="5799">
                  <c:v>0.68961885199999995</c:v>
                </c:pt>
                <c:pt idx="5800">
                  <c:v>0.68957004300000002</c:v>
                </c:pt>
                <c:pt idx="5801">
                  <c:v>0.68951805600000005</c:v>
                </c:pt>
                <c:pt idx="5802">
                  <c:v>0.68946488900000003</c:v>
                </c:pt>
                <c:pt idx="5803">
                  <c:v>0.68941449099999996</c:v>
                </c:pt>
                <c:pt idx="5804">
                  <c:v>0.68936409300000001</c:v>
                </c:pt>
                <c:pt idx="5805">
                  <c:v>0.68931292600000005</c:v>
                </c:pt>
                <c:pt idx="5806">
                  <c:v>0.68920695099999996</c:v>
                </c:pt>
                <c:pt idx="5807">
                  <c:v>0.68813359500000004</c:v>
                </c:pt>
                <c:pt idx="5808">
                  <c:v>0.68782566899999997</c:v>
                </c:pt>
                <c:pt idx="5809">
                  <c:v>0.68777488600000003</c:v>
                </c:pt>
                <c:pt idx="5810">
                  <c:v>0.687723694</c:v>
                </c:pt>
                <c:pt idx="5811">
                  <c:v>0.68762010299999998</c:v>
                </c:pt>
                <c:pt idx="5812">
                  <c:v>0.68751933300000001</c:v>
                </c:pt>
                <c:pt idx="5813">
                  <c:v>0.68746534599999998</c:v>
                </c:pt>
                <c:pt idx="5814">
                  <c:v>0.68746414099999997</c:v>
                </c:pt>
                <c:pt idx="5815">
                  <c:v>0.68736457500000003</c:v>
                </c:pt>
                <c:pt idx="5816">
                  <c:v>0.68726301000000001</c:v>
                </c:pt>
                <c:pt idx="5817">
                  <c:v>0.68715821499999996</c:v>
                </c:pt>
                <c:pt idx="5818">
                  <c:v>0.68715621500000001</c:v>
                </c:pt>
                <c:pt idx="5819">
                  <c:v>0.68710784199999997</c:v>
                </c:pt>
                <c:pt idx="5820">
                  <c:v>0.68695467399999999</c:v>
                </c:pt>
                <c:pt idx="5821">
                  <c:v>0.68690148200000001</c:v>
                </c:pt>
                <c:pt idx="5822">
                  <c:v>0.68685108399999995</c:v>
                </c:pt>
                <c:pt idx="5823">
                  <c:v>0.68680071099999995</c:v>
                </c:pt>
                <c:pt idx="5824">
                  <c:v>0.686750313</c:v>
                </c:pt>
                <c:pt idx="5825">
                  <c:v>0.68664595399999995</c:v>
                </c:pt>
                <c:pt idx="5826">
                  <c:v>0.68664354400000005</c:v>
                </c:pt>
                <c:pt idx="5827">
                  <c:v>0.686595556</c:v>
                </c:pt>
                <c:pt idx="5828">
                  <c:v>0.68633600299999997</c:v>
                </c:pt>
                <c:pt idx="5829">
                  <c:v>0.68608206400000005</c:v>
                </c:pt>
                <c:pt idx="5830">
                  <c:v>0.68592571700000005</c:v>
                </c:pt>
                <c:pt idx="5831">
                  <c:v>0.68505792700000001</c:v>
                </c:pt>
                <c:pt idx="5832">
                  <c:v>0.68469839799999999</c:v>
                </c:pt>
                <c:pt idx="5833">
                  <c:v>0.68464720499999998</c:v>
                </c:pt>
                <c:pt idx="5834">
                  <c:v>0.68459683299999996</c:v>
                </c:pt>
                <c:pt idx="5835">
                  <c:v>0.68454364099999998</c:v>
                </c:pt>
                <c:pt idx="5836">
                  <c:v>0.68444287000000004</c:v>
                </c:pt>
                <c:pt idx="5837">
                  <c:v>0.68433927999999999</c:v>
                </c:pt>
                <c:pt idx="5838">
                  <c:v>0.684288907</c:v>
                </c:pt>
                <c:pt idx="5839">
                  <c:v>0.68423571500000002</c:v>
                </c:pt>
                <c:pt idx="5840">
                  <c:v>0.68413532899999996</c:v>
                </c:pt>
                <c:pt idx="5841">
                  <c:v>0.68403176399999999</c:v>
                </c:pt>
                <c:pt idx="5842">
                  <c:v>0.68398136600000004</c:v>
                </c:pt>
                <c:pt idx="5843">
                  <c:v>0.683827403</c:v>
                </c:pt>
                <c:pt idx="5844">
                  <c:v>0.68377421100000002</c:v>
                </c:pt>
                <c:pt idx="5845">
                  <c:v>0.68372383800000003</c:v>
                </c:pt>
                <c:pt idx="5846">
                  <c:v>0.68362024799999999</c:v>
                </c:pt>
                <c:pt idx="5847">
                  <c:v>0.68351947700000004</c:v>
                </c:pt>
                <c:pt idx="5848">
                  <c:v>0.68321155200000006</c:v>
                </c:pt>
                <c:pt idx="5849">
                  <c:v>0.683160769</c:v>
                </c:pt>
                <c:pt idx="5850">
                  <c:v>0.683109576</c:v>
                </c:pt>
                <c:pt idx="5851">
                  <c:v>0.68305638400000002</c:v>
                </c:pt>
                <c:pt idx="5852">
                  <c:v>0.68300598599999995</c:v>
                </c:pt>
                <c:pt idx="5853">
                  <c:v>0.68290483099999999</c:v>
                </c:pt>
                <c:pt idx="5854">
                  <c:v>0.68115963700000004</c:v>
                </c:pt>
                <c:pt idx="5855">
                  <c:v>0.68110964900000004</c:v>
                </c:pt>
                <c:pt idx="5856">
                  <c:v>0.68105925099999998</c:v>
                </c:pt>
                <c:pt idx="5857">
                  <c:v>0.68100605800000003</c:v>
                </c:pt>
                <c:pt idx="5858">
                  <c:v>0.68100405900000005</c:v>
                </c:pt>
                <c:pt idx="5859">
                  <c:v>0.68085329999999999</c:v>
                </c:pt>
                <c:pt idx="5860">
                  <c:v>0.68080172299999997</c:v>
                </c:pt>
                <c:pt idx="5861">
                  <c:v>0.68075132500000002</c:v>
                </c:pt>
                <c:pt idx="5862">
                  <c:v>0.68069813300000004</c:v>
                </c:pt>
                <c:pt idx="5863">
                  <c:v>0.68064776000000005</c:v>
                </c:pt>
                <c:pt idx="5864">
                  <c:v>0.68059736199999998</c:v>
                </c:pt>
                <c:pt idx="5865">
                  <c:v>0.68054417</c:v>
                </c:pt>
                <c:pt idx="5866">
                  <c:v>0.68054258000000001</c:v>
                </c:pt>
                <c:pt idx="5867">
                  <c:v>0.68049379700000001</c:v>
                </c:pt>
                <c:pt idx="5868">
                  <c:v>0.68039020699999997</c:v>
                </c:pt>
                <c:pt idx="5869">
                  <c:v>0.68033983499999995</c:v>
                </c:pt>
                <c:pt idx="5870">
                  <c:v>0.68028943600000003</c:v>
                </c:pt>
                <c:pt idx="5871">
                  <c:v>0.68023903799999996</c:v>
                </c:pt>
                <c:pt idx="5872">
                  <c:v>0.68018587200000002</c:v>
                </c:pt>
                <c:pt idx="5873">
                  <c:v>0.68008428099999996</c:v>
                </c:pt>
                <c:pt idx="5874">
                  <c:v>0.67998271600000004</c:v>
                </c:pt>
                <c:pt idx="5875">
                  <c:v>0.67987912500000003</c:v>
                </c:pt>
                <c:pt idx="5876">
                  <c:v>0.67982875300000001</c:v>
                </c:pt>
                <c:pt idx="5877">
                  <c:v>0.67977555999999995</c:v>
                </c:pt>
                <c:pt idx="5878">
                  <c:v>0.67972516199999999</c:v>
                </c:pt>
                <c:pt idx="5879">
                  <c:v>0.67967478999999997</c:v>
                </c:pt>
                <c:pt idx="5880">
                  <c:v>0.67962159799999999</c:v>
                </c:pt>
                <c:pt idx="5881">
                  <c:v>0.67957160999999999</c:v>
                </c:pt>
                <c:pt idx="5882">
                  <c:v>0.67951962200000005</c:v>
                </c:pt>
                <c:pt idx="5883">
                  <c:v>0.679416032</c:v>
                </c:pt>
                <c:pt idx="5884">
                  <c:v>0.67931526099999995</c:v>
                </c:pt>
                <c:pt idx="5885">
                  <c:v>0.67926406900000003</c:v>
                </c:pt>
                <c:pt idx="5886">
                  <c:v>0.67921369600000003</c:v>
                </c:pt>
                <c:pt idx="5887">
                  <c:v>0.67875139699999998</c:v>
                </c:pt>
                <c:pt idx="5888">
                  <c:v>0.67869699999999999</c:v>
                </c:pt>
                <c:pt idx="5889">
                  <c:v>0.67854624200000002</c:v>
                </c:pt>
                <c:pt idx="5890">
                  <c:v>0.67849504900000002</c:v>
                </c:pt>
                <c:pt idx="5891">
                  <c:v>0.678441882</c:v>
                </c:pt>
                <c:pt idx="5892">
                  <c:v>0.67834108599999998</c:v>
                </c:pt>
                <c:pt idx="5893">
                  <c:v>0.67829071399999996</c:v>
                </c:pt>
                <c:pt idx="5894">
                  <c:v>0.67823752100000001</c:v>
                </c:pt>
                <c:pt idx="5895">
                  <c:v>0.67726534599999999</c:v>
                </c:pt>
                <c:pt idx="5896">
                  <c:v>0.67669948199999996</c:v>
                </c:pt>
                <c:pt idx="5897">
                  <c:v>0.67654351999999995</c:v>
                </c:pt>
                <c:pt idx="5898">
                  <c:v>0.67644433900000001</c:v>
                </c:pt>
                <c:pt idx="5899">
                  <c:v>0.67638994200000002</c:v>
                </c:pt>
                <c:pt idx="5900">
                  <c:v>0.67629078600000003</c:v>
                </c:pt>
                <c:pt idx="5901">
                  <c:v>0.67623918299999997</c:v>
                </c:pt>
                <c:pt idx="5902">
                  <c:v>0.67618798999999996</c:v>
                </c:pt>
                <c:pt idx="5903">
                  <c:v>0.67613482400000002</c:v>
                </c:pt>
                <c:pt idx="5904">
                  <c:v>0.67613361900000002</c:v>
                </c:pt>
                <c:pt idx="5905">
                  <c:v>0.67603402700000004</c:v>
                </c:pt>
                <c:pt idx="5906">
                  <c:v>0.67598365500000002</c:v>
                </c:pt>
                <c:pt idx="5907">
                  <c:v>0.67593046300000004</c:v>
                </c:pt>
                <c:pt idx="5908">
                  <c:v>0.67547016400000004</c:v>
                </c:pt>
                <c:pt idx="5909">
                  <c:v>0.67541897100000003</c:v>
                </c:pt>
                <c:pt idx="5910">
                  <c:v>0.67454438699999997</c:v>
                </c:pt>
                <c:pt idx="5911">
                  <c:v>0.67439201299999996</c:v>
                </c:pt>
                <c:pt idx="5912">
                  <c:v>0.67439042400000004</c:v>
                </c:pt>
                <c:pt idx="5913">
                  <c:v>0.674238051</c:v>
                </c:pt>
                <c:pt idx="5914">
                  <c:v>0.67270001199999996</c:v>
                </c:pt>
                <c:pt idx="5915">
                  <c:v>0.67254604900000003</c:v>
                </c:pt>
                <c:pt idx="5916">
                  <c:v>0.67249567600000004</c:v>
                </c:pt>
                <c:pt idx="5917">
                  <c:v>0.67244527799999998</c:v>
                </c:pt>
                <c:pt idx="5918">
                  <c:v>0.67239408499999997</c:v>
                </c:pt>
                <c:pt idx="5919">
                  <c:v>0.67234289300000005</c:v>
                </c:pt>
                <c:pt idx="5920">
                  <c:v>0.67228972600000003</c:v>
                </c:pt>
                <c:pt idx="5921">
                  <c:v>0.67228852100000003</c:v>
                </c:pt>
                <c:pt idx="5922">
                  <c:v>0.67223932799999997</c:v>
                </c:pt>
                <c:pt idx="5923">
                  <c:v>0.67218893000000002</c:v>
                </c:pt>
                <c:pt idx="5924">
                  <c:v>0.67213814699999996</c:v>
                </c:pt>
                <c:pt idx="5925">
                  <c:v>0.67213776300000005</c:v>
                </c:pt>
                <c:pt idx="5926">
                  <c:v>0.67208495499999998</c:v>
                </c:pt>
                <c:pt idx="5927">
                  <c:v>0.67203458199999999</c:v>
                </c:pt>
                <c:pt idx="5928">
                  <c:v>0.67198418400000004</c:v>
                </c:pt>
                <c:pt idx="5929">
                  <c:v>0.67193099199999995</c:v>
                </c:pt>
                <c:pt idx="5930">
                  <c:v>0.67188100399999995</c:v>
                </c:pt>
                <c:pt idx="5931">
                  <c:v>0.67177743899999998</c:v>
                </c:pt>
                <c:pt idx="5932">
                  <c:v>0.67121475500000005</c:v>
                </c:pt>
                <c:pt idx="5933">
                  <c:v>0.67110919000000002</c:v>
                </c:pt>
                <c:pt idx="5934">
                  <c:v>0.67106079200000002</c:v>
                </c:pt>
                <c:pt idx="5935">
                  <c:v>0.67101041900000002</c:v>
                </c:pt>
                <c:pt idx="5936">
                  <c:v>0.67085604600000004</c:v>
                </c:pt>
                <c:pt idx="5937">
                  <c:v>0.67080485400000001</c:v>
                </c:pt>
                <c:pt idx="5938">
                  <c:v>0.66992985999999999</c:v>
                </c:pt>
                <c:pt idx="5939">
                  <c:v>0.66962234399999998</c:v>
                </c:pt>
                <c:pt idx="5940">
                  <c:v>0.66941718800000005</c:v>
                </c:pt>
                <c:pt idx="5941">
                  <c:v>0.66931800699999999</c:v>
                </c:pt>
                <c:pt idx="5942">
                  <c:v>0.66869936200000002</c:v>
                </c:pt>
                <c:pt idx="5943">
                  <c:v>0.66752403000000005</c:v>
                </c:pt>
                <c:pt idx="5944">
                  <c:v>0.66706214100000005</c:v>
                </c:pt>
                <c:pt idx="5945">
                  <c:v>0.66675501000000004</c:v>
                </c:pt>
                <c:pt idx="5946">
                  <c:v>0.66660066299999998</c:v>
                </c:pt>
                <c:pt idx="5947">
                  <c:v>0.66639389199999999</c:v>
                </c:pt>
                <c:pt idx="5948">
                  <c:v>0.66634110999999996</c:v>
                </c:pt>
                <c:pt idx="5949">
                  <c:v>0.66583164299999997</c:v>
                </c:pt>
                <c:pt idx="5950">
                  <c:v>0.66567806500000004</c:v>
                </c:pt>
                <c:pt idx="5951">
                  <c:v>0.66562487299999995</c:v>
                </c:pt>
                <c:pt idx="5952">
                  <c:v>0.66557449999999996</c:v>
                </c:pt>
                <c:pt idx="5953">
                  <c:v>0.665472909</c:v>
                </c:pt>
                <c:pt idx="5954">
                  <c:v>0.66542171699999997</c:v>
                </c:pt>
                <c:pt idx="5955">
                  <c:v>0.66536854999999995</c:v>
                </c:pt>
                <c:pt idx="5956">
                  <c:v>0.665318152</c:v>
                </c:pt>
                <c:pt idx="5957">
                  <c:v>0.66526775400000004</c:v>
                </c:pt>
                <c:pt idx="5958">
                  <c:v>0.66521697099999999</c:v>
                </c:pt>
                <c:pt idx="5959">
                  <c:v>0.66516377900000001</c:v>
                </c:pt>
                <c:pt idx="5960">
                  <c:v>0.66511340699999999</c:v>
                </c:pt>
                <c:pt idx="5961">
                  <c:v>0.66500981599999998</c:v>
                </c:pt>
                <c:pt idx="5962">
                  <c:v>0.66495944399999996</c:v>
                </c:pt>
                <c:pt idx="5963">
                  <c:v>0.66470350499999997</c:v>
                </c:pt>
                <c:pt idx="5964">
                  <c:v>0.66439276000000003</c:v>
                </c:pt>
                <c:pt idx="5965">
                  <c:v>0.66419042399999995</c:v>
                </c:pt>
                <c:pt idx="5966">
                  <c:v>0.66403405199999999</c:v>
                </c:pt>
                <c:pt idx="5967">
                  <c:v>0.66398606299999996</c:v>
                </c:pt>
                <c:pt idx="5968">
                  <c:v>0.66388329300000004</c:v>
                </c:pt>
                <c:pt idx="5969">
                  <c:v>0.66331781400000001</c:v>
                </c:pt>
                <c:pt idx="5970">
                  <c:v>0.66280355400000002</c:v>
                </c:pt>
                <c:pt idx="5971">
                  <c:v>0.66260160199999996</c:v>
                </c:pt>
                <c:pt idx="5972">
                  <c:v>0.66234563899999999</c:v>
                </c:pt>
                <c:pt idx="5973">
                  <c:v>0.66234525399999999</c:v>
                </c:pt>
                <c:pt idx="5974">
                  <c:v>0.66229247199999997</c:v>
                </c:pt>
                <c:pt idx="5975">
                  <c:v>0.66224207400000001</c:v>
                </c:pt>
                <c:pt idx="5976">
                  <c:v>0.66219167599999995</c:v>
                </c:pt>
                <c:pt idx="5977">
                  <c:v>0.66214089300000001</c:v>
                </c:pt>
                <c:pt idx="5978">
                  <c:v>0.66208770100000003</c:v>
                </c:pt>
                <c:pt idx="5979">
                  <c:v>0.66131668200000004</c:v>
                </c:pt>
                <c:pt idx="5980">
                  <c:v>0.661268309</c:v>
                </c:pt>
                <c:pt idx="5981">
                  <c:v>0.66121791100000005</c:v>
                </c:pt>
                <c:pt idx="5982">
                  <c:v>0.66116471799999998</c:v>
                </c:pt>
                <c:pt idx="5983">
                  <c:v>0.66111434599999996</c:v>
                </c:pt>
                <c:pt idx="5984">
                  <c:v>0.66106394800000001</c:v>
                </c:pt>
                <c:pt idx="5985">
                  <c:v>0.66101075600000003</c:v>
                </c:pt>
                <c:pt idx="5986">
                  <c:v>0.66085840799999995</c:v>
                </c:pt>
                <c:pt idx="5987">
                  <c:v>0.66080721499999995</c:v>
                </c:pt>
                <c:pt idx="5988">
                  <c:v>0.66070362500000002</c:v>
                </c:pt>
                <c:pt idx="5989">
                  <c:v>0.66065325200000002</c:v>
                </c:pt>
                <c:pt idx="5990">
                  <c:v>0.66060006000000004</c:v>
                </c:pt>
                <c:pt idx="5991">
                  <c:v>0.66054966199999998</c:v>
                </c:pt>
                <c:pt idx="5992">
                  <c:v>0.66049928899999999</c:v>
                </c:pt>
                <c:pt idx="5993">
                  <c:v>0.66044889100000004</c:v>
                </c:pt>
                <c:pt idx="5994">
                  <c:v>0.66039569899999995</c:v>
                </c:pt>
                <c:pt idx="5995">
                  <c:v>0.66034532599999995</c:v>
                </c:pt>
                <c:pt idx="5996">
                  <c:v>0.66014096499999997</c:v>
                </c:pt>
                <c:pt idx="5997">
                  <c:v>0.66008897799999999</c:v>
                </c:pt>
                <c:pt idx="5998">
                  <c:v>0.66003740099999997</c:v>
                </c:pt>
                <c:pt idx="5999">
                  <c:v>0.65998700300000002</c:v>
                </c:pt>
                <c:pt idx="6000">
                  <c:v>0.65993380999999995</c:v>
                </c:pt>
                <c:pt idx="6001">
                  <c:v>0.65988343800000004</c:v>
                </c:pt>
                <c:pt idx="6002">
                  <c:v>0.65983303999999998</c:v>
                </c:pt>
                <c:pt idx="6003">
                  <c:v>0.65972747600000003</c:v>
                </c:pt>
                <c:pt idx="6004">
                  <c:v>0.65957630700000003</c:v>
                </c:pt>
                <c:pt idx="6005">
                  <c:v>0.65952552399999997</c:v>
                </c:pt>
                <c:pt idx="6006">
                  <c:v>0.65880449299999999</c:v>
                </c:pt>
                <c:pt idx="6007">
                  <c:v>0.65855134900000001</c:v>
                </c:pt>
                <c:pt idx="6008">
                  <c:v>0.65834619299999997</c:v>
                </c:pt>
                <c:pt idx="6009">
                  <c:v>0.65824060399999995</c:v>
                </c:pt>
                <c:pt idx="6010">
                  <c:v>0.65757637899999999</c:v>
                </c:pt>
                <c:pt idx="6011">
                  <c:v>0.65752598100000004</c:v>
                </c:pt>
                <c:pt idx="6012">
                  <c:v>0.65747278899999995</c:v>
                </c:pt>
                <c:pt idx="6013">
                  <c:v>0.65742241599999995</c:v>
                </c:pt>
                <c:pt idx="6014">
                  <c:v>0.657372018</c:v>
                </c:pt>
                <c:pt idx="6015">
                  <c:v>0.65716765700000002</c:v>
                </c:pt>
                <c:pt idx="6016">
                  <c:v>0.65706409300000002</c:v>
                </c:pt>
                <c:pt idx="6017">
                  <c:v>0.65701330999999996</c:v>
                </c:pt>
                <c:pt idx="6018">
                  <c:v>0.65696211699999996</c:v>
                </c:pt>
                <c:pt idx="6019">
                  <c:v>0.65624428999999995</c:v>
                </c:pt>
                <c:pt idx="6020">
                  <c:v>0.65619230299999998</c:v>
                </c:pt>
                <c:pt idx="6021">
                  <c:v>0.65614190500000003</c:v>
                </c:pt>
                <c:pt idx="6022">
                  <c:v>0.65608871300000005</c:v>
                </c:pt>
                <c:pt idx="6023">
                  <c:v>0.656087533</c:v>
                </c:pt>
                <c:pt idx="6024">
                  <c:v>0.65603834000000005</c:v>
                </c:pt>
                <c:pt idx="6025">
                  <c:v>0.65583397899999996</c:v>
                </c:pt>
                <c:pt idx="6026">
                  <c:v>0.65578078699999998</c:v>
                </c:pt>
                <c:pt idx="6027">
                  <c:v>0.65573041399999998</c:v>
                </c:pt>
                <c:pt idx="6028">
                  <c:v>0.65568001600000003</c:v>
                </c:pt>
                <c:pt idx="6029">
                  <c:v>0.65562961799999997</c:v>
                </c:pt>
                <c:pt idx="6030">
                  <c:v>0.65562923399999995</c:v>
                </c:pt>
                <c:pt idx="6031">
                  <c:v>0.65557645200000003</c:v>
                </c:pt>
                <c:pt idx="6032">
                  <c:v>0.65552605399999997</c:v>
                </c:pt>
                <c:pt idx="6033">
                  <c:v>0.65547527100000003</c:v>
                </c:pt>
                <c:pt idx="6034">
                  <c:v>0.65536968100000004</c:v>
                </c:pt>
                <c:pt idx="6035">
                  <c:v>0.65439550599999996</c:v>
                </c:pt>
                <c:pt idx="6036">
                  <c:v>0.65372887199999996</c:v>
                </c:pt>
                <c:pt idx="6037">
                  <c:v>0.65357531899999999</c:v>
                </c:pt>
                <c:pt idx="6038">
                  <c:v>0.65326777800000002</c:v>
                </c:pt>
                <c:pt idx="6039">
                  <c:v>0.65316821199999997</c:v>
                </c:pt>
                <c:pt idx="6040">
                  <c:v>0.65265233700000003</c:v>
                </c:pt>
                <c:pt idx="6041">
                  <c:v>0.65188331700000002</c:v>
                </c:pt>
                <c:pt idx="6042">
                  <c:v>0.65183532899999996</c:v>
                </c:pt>
                <c:pt idx="6043">
                  <c:v>0.65172935399999998</c:v>
                </c:pt>
                <c:pt idx="6044">
                  <c:v>0.65157898000000003</c:v>
                </c:pt>
                <c:pt idx="6045">
                  <c:v>0.65116546500000005</c:v>
                </c:pt>
                <c:pt idx="6046">
                  <c:v>0.65055043400000001</c:v>
                </c:pt>
                <c:pt idx="6047">
                  <c:v>0.65024289300000004</c:v>
                </c:pt>
                <c:pt idx="6048">
                  <c:v>0.65014332699999999</c:v>
                </c:pt>
                <c:pt idx="6049">
                  <c:v>0.649986544</c:v>
                </c:pt>
                <c:pt idx="6050">
                  <c:v>0.64988697799999995</c:v>
                </c:pt>
                <c:pt idx="6051">
                  <c:v>0.64942229600000001</c:v>
                </c:pt>
                <c:pt idx="6052">
                  <c:v>0.64927192199999995</c:v>
                </c:pt>
                <c:pt idx="6053">
                  <c:v>0.64916835699999997</c:v>
                </c:pt>
                <c:pt idx="6054">
                  <c:v>0.64916594699999997</c:v>
                </c:pt>
                <c:pt idx="6055">
                  <c:v>0.64906438200000005</c:v>
                </c:pt>
                <c:pt idx="6056">
                  <c:v>0.64906356200000004</c:v>
                </c:pt>
                <c:pt idx="6057">
                  <c:v>0.64901398399999999</c:v>
                </c:pt>
                <c:pt idx="6058">
                  <c:v>0.64891321300000004</c:v>
                </c:pt>
                <c:pt idx="6059">
                  <c:v>0.64886002099999995</c:v>
                </c:pt>
                <c:pt idx="6060">
                  <c:v>0.64875925099999998</c:v>
                </c:pt>
                <c:pt idx="6061">
                  <c:v>0.64860528799999995</c:v>
                </c:pt>
                <c:pt idx="6062">
                  <c:v>0.64855409500000005</c:v>
                </c:pt>
                <c:pt idx="6063">
                  <c:v>0.64850290200000005</c:v>
                </c:pt>
                <c:pt idx="6064">
                  <c:v>0.64844970999999996</c:v>
                </c:pt>
                <c:pt idx="6065">
                  <c:v>0.64839933699999996</c:v>
                </c:pt>
                <c:pt idx="6066">
                  <c:v>0.64834893900000001</c:v>
                </c:pt>
                <c:pt idx="6067">
                  <c:v>0.64829574700000003</c:v>
                </c:pt>
                <c:pt idx="6068">
                  <c:v>0.648141784</c:v>
                </c:pt>
                <c:pt idx="6069">
                  <c:v>0.64808941200000003</c:v>
                </c:pt>
                <c:pt idx="6070">
                  <c:v>0.64804101400000003</c:v>
                </c:pt>
                <c:pt idx="6071">
                  <c:v>0.64798782099999996</c:v>
                </c:pt>
                <c:pt idx="6072">
                  <c:v>0.64793742300000001</c:v>
                </c:pt>
                <c:pt idx="6073">
                  <c:v>0.64783665300000004</c:v>
                </c:pt>
                <c:pt idx="6074">
                  <c:v>0.64778507500000004</c:v>
                </c:pt>
                <c:pt idx="6075">
                  <c:v>0.64752872699999997</c:v>
                </c:pt>
                <c:pt idx="6076">
                  <c:v>0.64727158399999996</c:v>
                </c:pt>
                <c:pt idx="6077">
                  <c:v>0.64722121200000005</c:v>
                </c:pt>
                <c:pt idx="6078">
                  <c:v>0.64696165900000002</c:v>
                </c:pt>
                <c:pt idx="6079">
                  <c:v>0.64675932300000005</c:v>
                </c:pt>
                <c:pt idx="6080">
                  <c:v>0.64650017999999998</c:v>
                </c:pt>
                <c:pt idx="6081">
                  <c:v>0.64634980600000003</c:v>
                </c:pt>
                <c:pt idx="6082">
                  <c:v>0.64629740899999999</c:v>
                </c:pt>
                <c:pt idx="6083">
                  <c:v>0.646247036</c:v>
                </c:pt>
                <c:pt idx="6084">
                  <c:v>0.64619584399999996</c:v>
                </c:pt>
                <c:pt idx="6085">
                  <c:v>0.64614106199999999</c:v>
                </c:pt>
                <c:pt idx="6086">
                  <c:v>0.64604188100000004</c:v>
                </c:pt>
                <c:pt idx="6087">
                  <c:v>0.64526965700000005</c:v>
                </c:pt>
                <c:pt idx="6088">
                  <c:v>0.64465780500000003</c:v>
                </c:pt>
                <c:pt idx="6089">
                  <c:v>0.64465739399999999</c:v>
                </c:pt>
                <c:pt idx="6090">
                  <c:v>0.64445064900000004</c:v>
                </c:pt>
                <c:pt idx="6091">
                  <c:v>0.64440027700000002</c:v>
                </c:pt>
                <c:pt idx="6092">
                  <c:v>0.64434987899999996</c:v>
                </c:pt>
                <c:pt idx="6093">
                  <c:v>0.64429668699999998</c:v>
                </c:pt>
                <c:pt idx="6094">
                  <c:v>0.64424631399999999</c:v>
                </c:pt>
                <c:pt idx="6095">
                  <c:v>0.64419550599999997</c:v>
                </c:pt>
                <c:pt idx="6096">
                  <c:v>0.64409035199999998</c:v>
                </c:pt>
                <c:pt idx="6097">
                  <c:v>0.64399117100000003</c:v>
                </c:pt>
                <c:pt idx="6098">
                  <c:v>0.64393956799999996</c:v>
                </c:pt>
                <c:pt idx="6099">
                  <c:v>0.64388758000000001</c:v>
                </c:pt>
                <c:pt idx="6100">
                  <c:v>0.64383720799999999</c:v>
                </c:pt>
                <c:pt idx="6101">
                  <c:v>0.64378401500000004</c:v>
                </c:pt>
                <c:pt idx="6102">
                  <c:v>0.64368324499999996</c:v>
                </c:pt>
                <c:pt idx="6103">
                  <c:v>0.64363005299999998</c:v>
                </c:pt>
                <c:pt idx="6104">
                  <c:v>0.64357965399999995</c:v>
                </c:pt>
                <c:pt idx="6105">
                  <c:v>0.64352928200000004</c:v>
                </c:pt>
                <c:pt idx="6106">
                  <c:v>0.643424102</c:v>
                </c:pt>
                <c:pt idx="6107">
                  <c:v>0.643375319</c:v>
                </c:pt>
                <c:pt idx="6108">
                  <c:v>0.64332492100000005</c:v>
                </c:pt>
                <c:pt idx="6109">
                  <c:v>0.64327172899999996</c:v>
                </c:pt>
                <c:pt idx="6110">
                  <c:v>0.64322133100000001</c:v>
                </c:pt>
                <c:pt idx="6111">
                  <c:v>0.64317095800000001</c:v>
                </c:pt>
                <c:pt idx="6112">
                  <c:v>0.64317054799999995</c:v>
                </c:pt>
                <c:pt idx="6113">
                  <c:v>0.64311976500000001</c:v>
                </c:pt>
                <c:pt idx="6114">
                  <c:v>0.64296580299999995</c:v>
                </c:pt>
                <c:pt idx="6115">
                  <c:v>0.64291461000000005</c:v>
                </c:pt>
                <c:pt idx="6116">
                  <c:v>0.64270627499999999</c:v>
                </c:pt>
                <c:pt idx="6117">
                  <c:v>0.64265708200000005</c:v>
                </c:pt>
                <c:pt idx="6118">
                  <c:v>0.642553492</c:v>
                </c:pt>
                <c:pt idx="6119">
                  <c:v>0.64255231300000004</c:v>
                </c:pt>
                <c:pt idx="6120">
                  <c:v>0.64245272099999995</c:v>
                </c:pt>
                <c:pt idx="6121">
                  <c:v>0.64127339000000005</c:v>
                </c:pt>
                <c:pt idx="6122">
                  <c:v>0.64121940399999999</c:v>
                </c:pt>
                <c:pt idx="6123">
                  <c:v>0.64101545299999996</c:v>
                </c:pt>
                <c:pt idx="6124">
                  <c:v>0.64096308099999999</c:v>
                </c:pt>
                <c:pt idx="6125">
                  <c:v>0.64086348900000001</c:v>
                </c:pt>
                <c:pt idx="6126">
                  <c:v>0.64081229699999998</c:v>
                </c:pt>
                <c:pt idx="6127">
                  <c:v>0.64075792499999995</c:v>
                </c:pt>
                <c:pt idx="6128">
                  <c:v>0.640708732</c:v>
                </c:pt>
                <c:pt idx="6129">
                  <c:v>0.64065833400000005</c:v>
                </c:pt>
                <c:pt idx="6130">
                  <c:v>0.64060516700000003</c:v>
                </c:pt>
                <c:pt idx="6131">
                  <c:v>0.63978374999999998</c:v>
                </c:pt>
                <c:pt idx="6132">
                  <c:v>0.639274283</c:v>
                </c:pt>
                <c:pt idx="6133">
                  <c:v>0.63906712799999998</c:v>
                </c:pt>
                <c:pt idx="6134">
                  <c:v>0.63906592299999998</c:v>
                </c:pt>
                <c:pt idx="6135">
                  <c:v>0.63830010800000003</c:v>
                </c:pt>
                <c:pt idx="6136">
                  <c:v>0.63824691600000005</c:v>
                </c:pt>
                <c:pt idx="6137">
                  <c:v>0.63824571100000005</c:v>
                </c:pt>
                <c:pt idx="6138">
                  <c:v>0.63804296500000002</c:v>
                </c:pt>
                <c:pt idx="6139">
                  <c:v>0.63799256699999995</c:v>
                </c:pt>
                <c:pt idx="6140">
                  <c:v>0.63793937499999998</c:v>
                </c:pt>
                <c:pt idx="6141">
                  <c:v>0.63793819500000004</c:v>
                </c:pt>
                <c:pt idx="6142">
                  <c:v>0.63788900199999998</c:v>
                </c:pt>
                <c:pt idx="6143">
                  <c:v>0.63783860400000003</c:v>
                </c:pt>
                <c:pt idx="6144">
                  <c:v>0.63773624399999995</c:v>
                </c:pt>
                <c:pt idx="6145">
                  <c:v>0.63768305199999997</c:v>
                </c:pt>
                <c:pt idx="6146">
                  <c:v>0.63763265400000002</c:v>
                </c:pt>
                <c:pt idx="6147">
                  <c:v>0.63763065399999996</c:v>
                </c:pt>
                <c:pt idx="6148">
                  <c:v>0.63758225599999996</c:v>
                </c:pt>
                <c:pt idx="6149">
                  <c:v>0.63747869099999999</c:v>
                </c:pt>
                <c:pt idx="6150">
                  <c:v>0.63742829300000003</c:v>
                </c:pt>
                <c:pt idx="6151">
                  <c:v>0.63737512600000001</c:v>
                </c:pt>
                <c:pt idx="6152">
                  <c:v>0.63717076500000003</c:v>
                </c:pt>
                <c:pt idx="6153">
                  <c:v>0.63706999499999994</c:v>
                </c:pt>
                <c:pt idx="6154">
                  <c:v>0.63701839199999999</c:v>
                </c:pt>
                <c:pt idx="6155">
                  <c:v>0.63691603200000002</c:v>
                </c:pt>
                <c:pt idx="6156">
                  <c:v>0.63686283899999996</c:v>
                </c:pt>
                <c:pt idx="6157">
                  <c:v>0.63681244100000001</c:v>
                </c:pt>
                <c:pt idx="6158">
                  <c:v>0.63681044200000003</c:v>
                </c:pt>
                <c:pt idx="6159">
                  <c:v>0.63670887700000001</c:v>
                </c:pt>
                <c:pt idx="6160">
                  <c:v>0.63660810599999995</c:v>
                </c:pt>
                <c:pt idx="6161">
                  <c:v>0.63655491399999997</c:v>
                </c:pt>
                <c:pt idx="6162">
                  <c:v>0.63650251599999996</c:v>
                </c:pt>
                <c:pt idx="6163">
                  <c:v>0.63635096300000005</c:v>
                </c:pt>
                <c:pt idx="6164">
                  <c:v>0.63619500100000004</c:v>
                </c:pt>
                <c:pt idx="6165">
                  <c:v>0.63604142200000002</c:v>
                </c:pt>
                <c:pt idx="6166">
                  <c:v>0.63593944700000005</c:v>
                </c:pt>
                <c:pt idx="6167">
                  <c:v>0.63593865199999999</c:v>
                </c:pt>
                <c:pt idx="6168">
                  <c:v>0.63588907400000005</c:v>
                </c:pt>
                <c:pt idx="6169">
                  <c:v>0.63578827800000004</c:v>
                </c:pt>
                <c:pt idx="6170">
                  <c:v>0.63573511199999999</c:v>
                </c:pt>
                <c:pt idx="6171">
                  <c:v>0.63573349700000004</c:v>
                </c:pt>
                <c:pt idx="6172">
                  <c:v>0.63568471400000004</c:v>
                </c:pt>
                <c:pt idx="6173">
                  <c:v>0.63568230400000003</c:v>
                </c:pt>
                <c:pt idx="6174">
                  <c:v>0.63563431500000001</c:v>
                </c:pt>
                <c:pt idx="6175">
                  <c:v>0.63558114899999996</c:v>
                </c:pt>
                <c:pt idx="6176">
                  <c:v>0.635530751</c:v>
                </c:pt>
                <c:pt idx="6177">
                  <c:v>0.63548035300000005</c:v>
                </c:pt>
                <c:pt idx="6178">
                  <c:v>0.63542918500000001</c:v>
                </c:pt>
                <c:pt idx="6179">
                  <c:v>0.63532559499999997</c:v>
                </c:pt>
                <c:pt idx="6180">
                  <c:v>0.63522202999999999</c:v>
                </c:pt>
                <c:pt idx="6181">
                  <c:v>0.63522082499999999</c:v>
                </c:pt>
                <c:pt idx="6182">
                  <c:v>0.63517163200000004</c:v>
                </c:pt>
                <c:pt idx="6183">
                  <c:v>0.63512123399999998</c:v>
                </c:pt>
                <c:pt idx="6184">
                  <c:v>0.63506806699999996</c:v>
                </c:pt>
                <c:pt idx="6185">
                  <c:v>0.63501766900000001</c:v>
                </c:pt>
                <c:pt idx="6186">
                  <c:v>0.63491648899999997</c:v>
                </c:pt>
                <c:pt idx="6187">
                  <c:v>0.634812924</c:v>
                </c:pt>
                <c:pt idx="6188">
                  <c:v>0.63476252600000005</c:v>
                </c:pt>
                <c:pt idx="6189">
                  <c:v>0.63471133300000004</c:v>
                </c:pt>
                <c:pt idx="6190">
                  <c:v>0.63465896099999997</c:v>
                </c:pt>
                <c:pt idx="6191">
                  <c:v>0.63465696199999999</c:v>
                </c:pt>
                <c:pt idx="6192">
                  <c:v>0.63460856300000001</c:v>
                </c:pt>
                <c:pt idx="6193">
                  <c:v>0.63455537100000003</c:v>
                </c:pt>
                <c:pt idx="6194">
                  <c:v>0.63450499800000004</c:v>
                </c:pt>
                <c:pt idx="6195">
                  <c:v>0.63424665000000002</c:v>
                </c:pt>
                <c:pt idx="6196">
                  <c:v>0.63409309800000002</c:v>
                </c:pt>
                <c:pt idx="6197">
                  <c:v>0.63404390399999999</c:v>
                </c:pt>
                <c:pt idx="6198">
                  <c:v>0.63399350600000004</c:v>
                </c:pt>
                <c:pt idx="6199">
                  <c:v>0.63388994200000004</c:v>
                </c:pt>
                <c:pt idx="6200">
                  <c:v>0.63388794199999998</c:v>
                </c:pt>
                <c:pt idx="6201">
                  <c:v>0.63383954300000001</c:v>
                </c:pt>
                <c:pt idx="6202">
                  <c:v>0.63353241199999999</c:v>
                </c:pt>
                <c:pt idx="6203">
                  <c:v>0.63347922000000001</c:v>
                </c:pt>
                <c:pt idx="6204">
                  <c:v>0.63342884799999999</c:v>
                </c:pt>
                <c:pt idx="6205">
                  <c:v>0.63337845000000004</c:v>
                </c:pt>
                <c:pt idx="6206">
                  <c:v>0.63332525699999997</c:v>
                </c:pt>
                <c:pt idx="6207">
                  <c:v>0.63327488499999995</c:v>
                </c:pt>
                <c:pt idx="6208">
                  <c:v>0.633173294</c:v>
                </c:pt>
                <c:pt idx="6209">
                  <c:v>0.63312092200000003</c:v>
                </c:pt>
                <c:pt idx="6210">
                  <c:v>0.63311892199999997</c:v>
                </c:pt>
                <c:pt idx="6211">
                  <c:v>0.63307052399999997</c:v>
                </c:pt>
                <c:pt idx="6212">
                  <c:v>0.63301733199999999</c:v>
                </c:pt>
                <c:pt idx="6213">
                  <c:v>0.63286257400000001</c:v>
                </c:pt>
                <c:pt idx="6214">
                  <c:v>0.63276259800000001</c:v>
                </c:pt>
                <c:pt idx="6215">
                  <c:v>0.63250507099999997</c:v>
                </c:pt>
                <c:pt idx="6216">
                  <c:v>0.63245467300000002</c:v>
                </c:pt>
                <c:pt idx="6217">
                  <c:v>0.63240427399999999</c:v>
                </c:pt>
                <c:pt idx="6218">
                  <c:v>0.63235310700000003</c:v>
                </c:pt>
                <c:pt idx="6219">
                  <c:v>0.63214595200000001</c:v>
                </c:pt>
                <c:pt idx="6220">
                  <c:v>0.63209555399999995</c:v>
                </c:pt>
                <c:pt idx="6221">
                  <c:v>0.63209355499999997</c:v>
                </c:pt>
                <c:pt idx="6222">
                  <c:v>0.63204518200000004</c:v>
                </c:pt>
                <c:pt idx="6223">
                  <c:v>0.63199198899999998</c:v>
                </c:pt>
                <c:pt idx="6224">
                  <c:v>0.63194159100000002</c:v>
                </c:pt>
                <c:pt idx="6225">
                  <c:v>0.63163525499999995</c:v>
                </c:pt>
                <c:pt idx="6226">
                  <c:v>0.63127254799999999</c:v>
                </c:pt>
                <c:pt idx="6227">
                  <c:v>0.63040355199999998</c:v>
                </c:pt>
                <c:pt idx="6228">
                  <c:v>0.63035036</c:v>
                </c:pt>
                <c:pt idx="6229">
                  <c:v>0.63030198699999995</c:v>
                </c:pt>
                <c:pt idx="6230">
                  <c:v>0.63014802400000003</c:v>
                </c:pt>
                <c:pt idx="6231">
                  <c:v>0.63009721600000002</c:v>
                </c:pt>
                <c:pt idx="6232">
                  <c:v>0.63004604900000005</c:v>
                </c:pt>
                <c:pt idx="6233">
                  <c:v>0.62999285599999999</c:v>
                </c:pt>
                <c:pt idx="6234">
                  <c:v>0.62999165199999996</c:v>
                </c:pt>
                <c:pt idx="6235">
                  <c:v>0.62994007399999996</c:v>
                </c:pt>
                <c:pt idx="6236">
                  <c:v>0.62983689399999998</c:v>
                </c:pt>
                <c:pt idx="6237">
                  <c:v>0.62978649600000003</c:v>
                </c:pt>
                <c:pt idx="6238">
                  <c:v>0.62973812299999998</c:v>
                </c:pt>
                <c:pt idx="6239">
                  <c:v>0.62963253299999999</c:v>
                </c:pt>
                <c:pt idx="6240">
                  <c:v>0.62958413400000002</c:v>
                </c:pt>
                <c:pt idx="6241">
                  <c:v>0.62953014799999996</c:v>
                </c:pt>
                <c:pt idx="6242">
                  <c:v>0.62947898000000002</c:v>
                </c:pt>
                <c:pt idx="6243">
                  <c:v>0.62943017199999995</c:v>
                </c:pt>
                <c:pt idx="6244">
                  <c:v>0.62937380099999995</c:v>
                </c:pt>
                <c:pt idx="6245">
                  <c:v>0.62911986200000003</c:v>
                </c:pt>
                <c:pt idx="6246">
                  <c:v>0.62907146300000005</c:v>
                </c:pt>
                <c:pt idx="6247">
                  <c:v>0.62901747600000002</c:v>
                </c:pt>
                <c:pt idx="6248">
                  <c:v>0.62865835800000003</c:v>
                </c:pt>
                <c:pt idx="6249">
                  <c:v>0.62855917699999997</c:v>
                </c:pt>
                <c:pt idx="6250">
                  <c:v>0.62845481700000005</c:v>
                </c:pt>
                <c:pt idx="6251">
                  <c:v>0.62840162499999996</c:v>
                </c:pt>
                <c:pt idx="6252">
                  <c:v>0.62829964999999999</c:v>
                </c:pt>
                <c:pt idx="6253">
                  <c:v>0.62824845699999998</c:v>
                </c:pt>
                <c:pt idx="6254">
                  <c:v>0.62804612100000001</c:v>
                </c:pt>
                <c:pt idx="6255">
                  <c:v>0.62794253099999997</c:v>
                </c:pt>
                <c:pt idx="6256">
                  <c:v>0.62794094099999997</c:v>
                </c:pt>
                <c:pt idx="6257">
                  <c:v>0.62778497899999997</c:v>
                </c:pt>
                <c:pt idx="6258">
                  <c:v>0.62773657999999999</c:v>
                </c:pt>
                <c:pt idx="6259">
                  <c:v>0.62773578600000002</c:v>
                </c:pt>
                <c:pt idx="6260">
                  <c:v>0.62768379799999996</c:v>
                </c:pt>
                <c:pt idx="6261">
                  <c:v>0.62763581000000002</c:v>
                </c:pt>
                <c:pt idx="6262">
                  <c:v>0.62757982300000004</c:v>
                </c:pt>
                <c:pt idx="6263">
                  <c:v>0.62752942499999997</c:v>
                </c:pt>
                <c:pt idx="6264">
                  <c:v>0.62747943699999997</c:v>
                </c:pt>
                <c:pt idx="6265">
                  <c:v>0.62717192200000005</c:v>
                </c:pt>
                <c:pt idx="6266">
                  <c:v>0.62712031899999998</c:v>
                </c:pt>
                <c:pt idx="6267">
                  <c:v>0.62707194600000005</c:v>
                </c:pt>
                <c:pt idx="6268">
                  <c:v>0.62702075300000004</c:v>
                </c:pt>
                <c:pt idx="6269">
                  <c:v>0.62691516300000005</c:v>
                </c:pt>
                <c:pt idx="6270">
                  <c:v>0.62686399599999998</c:v>
                </c:pt>
                <c:pt idx="6271">
                  <c:v>0.626815597</c:v>
                </c:pt>
                <c:pt idx="6272">
                  <c:v>0.62676160999999997</c:v>
                </c:pt>
                <c:pt idx="6273">
                  <c:v>0.62671041800000005</c:v>
                </c:pt>
                <c:pt idx="6274">
                  <c:v>0.62660764800000002</c:v>
                </c:pt>
                <c:pt idx="6275">
                  <c:v>0.62655645500000001</c:v>
                </c:pt>
                <c:pt idx="6276">
                  <c:v>0.62650767200000002</c:v>
                </c:pt>
                <c:pt idx="6277">
                  <c:v>0.62645409500000004</c:v>
                </c:pt>
                <c:pt idx="6278">
                  <c:v>0.62640249199999998</c:v>
                </c:pt>
                <c:pt idx="6279">
                  <c:v>0.62635129899999997</c:v>
                </c:pt>
                <c:pt idx="6280">
                  <c:v>0.62630331100000003</c:v>
                </c:pt>
                <c:pt idx="6281">
                  <c:v>0.62614934799999999</c:v>
                </c:pt>
                <c:pt idx="6282">
                  <c:v>0.62609497700000005</c:v>
                </c:pt>
                <c:pt idx="6283">
                  <c:v>0.62604378400000005</c:v>
                </c:pt>
                <c:pt idx="6284">
                  <c:v>0.62599538499999996</c:v>
                </c:pt>
                <c:pt idx="6285">
                  <c:v>0.62588982100000001</c:v>
                </c:pt>
                <c:pt idx="6286">
                  <c:v>0.62584142200000004</c:v>
                </c:pt>
                <c:pt idx="6287">
                  <c:v>0.62578543600000003</c:v>
                </c:pt>
                <c:pt idx="6288">
                  <c:v>0.62573624299999997</c:v>
                </c:pt>
                <c:pt idx="6289">
                  <c:v>0.62568787000000003</c:v>
                </c:pt>
                <c:pt idx="6290">
                  <c:v>0.62563347199999997</c:v>
                </c:pt>
                <c:pt idx="6291">
                  <c:v>0.62558228000000005</c:v>
                </c:pt>
                <c:pt idx="6292">
                  <c:v>0.625533907</c:v>
                </c:pt>
                <c:pt idx="6293">
                  <c:v>0.625482714</c:v>
                </c:pt>
                <c:pt idx="6294">
                  <c:v>0.62542872699999996</c:v>
                </c:pt>
                <c:pt idx="6295">
                  <c:v>0.62537712400000001</c:v>
                </c:pt>
                <c:pt idx="6296">
                  <c:v>0.62532875099999996</c:v>
                </c:pt>
                <c:pt idx="6297">
                  <c:v>0.62527276499999995</c:v>
                </c:pt>
                <c:pt idx="6298">
                  <c:v>0.625222367</c:v>
                </c:pt>
                <c:pt idx="6299">
                  <c:v>0.625172379</c:v>
                </c:pt>
                <c:pt idx="6300">
                  <c:v>0.62512400599999995</c:v>
                </c:pt>
                <c:pt idx="6301">
                  <c:v>0.62506960899999997</c:v>
                </c:pt>
                <c:pt idx="6302">
                  <c:v>0.62501841599999997</c:v>
                </c:pt>
                <c:pt idx="6303">
                  <c:v>0.62497004300000003</c:v>
                </c:pt>
                <c:pt idx="6304">
                  <c:v>0.624916056</c:v>
                </c:pt>
                <c:pt idx="6305">
                  <c:v>0.62486445300000004</c:v>
                </c:pt>
                <c:pt idx="6306">
                  <c:v>0.62481605399999995</c:v>
                </c:pt>
                <c:pt idx="6307">
                  <c:v>0.62475968299999995</c:v>
                </c:pt>
                <c:pt idx="6308">
                  <c:v>0.62465970699999995</c:v>
                </c:pt>
                <c:pt idx="6309">
                  <c:v>0.62455973200000003</c:v>
                </c:pt>
                <c:pt idx="6310">
                  <c:v>0.62450374500000005</c:v>
                </c:pt>
                <c:pt idx="6311">
                  <c:v>0.62445334699999999</c:v>
                </c:pt>
                <c:pt idx="6312">
                  <c:v>0.62440335899999999</c:v>
                </c:pt>
                <c:pt idx="6313">
                  <c:v>0.62435498599999995</c:v>
                </c:pt>
                <c:pt idx="6314">
                  <c:v>0.62430058899999996</c:v>
                </c:pt>
                <c:pt idx="6315">
                  <c:v>0.62424939599999996</c:v>
                </c:pt>
                <c:pt idx="6316">
                  <c:v>0.62419820299999995</c:v>
                </c:pt>
                <c:pt idx="6317">
                  <c:v>0.62414941999999995</c:v>
                </c:pt>
                <c:pt idx="6318">
                  <c:v>0.62394467499999995</c:v>
                </c:pt>
                <c:pt idx="6319">
                  <c:v>0.62389068800000003</c:v>
                </c:pt>
                <c:pt idx="6320">
                  <c:v>0.62384190500000003</c:v>
                </c:pt>
                <c:pt idx="6321">
                  <c:v>0.623787918</c:v>
                </c:pt>
                <c:pt idx="6322">
                  <c:v>0.62373672499999999</c:v>
                </c:pt>
                <c:pt idx="6323">
                  <c:v>0.623687942</c:v>
                </c:pt>
                <c:pt idx="6324">
                  <c:v>0.62363433999999995</c:v>
                </c:pt>
                <c:pt idx="6325">
                  <c:v>0.62358276199999996</c:v>
                </c:pt>
                <c:pt idx="6326">
                  <c:v>0.62353477400000001</c:v>
                </c:pt>
                <c:pt idx="6327">
                  <c:v>0.62348037700000003</c:v>
                </c:pt>
                <c:pt idx="6328">
                  <c:v>0.62342918400000003</c:v>
                </c:pt>
                <c:pt idx="6329">
                  <c:v>0.62338081099999998</c:v>
                </c:pt>
                <c:pt idx="6330">
                  <c:v>0.623326414</c:v>
                </c:pt>
                <c:pt idx="6331">
                  <c:v>0.62327522099999999</c:v>
                </c:pt>
                <c:pt idx="6332">
                  <c:v>0.62322684800000006</c:v>
                </c:pt>
                <c:pt idx="6333">
                  <c:v>0.62317565500000005</c:v>
                </c:pt>
                <c:pt idx="6334">
                  <c:v>0.62312166800000002</c:v>
                </c:pt>
                <c:pt idx="6335">
                  <c:v>0.62307288500000002</c:v>
                </c:pt>
                <c:pt idx="6336">
                  <c:v>0.62301889799999999</c:v>
                </c:pt>
                <c:pt idx="6337">
                  <c:v>0.62296770599999995</c:v>
                </c:pt>
                <c:pt idx="6338">
                  <c:v>0.62291892199999999</c:v>
                </c:pt>
                <c:pt idx="6339">
                  <c:v>0.62286531999999994</c:v>
                </c:pt>
                <c:pt idx="6340">
                  <c:v>0.62281374300000003</c:v>
                </c:pt>
                <c:pt idx="6341">
                  <c:v>0.622765754</c:v>
                </c:pt>
                <c:pt idx="6342">
                  <c:v>0.62265937000000005</c:v>
                </c:pt>
                <c:pt idx="6343">
                  <c:v>0.62261179099999997</c:v>
                </c:pt>
                <c:pt idx="6344">
                  <c:v>0.62255739399999999</c:v>
                </c:pt>
                <c:pt idx="6345">
                  <c:v>0.62245782900000002</c:v>
                </c:pt>
                <c:pt idx="6346">
                  <c:v>0.62240663600000001</c:v>
                </c:pt>
                <c:pt idx="6347">
                  <c:v>0.62219868599999995</c:v>
                </c:pt>
                <c:pt idx="6348">
                  <c:v>0.62209630000000005</c:v>
                </c:pt>
                <c:pt idx="6349">
                  <c:v>0.62204472300000002</c:v>
                </c:pt>
                <c:pt idx="6350">
                  <c:v>0.62194233799999998</c:v>
                </c:pt>
                <c:pt idx="6351">
                  <c:v>0.62183956799999995</c:v>
                </c:pt>
                <c:pt idx="6352">
                  <c:v>0.62179157900000004</c:v>
                </c:pt>
                <c:pt idx="6353">
                  <c:v>0.62173718200000005</c:v>
                </c:pt>
                <c:pt idx="6354">
                  <c:v>0.62142966600000005</c:v>
                </c:pt>
                <c:pt idx="6355">
                  <c:v>0.62137726900000001</c:v>
                </c:pt>
                <c:pt idx="6356">
                  <c:v>0.62127890799999996</c:v>
                </c:pt>
                <c:pt idx="6357">
                  <c:v>0.62117331799999997</c:v>
                </c:pt>
                <c:pt idx="6358">
                  <c:v>0.62107375200000003</c:v>
                </c:pt>
                <c:pt idx="6359">
                  <c:v>0.620609454</c:v>
                </c:pt>
                <c:pt idx="6360">
                  <c:v>0.62055787699999998</c:v>
                </c:pt>
                <c:pt idx="6361">
                  <c:v>0.620509478</c:v>
                </c:pt>
                <c:pt idx="6362">
                  <c:v>0.62045549099999997</c:v>
                </c:pt>
                <c:pt idx="6363">
                  <c:v>0.62040429900000005</c:v>
                </c:pt>
                <c:pt idx="6364">
                  <c:v>0.62030152800000005</c:v>
                </c:pt>
                <c:pt idx="6365">
                  <c:v>0.62025033600000001</c:v>
                </c:pt>
                <c:pt idx="6366">
                  <c:v>0.62020196299999997</c:v>
                </c:pt>
                <c:pt idx="6367">
                  <c:v>0.62014556600000004</c:v>
                </c:pt>
                <c:pt idx="6368">
                  <c:v>0.62009957699999996</c:v>
                </c:pt>
                <c:pt idx="6369">
                  <c:v>0.61994282000000001</c:v>
                </c:pt>
                <c:pt idx="6370">
                  <c:v>0.61988962800000003</c:v>
                </c:pt>
                <c:pt idx="6371">
                  <c:v>0.61984043499999997</c:v>
                </c:pt>
                <c:pt idx="6372">
                  <c:v>0.61978885699999997</c:v>
                </c:pt>
                <c:pt idx="6373">
                  <c:v>0.61974086900000003</c:v>
                </c:pt>
                <c:pt idx="6374">
                  <c:v>0.61968647200000004</c:v>
                </c:pt>
                <c:pt idx="6375">
                  <c:v>0.61958408600000003</c:v>
                </c:pt>
                <c:pt idx="6376">
                  <c:v>0.619481316</c:v>
                </c:pt>
                <c:pt idx="6377">
                  <c:v>0.619430123</c:v>
                </c:pt>
                <c:pt idx="6378">
                  <c:v>0.61933055800000003</c:v>
                </c:pt>
                <c:pt idx="6379">
                  <c:v>0.61917380099999997</c:v>
                </c:pt>
                <c:pt idx="6380">
                  <c:v>0.61912540199999999</c:v>
                </c:pt>
                <c:pt idx="6381">
                  <c:v>0.61907062000000002</c:v>
                </c:pt>
                <c:pt idx="6382">
                  <c:v>0.61897143899999996</c:v>
                </c:pt>
                <c:pt idx="6383">
                  <c:v>0.61881747600000003</c:v>
                </c:pt>
                <c:pt idx="6384">
                  <c:v>0.61871229699999997</c:v>
                </c:pt>
                <c:pt idx="6385">
                  <c:v>0.61866392400000003</c:v>
                </c:pt>
                <c:pt idx="6386">
                  <c:v>0.61860752699999999</c:v>
                </c:pt>
                <c:pt idx="6387">
                  <c:v>0.618509961</c:v>
                </c:pt>
                <c:pt idx="6388">
                  <c:v>0.61845597399999996</c:v>
                </c:pt>
                <c:pt idx="6389">
                  <c:v>0.61835158899999998</c:v>
                </c:pt>
                <c:pt idx="6390">
                  <c:v>0.61789208399999995</c:v>
                </c:pt>
                <c:pt idx="6391">
                  <c:v>0.61779251899999998</c:v>
                </c:pt>
                <c:pt idx="6392">
                  <c:v>0.61774132599999998</c:v>
                </c:pt>
                <c:pt idx="6393">
                  <c:v>0.61727943699999999</c:v>
                </c:pt>
                <c:pt idx="6394">
                  <c:v>0.61722544999999995</c:v>
                </c:pt>
                <c:pt idx="6395">
                  <c:v>0.617175052</c:v>
                </c:pt>
                <c:pt idx="6396">
                  <c:v>0.61717425800000003</c:v>
                </c:pt>
                <c:pt idx="6397">
                  <c:v>0.61712547399999995</c:v>
                </c:pt>
                <c:pt idx="6398">
                  <c:v>0.61696910199999999</c:v>
                </c:pt>
                <c:pt idx="6399">
                  <c:v>0.61661280299999999</c:v>
                </c:pt>
                <c:pt idx="6400">
                  <c:v>0.61625406900000002</c:v>
                </c:pt>
                <c:pt idx="6401">
                  <c:v>0.61619969799999996</c:v>
                </c:pt>
                <c:pt idx="6402">
                  <c:v>0.61609972199999996</c:v>
                </c:pt>
                <c:pt idx="6403">
                  <c:v>0.61609772200000001</c:v>
                </c:pt>
                <c:pt idx="6404">
                  <c:v>0.61604932400000001</c:v>
                </c:pt>
                <c:pt idx="6405">
                  <c:v>0.61599613200000003</c:v>
                </c:pt>
                <c:pt idx="6406">
                  <c:v>0.61599492700000003</c:v>
                </c:pt>
                <c:pt idx="6407">
                  <c:v>0.61563621800000001</c:v>
                </c:pt>
                <c:pt idx="6408">
                  <c:v>0.61548546000000004</c:v>
                </c:pt>
                <c:pt idx="6409">
                  <c:v>0.61543106299999994</c:v>
                </c:pt>
                <c:pt idx="6410">
                  <c:v>0.61522590700000002</c:v>
                </c:pt>
                <c:pt idx="6411">
                  <c:v>0.61517474000000005</c:v>
                </c:pt>
                <c:pt idx="6412">
                  <c:v>0.61507235400000004</c:v>
                </c:pt>
                <c:pt idx="6413">
                  <c:v>0.61496958400000001</c:v>
                </c:pt>
                <c:pt idx="6414">
                  <c:v>0.61455968299999997</c:v>
                </c:pt>
                <c:pt idx="6415">
                  <c:v>0.61450849100000005</c:v>
                </c:pt>
                <c:pt idx="6416">
                  <c:v>0.61445970699999997</c:v>
                </c:pt>
                <c:pt idx="6417">
                  <c:v>0.61440572000000004</c:v>
                </c:pt>
                <c:pt idx="6418">
                  <c:v>0.61394701100000004</c:v>
                </c:pt>
                <c:pt idx="6419">
                  <c:v>0.61389302400000001</c:v>
                </c:pt>
                <c:pt idx="6420">
                  <c:v>0.61363670100000001</c:v>
                </c:pt>
                <c:pt idx="6421">
                  <c:v>0.61358789199999997</c:v>
                </c:pt>
                <c:pt idx="6422">
                  <c:v>0.613534315</c:v>
                </c:pt>
                <c:pt idx="6423">
                  <c:v>0.61327837699999999</c:v>
                </c:pt>
                <c:pt idx="6424">
                  <c:v>0.61317799100000003</c:v>
                </c:pt>
                <c:pt idx="6425">
                  <c:v>0.61312600399999995</c:v>
                </c:pt>
                <c:pt idx="6426">
                  <c:v>0.613075221</c:v>
                </c:pt>
                <c:pt idx="6427">
                  <c:v>0.61302202900000002</c:v>
                </c:pt>
                <c:pt idx="6428">
                  <c:v>0.61297086199999995</c:v>
                </c:pt>
                <c:pt idx="6429">
                  <c:v>0.61292166800000003</c:v>
                </c:pt>
                <c:pt idx="6430">
                  <c:v>0.61287006499999996</c:v>
                </c:pt>
                <c:pt idx="6431">
                  <c:v>0.61271371900000005</c:v>
                </c:pt>
                <c:pt idx="6432">
                  <c:v>0.61261212799999998</c:v>
                </c:pt>
                <c:pt idx="6433">
                  <c:v>0.61256093499999997</c:v>
                </c:pt>
                <c:pt idx="6434">
                  <c:v>0.61251135700000003</c:v>
                </c:pt>
                <c:pt idx="6435">
                  <c:v>0.61245495999999999</c:v>
                </c:pt>
                <c:pt idx="6436">
                  <c:v>0.612407382</c:v>
                </c:pt>
                <c:pt idx="6437">
                  <c:v>0.61235698400000005</c:v>
                </c:pt>
                <c:pt idx="6438">
                  <c:v>0.61235498499999996</c:v>
                </c:pt>
                <c:pt idx="6439">
                  <c:v>0.61225341899999997</c:v>
                </c:pt>
                <c:pt idx="6440">
                  <c:v>0.61225262499999999</c:v>
                </c:pt>
                <c:pt idx="6441">
                  <c:v>0.61220302100000001</c:v>
                </c:pt>
                <c:pt idx="6442">
                  <c:v>0.61215264899999999</c:v>
                </c:pt>
                <c:pt idx="6443">
                  <c:v>0.61209945700000001</c:v>
                </c:pt>
                <c:pt idx="6444">
                  <c:v>0.61204826400000001</c:v>
                </c:pt>
                <c:pt idx="6445">
                  <c:v>0.61199668600000001</c:v>
                </c:pt>
                <c:pt idx="6446">
                  <c:v>0.61199627599999995</c:v>
                </c:pt>
                <c:pt idx="6447">
                  <c:v>0.61189550599999998</c:v>
                </c:pt>
                <c:pt idx="6448">
                  <c:v>0.61179191499999996</c:v>
                </c:pt>
                <c:pt idx="6449">
                  <c:v>0.61174033800000005</c:v>
                </c:pt>
                <c:pt idx="6450">
                  <c:v>0.61158878500000002</c:v>
                </c:pt>
                <c:pt idx="6451">
                  <c:v>0.61153559300000004</c:v>
                </c:pt>
                <c:pt idx="6452">
                  <c:v>0.61148519499999998</c:v>
                </c:pt>
                <c:pt idx="6453">
                  <c:v>0.61143482199999999</c:v>
                </c:pt>
                <c:pt idx="6454">
                  <c:v>0.61138163000000001</c:v>
                </c:pt>
                <c:pt idx="6455">
                  <c:v>0.61127885999999998</c:v>
                </c:pt>
                <c:pt idx="6456">
                  <c:v>0.61127845000000003</c:v>
                </c:pt>
                <c:pt idx="6457">
                  <c:v>0.61122766699999997</c:v>
                </c:pt>
                <c:pt idx="6458">
                  <c:v>0.61117847400000003</c:v>
                </c:pt>
                <c:pt idx="6459">
                  <c:v>0.61112687099999996</c:v>
                </c:pt>
                <c:pt idx="6460">
                  <c:v>0.61102210099999998</c:v>
                </c:pt>
                <c:pt idx="6461">
                  <c:v>0.61071458599999995</c:v>
                </c:pt>
                <c:pt idx="6462">
                  <c:v>0.61066580299999995</c:v>
                </c:pt>
                <c:pt idx="6463">
                  <c:v>0.61061181600000003</c:v>
                </c:pt>
                <c:pt idx="6464">
                  <c:v>0.61045744300000004</c:v>
                </c:pt>
                <c:pt idx="6465">
                  <c:v>0.61030706899999998</c:v>
                </c:pt>
                <c:pt idx="6466">
                  <c:v>0.61020350400000001</c:v>
                </c:pt>
                <c:pt idx="6467">
                  <c:v>0.61020188900000005</c:v>
                </c:pt>
                <c:pt idx="6468">
                  <c:v>0.61015310599999995</c:v>
                </c:pt>
                <c:pt idx="6469">
                  <c:v>0.61009911900000002</c:v>
                </c:pt>
                <c:pt idx="6470">
                  <c:v>0.61005074599999998</c:v>
                </c:pt>
                <c:pt idx="6471">
                  <c:v>0.60999675900000006</c:v>
                </c:pt>
                <c:pt idx="6472">
                  <c:v>0.60994556600000005</c:v>
                </c:pt>
                <c:pt idx="6473">
                  <c:v>0.60989678300000005</c:v>
                </c:pt>
                <c:pt idx="6474">
                  <c:v>0.60984279600000002</c:v>
                </c:pt>
                <c:pt idx="6475">
                  <c:v>0.60979160300000002</c:v>
                </c:pt>
                <c:pt idx="6476">
                  <c:v>0.60927890600000001</c:v>
                </c:pt>
                <c:pt idx="6477">
                  <c:v>0.60923053400000005</c:v>
                </c:pt>
                <c:pt idx="6478">
                  <c:v>0.60917654700000001</c:v>
                </c:pt>
                <c:pt idx="6479">
                  <c:v>0.60912494399999995</c:v>
                </c:pt>
                <c:pt idx="6480">
                  <c:v>0.60866346500000001</c:v>
                </c:pt>
                <c:pt idx="6481">
                  <c:v>0.60861506700000001</c:v>
                </c:pt>
                <c:pt idx="6482">
                  <c:v>0.60835874400000001</c:v>
                </c:pt>
                <c:pt idx="6483">
                  <c:v>0.60830555200000003</c:v>
                </c:pt>
                <c:pt idx="6484">
                  <c:v>0.60825356399999997</c:v>
                </c:pt>
                <c:pt idx="6485">
                  <c:v>0.60799800999999998</c:v>
                </c:pt>
                <c:pt idx="6486">
                  <c:v>0.60794763799999996</c:v>
                </c:pt>
                <c:pt idx="6487">
                  <c:v>0.607946023</c:v>
                </c:pt>
                <c:pt idx="6488">
                  <c:v>0.60789724000000001</c:v>
                </c:pt>
                <c:pt idx="6489">
                  <c:v>0.60784566299999998</c:v>
                </c:pt>
                <c:pt idx="6490">
                  <c:v>0.60784325299999997</c:v>
                </c:pt>
                <c:pt idx="6491">
                  <c:v>0.60774168799999995</c:v>
                </c:pt>
                <c:pt idx="6492">
                  <c:v>0.6076897</c:v>
                </c:pt>
                <c:pt idx="6493">
                  <c:v>0.60738295399999997</c:v>
                </c:pt>
                <c:pt idx="6494">
                  <c:v>0.60733258099999998</c:v>
                </c:pt>
                <c:pt idx="6495">
                  <c:v>0.60733058200000001</c:v>
                </c:pt>
                <c:pt idx="6496">
                  <c:v>0.60727859399999995</c:v>
                </c:pt>
                <c:pt idx="6497">
                  <c:v>0.607278184</c:v>
                </c:pt>
                <c:pt idx="6498">
                  <c:v>0.60723019600000006</c:v>
                </c:pt>
                <c:pt idx="6499">
                  <c:v>0.60717979799999999</c:v>
                </c:pt>
                <c:pt idx="6500">
                  <c:v>0.60712663099999997</c:v>
                </c:pt>
                <c:pt idx="6501">
                  <c:v>0.60707423299999996</c:v>
                </c:pt>
                <c:pt idx="6502">
                  <c:v>0.60702583499999996</c:v>
                </c:pt>
                <c:pt idx="6503">
                  <c:v>0.60697184800000004</c:v>
                </c:pt>
                <c:pt idx="6504">
                  <c:v>0.60692068099999996</c:v>
                </c:pt>
                <c:pt idx="6505">
                  <c:v>0.606817885</c:v>
                </c:pt>
                <c:pt idx="6506">
                  <c:v>0.60671552500000003</c:v>
                </c:pt>
                <c:pt idx="6507">
                  <c:v>0.60650916499999996</c:v>
                </c:pt>
                <c:pt idx="6508">
                  <c:v>0.60630521400000004</c:v>
                </c:pt>
                <c:pt idx="6509">
                  <c:v>0.60610285200000003</c:v>
                </c:pt>
                <c:pt idx="6510">
                  <c:v>0.605946506</c:v>
                </c:pt>
                <c:pt idx="6511">
                  <c:v>0.60589531299999999</c:v>
                </c:pt>
                <c:pt idx="6512">
                  <c:v>0.60553619400000003</c:v>
                </c:pt>
                <c:pt idx="6513">
                  <c:v>0.60548779600000002</c:v>
                </c:pt>
                <c:pt idx="6514">
                  <c:v>0.60543662899999995</c:v>
                </c:pt>
                <c:pt idx="6515">
                  <c:v>0.60538264200000003</c:v>
                </c:pt>
                <c:pt idx="6516">
                  <c:v>0.60533103899999996</c:v>
                </c:pt>
                <c:pt idx="6517">
                  <c:v>0.60528266600000002</c:v>
                </c:pt>
                <c:pt idx="6518">
                  <c:v>0.60522867899999999</c:v>
                </c:pt>
                <c:pt idx="6519">
                  <c:v>0.60517748599999999</c:v>
                </c:pt>
                <c:pt idx="6520">
                  <c:v>0.60512870299999999</c:v>
                </c:pt>
                <c:pt idx="6521">
                  <c:v>0.60507471599999996</c:v>
                </c:pt>
                <c:pt idx="6522">
                  <c:v>0.60502631699999998</c:v>
                </c:pt>
                <c:pt idx="6523">
                  <c:v>0.60497232999999995</c:v>
                </c:pt>
                <c:pt idx="6524">
                  <c:v>0.60486994500000002</c:v>
                </c:pt>
                <c:pt idx="6525">
                  <c:v>0.604818368</c:v>
                </c:pt>
                <c:pt idx="6526">
                  <c:v>0.60476996900000002</c:v>
                </c:pt>
                <c:pt idx="6527">
                  <c:v>0.60471877600000001</c:v>
                </c:pt>
                <c:pt idx="6528">
                  <c:v>0.60466478899999998</c:v>
                </c:pt>
                <c:pt idx="6529">
                  <c:v>0.60461321199999996</c:v>
                </c:pt>
                <c:pt idx="6530">
                  <c:v>0.60456201899999995</c:v>
                </c:pt>
                <c:pt idx="6531">
                  <c:v>0.60451082599999995</c:v>
                </c:pt>
                <c:pt idx="6532">
                  <c:v>0.60446245300000001</c:v>
                </c:pt>
                <c:pt idx="6533">
                  <c:v>0.60440846599999998</c:v>
                </c:pt>
                <c:pt idx="6534">
                  <c:v>0.60435686300000002</c:v>
                </c:pt>
                <c:pt idx="6535">
                  <c:v>0.60430849099999995</c:v>
                </c:pt>
                <c:pt idx="6536">
                  <c:v>0.60425450400000003</c:v>
                </c:pt>
                <c:pt idx="6537">
                  <c:v>0.60420210600000002</c:v>
                </c:pt>
                <c:pt idx="6538">
                  <c:v>0.60405055299999999</c:v>
                </c:pt>
                <c:pt idx="6539">
                  <c:v>0.60338309800000001</c:v>
                </c:pt>
                <c:pt idx="6540">
                  <c:v>0.60302477499999996</c:v>
                </c:pt>
                <c:pt idx="6541">
                  <c:v>0.60271446500000003</c:v>
                </c:pt>
                <c:pt idx="6542">
                  <c:v>0.60251130900000005</c:v>
                </c:pt>
                <c:pt idx="6543">
                  <c:v>0.60225496000000001</c:v>
                </c:pt>
                <c:pt idx="6544">
                  <c:v>0.60194744499999997</c:v>
                </c:pt>
                <c:pt idx="6545">
                  <c:v>0.60189866199999997</c:v>
                </c:pt>
                <c:pt idx="6546">
                  <c:v>0.60184546999999999</c:v>
                </c:pt>
                <c:pt idx="6547">
                  <c:v>0.60179427699999999</c:v>
                </c:pt>
                <c:pt idx="6548">
                  <c:v>0.60174508400000004</c:v>
                </c:pt>
                <c:pt idx="6549">
                  <c:v>0.60163790399999995</c:v>
                </c:pt>
                <c:pt idx="6550">
                  <c:v>0.60158953100000001</c:v>
                </c:pt>
                <c:pt idx="6551">
                  <c:v>0.601588711</c:v>
                </c:pt>
                <c:pt idx="6552">
                  <c:v>0.601488735</c:v>
                </c:pt>
                <c:pt idx="6553">
                  <c:v>0.601382376</c:v>
                </c:pt>
                <c:pt idx="6554">
                  <c:v>0.60128078500000004</c:v>
                </c:pt>
                <c:pt idx="6555">
                  <c:v>0.60118121999999996</c:v>
                </c:pt>
                <c:pt idx="6556">
                  <c:v>0.600822101</c:v>
                </c:pt>
                <c:pt idx="6557">
                  <c:v>0.60061456099999999</c:v>
                </c:pt>
                <c:pt idx="6558">
                  <c:v>0.60030702000000002</c:v>
                </c:pt>
                <c:pt idx="6559">
                  <c:v>0.60025823700000003</c:v>
                </c:pt>
                <c:pt idx="6560">
                  <c:v>0.60020424999999999</c:v>
                </c:pt>
                <c:pt idx="6561">
                  <c:v>0.59943523099999996</c:v>
                </c:pt>
                <c:pt idx="6562">
                  <c:v>0.59938403799999995</c:v>
                </c:pt>
                <c:pt idx="6563">
                  <c:v>0.59897654700000003</c:v>
                </c:pt>
                <c:pt idx="6564">
                  <c:v>0.59887136699999999</c:v>
                </c:pt>
                <c:pt idx="6565">
                  <c:v>0.59840986299999999</c:v>
                </c:pt>
                <c:pt idx="6566">
                  <c:v>0.59835866999999998</c:v>
                </c:pt>
                <c:pt idx="6567">
                  <c:v>0.59769203599999998</c:v>
                </c:pt>
                <c:pt idx="6568">
                  <c:v>0.597537663</c:v>
                </c:pt>
                <c:pt idx="6569">
                  <c:v>0.59718215900000005</c:v>
                </c:pt>
                <c:pt idx="6570">
                  <c:v>0.59702819600000001</c:v>
                </c:pt>
                <c:pt idx="6571">
                  <c:v>0.59697420899999998</c:v>
                </c:pt>
                <c:pt idx="6572">
                  <c:v>0.59687182400000005</c:v>
                </c:pt>
                <c:pt idx="6573">
                  <c:v>0.59676946399999997</c:v>
                </c:pt>
                <c:pt idx="6574">
                  <c:v>0.59666666800000001</c:v>
                </c:pt>
                <c:pt idx="6575">
                  <c:v>0.59590046799999996</c:v>
                </c:pt>
                <c:pt idx="6576">
                  <c:v>0.59584648100000004</c:v>
                </c:pt>
                <c:pt idx="6577">
                  <c:v>0.59579687800000003</c:v>
                </c:pt>
                <c:pt idx="6578">
                  <c:v>0.59574650500000004</c:v>
                </c:pt>
                <c:pt idx="6579">
                  <c:v>0.59564412</c:v>
                </c:pt>
                <c:pt idx="6580">
                  <c:v>0.59559092800000002</c:v>
                </c:pt>
                <c:pt idx="6581">
                  <c:v>0.59559013299999997</c:v>
                </c:pt>
                <c:pt idx="6582">
                  <c:v>0.59553935000000002</c:v>
                </c:pt>
                <c:pt idx="6583">
                  <c:v>0.59512862899999996</c:v>
                </c:pt>
                <c:pt idx="6584">
                  <c:v>0.59435960899999996</c:v>
                </c:pt>
                <c:pt idx="6585">
                  <c:v>0.59431082599999996</c:v>
                </c:pt>
                <c:pt idx="6586">
                  <c:v>0.59405288899999997</c:v>
                </c:pt>
                <c:pt idx="6587">
                  <c:v>0.59400251599999998</c:v>
                </c:pt>
                <c:pt idx="6588">
                  <c:v>0.59395211800000003</c:v>
                </c:pt>
                <c:pt idx="6589">
                  <c:v>0.593900541</c:v>
                </c:pt>
                <c:pt idx="6590">
                  <c:v>0.59348822999999995</c:v>
                </c:pt>
                <c:pt idx="6591">
                  <c:v>0.59261644000000002</c:v>
                </c:pt>
                <c:pt idx="6592">
                  <c:v>0.59236009199999995</c:v>
                </c:pt>
                <c:pt idx="6593">
                  <c:v>0.59205257600000005</c:v>
                </c:pt>
                <c:pt idx="6594">
                  <c:v>0.59179543300000004</c:v>
                </c:pt>
                <c:pt idx="6595">
                  <c:v>0.59128355700000002</c:v>
                </c:pt>
                <c:pt idx="6596">
                  <c:v>0.59087324600000002</c:v>
                </c:pt>
                <c:pt idx="6597">
                  <c:v>0.59082205300000001</c:v>
                </c:pt>
                <c:pt idx="6598">
                  <c:v>0.59067088400000001</c:v>
                </c:pt>
                <c:pt idx="6599">
                  <c:v>0.59061689699999997</c:v>
                </c:pt>
                <c:pt idx="6600">
                  <c:v>0.59056811399999998</c:v>
                </c:pt>
                <c:pt idx="6601">
                  <c:v>0.59051653699999995</c:v>
                </c:pt>
                <c:pt idx="6602">
                  <c:v>0.59051453700000001</c:v>
                </c:pt>
                <c:pt idx="6603">
                  <c:v>0.59035937000000005</c:v>
                </c:pt>
                <c:pt idx="6604">
                  <c:v>0.59030938200000005</c:v>
                </c:pt>
                <c:pt idx="6605">
                  <c:v>0.59025818900000004</c:v>
                </c:pt>
                <c:pt idx="6606">
                  <c:v>0.59010422600000001</c:v>
                </c:pt>
                <c:pt idx="6607">
                  <c:v>0.58979668500000004</c:v>
                </c:pt>
                <c:pt idx="6608">
                  <c:v>0.58974551799999997</c:v>
                </c:pt>
                <c:pt idx="6609">
                  <c:v>0.58964272200000001</c:v>
                </c:pt>
                <c:pt idx="6610">
                  <c:v>0.58923282099999996</c:v>
                </c:pt>
                <c:pt idx="6611">
                  <c:v>0.58918403799999997</c:v>
                </c:pt>
                <c:pt idx="6612">
                  <c:v>0.58913005100000004</c:v>
                </c:pt>
                <c:pt idx="6613">
                  <c:v>0.58907885800000004</c:v>
                </c:pt>
                <c:pt idx="6614">
                  <c:v>0.58902766500000003</c:v>
                </c:pt>
                <c:pt idx="6615">
                  <c:v>0.58897688299999995</c:v>
                </c:pt>
                <c:pt idx="6616">
                  <c:v>0.58892769</c:v>
                </c:pt>
                <c:pt idx="6617">
                  <c:v>0.588821331</c:v>
                </c:pt>
                <c:pt idx="6618">
                  <c:v>0.58851499399999996</c:v>
                </c:pt>
                <c:pt idx="6619">
                  <c:v>0.58846459600000001</c:v>
                </c:pt>
                <c:pt idx="6620">
                  <c:v>0.58841422399999999</c:v>
                </c:pt>
                <c:pt idx="6621">
                  <c:v>0.58836382600000003</c:v>
                </c:pt>
                <c:pt idx="6622">
                  <c:v>0.58831063299999997</c:v>
                </c:pt>
                <c:pt idx="6623">
                  <c:v>0.588309839</c:v>
                </c:pt>
                <c:pt idx="6624">
                  <c:v>0.58820786300000005</c:v>
                </c:pt>
                <c:pt idx="6625">
                  <c:v>0.58810268300000001</c:v>
                </c:pt>
                <c:pt idx="6626">
                  <c:v>0.58779716699999995</c:v>
                </c:pt>
                <c:pt idx="6627">
                  <c:v>0.58764358900000002</c:v>
                </c:pt>
                <c:pt idx="6628">
                  <c:v>0.587592012</c:v>
                </c:pt>
                <c:pt idx="6629">
                  <c:v>0.58697936500000003</c:v>
                </c:pt>
                <c:pt idx="6630">
                  <c:v>0.58667182399999995</c:v>
                </c:pt>
                <c:pt idx="6631">
                  <c:v>0.58646666800000002</c:v>
                </c:pt>
                <c:pt idx="6632">
                  <c:v>0.58641309100000005</c:v>
                </c:pt>
                <c:pt idx="6633">
                  <c:v>0.58620793599999999</c:v>
                </c:pt>
                <c:pt idx="6634">
                  <c:v>0.58595158700000005</c:v>
                </c:pt>
                <c:pt idx="6635">
                  <c:v>0.58579603499999999</c:v>
                </c:pt>
                <c:pt idx="6636">
                  <c:v>0.58574525200000005</c:v>
                </c:pt>
                <c:pt idx="6637">
                  <c:v>0.585697264</c:v>
                </c:pt>
                <c:pt idx="6638">
                  <c:v>0.58564407200000002</c:v>
                </c:pt>
                <c:pt idx="6639">
                  <c:v>0.58559246899999995</c:v>
                </c:pt>
                <c:pt idx="6640">
                  <c:v>0.58425799599999995</c:v>
                </c:pt>
                <c:pt idx="6641">
                  <c:v>0.584207213</c:v>
                </c:pt>
                <c:pt idx="6642">
                  <c:v>0.58415922499999995</c:v>
                </c:pt>
                <c:pt idx="6643">
                  <c:v>0.58410603299999997</c:v>
                </c:pt>
                <c:pt idx="6644">
                  <c:v>0.58399805900000001</c:v>
                </c:pt>
                <c:pt idx="6645">
                  <c:v>0.58390046699999998</c:v>
                </c:pt>
                <c:pt idx="6646">
                  <c:v>0.58384968400000004</c:v>
                </c:pt>
                <c:pt idx="6647">
                  <c:v>0.58349056600000004</c:v>
                </c:pt>
                <c:pt idx="6648">
                  <c:v>0.58338820599999996</c:v>
                </c:pt>
                <c:pt idx="6649">
                  <c:v>0.58333701299999996</c:v>
                </c:pt>
                <c:pt idx="6650">
                  <c:v>0.58323424300000004</c:v>
                </c:pt>
                <c:pt idx="6651">
                  <c:v>0.58282393200000004</c:v>
                </c:pt>
                <c:pt idx="6652">
                  <c:v>0.58277353399999998</c:v>
                </c:pt>
                <c:pt idx="6653">
                  <c:v>0.58277273900000004</c:v>
                </c:pt>
                <c:pt idx="6654">
                  <c:v>0.58271995700000001</c:v>
                </c:pt>
                <c:pt idx="6655">
                  <c:v>0.58271954699999995</c:v>
                </c:pt>
                <c:pt idx="6656">
                  <c:v>0.58261918599999996</c:v>
                </c:pt>
                <c:pt idx="6657">
                  <c:v>0.58251641600000004</c:v>
                </c:pt>
                <c:pt idx="6658">
                  <c:v>0.58226006799999996</c:v>
                </c:pt>
                <c:pt idx="6659">
                  <c:v>0.58220687599999998</c:v>
                </c:pt>
                <c:pt idx="6660">
                  <c:v>0.58159622799999999</c:v>
                </c:pt>
                <c:pt idx="6661">
                  <c:v>0.58138745800000002</c:v>
                </c:pt>
                <c:pt idx="6662">
                  <c:v>0.581184327</c:v>
                </c:pt>
                <c:pt idx="6663">
                  <c:v>0.58113113500000002</c:v>
                </c:pt>
                <c:pt idx="6664">
                  <c:v>0.58108114700000002</c:v>
                </c:pt>
                <c:pt idx="6665">
                  <c:v>0.58102995400000002</c:v>
                </c:pt>
                <c:pt idx="6666">
                  <c:v>0.58097917200000004</c:v>
                </c:pt>
                <c:pt idx="6667">
                  <c:v>0.58082479899999995</c:v>
                </c:pt>
                <c:pt idx="6668">
                  <c:v>0.58072202900000003</c:v>
                </c:pt>
                <c:pt idx="6669">
                  <c:v>0.58067083600000002</c:v>
                </c:pt>
                <c:pt idx="6670">
                  <c:v>0.58056845000000001</c:v>
                </c:pt>
                <c:pt idx="6671">
                  <c:v>0.58051687299999999</c:v>
                </c:pt>
                <c:pt idx="6672">
                  <c:v>0.580312512</c:v>
                </c:pt>
                <c:pt idx="6673">
                  <c:v>0.58031133300000004</c:v>
                </c:pt>
                <c:pt idx="6674">
                  <c:v>0.58026134500000004</c:v>
                </c:pt>
                <c:pt idx="6675">
                  <c:v>0.58020935799999995</c:v>
                </c:pt>
                <c:pt idx="6676">
                  <c:v>0.58015816499999995</c:v>
                </c:pt>
                <c:pt idx="6677">
                  <c:v>0.57989981700000004</c:v>
                </c:pt>
                <c:pt idx="6678">
                  <c:v>0.57984941899999998</c:v>
                </c:pt>
                <c:pt idx="6679">
                  <c:v>0.57923518200000002</c:v>
                </c:pt>
                <c:pt idx="6680">
                  <c:v>0.57918398999999998</c:v>
                </c:pt>
                <c:pt idx="6681">
                  <c:v>0.57913079700000003</c:v>
                </c:pt>
                <c:pt idx="6682">
                  <c:v>0.57908039899999997</c:v>
                </c:pt>
                <c:pt idx="6683">
                  <c:v>0.57903041099999997</c:v>
                </c:pt>
                <c:pt idx="6684">
                  <c:v>0.57892764100000005</c:v>
                </c:pt>
                <c:pt idx="6685">
                  <c:v>0.57887565399999996</c:v>
                </c:pt>
                <c:pt idx="6686">
                  <c:v>0.57882766500000005</c:v>
                </c:pt>
                <c:pt idx="6687">
                  <c:v>0.57877367800000001</c:v>
                </c:pt>
                <c:pt idx="6688">
                  <c:v>0.57872248599999998</c:v>
                </c:pt>
                <c:pt idx="6689">
                  <c:v>0.57867131800000005</c:v>
                </c:pt>
                <c:pt idx="6690">
                  <c:v>0.57862250999999998</c:v>
                </c:pt>
                <c:pt idx="6691">
                  <c:v>0.57851735599999998</c:v>
                </c:pt>
                <c:pt idx="6692">
                  <c:v>0.57800465899999998</c:v>
                </c:pt>
                <c:pt idx="6693">
                  <c:v>0.577389602</c:v>
                </c:pt>
                <c:pt idx="6694">
                  <c:v>0.57713407400000005</c:v>
                </c:pt>
                <c:pt idx="6695">
                  <c:v>0.57626387400000001</c:v>
                </c:pt>
                <c:pt idx="6696">
                  <c:v>0.57621029700000004</c:v>
                </c:pt>
                <c:pt idx="6697">
                  <c:v>0.57615989899999998</c:v>
                </c:pt>
                <c:pt idx="6698">
                  <c:v>0.57610832199999995</c:v>
                </c:pt>
                <c:pt idx="6699">
                  <c:v>0.57605712899999995</c:v>
                </c:pt>
                <c:pt idx="6700">
                  <c:v>0.57600552599999999</c:v>
                </c:pt>
                <c:pt idx="6701">
                  <c:v>0.57595474300000005</c:v>
                </c:pt>
                <c:pt idx="6702">
                  <c:v>0.57590275599999996</c:v>
                </c:pt>
                <c:pt idx="6703">
                  <c:v>0.57533889199999999</c:v>
                </c:pt>
                <c:pt idx="6704">
                  <c:v>0.57523571200000001</c:v>
                </c:pt>
                <c:pt idx="6705">
                  <c:v>0.57502976100000003</c:v>
                </c:pt>
                <c:pt idx="6706">
                  <c:v>0.57502935099999997</c:v>
                </c:pt>
                <c:pt idx="6707">
                  <c:v>0.57497897899999995</c:v>
                </c:pt>
                <c:pt idx="6708">
                  <c:v>0.57492858099999999</c:v>
                </c:pt>
                <c:pt idx="6709">
                  <c:v>0.57487738799999999</c:v>
                </c:pt>
                <c:pt idx="6710">
                  <c:v>0.57482622100000003</c:v>
                </c:pt>
                <c:pt idx="6711">
                  <c:v>0.57477223399999999</c:v>
                </c:pt>
                <c:pt idx="6712">
                  <c:v>0.57472383500000002</c:v>
                </c:pt>
                <c:pt idx="6713">
                  <c:v>0.57467225799999999</c:v>
                </c:pt>
                <c:pt idx="6714">
                  <c:v>0.57446710199999995</c:v>
                </c:pt>
                <c:pt idx="6715">
                  <c:v>0.57410836799999998</c:v>
                </c:pt>
                <c:pt idx="6716">
                  <c:v>0.57390323799999998</c:v>
                </c:pt>
                <c:pt idx="6717">
                  <c:v>0.57385163500000003</c:v>
                </c:pt>
                <c:pt idx="6718">
                  <c:v>0.57369808300000003</c:v>
                </c:pt>
                <c:pt idx="6719">
                  <c:v>0.57364689000000002</c:v>
                </c:pt>
                <c:pt idx="6720">
                  <c:v>0.57349172199999998</c:v>
                </c:pt>
                <c:pt idx="6721">
                  <c:v>0.57318338599999996</c:v>
                </c:pt>
                <c:pt idx="6722">
                  <c:v>0.57308302600000005</c:v>
                </c:pt>
                <c:pt idx="6723">
                  <c:v>0.57303183300000005</c:v>
                </c:pt>
                <c:pt idx="6724">
                  <c:v>0.57272429199999997</c:v>
                </c:pt>
                <c:pt idx="6725">
                  <c:v>0.572211621</c:v>
                </c:pt>
                <c:pt idx="6726">
                  <c:v>0.57205765799999997</c:v>
                </c:pt>
                <c:pt idx="6727">
                  <c:v>0.57200687500000003</c:v>
                </c:pt>
                <c:pt idx="6728">
                  <c:v>0.57200646499999996</c:v>
                </c:pt>
                <c:pt idx="6729">
                  <c:v>0.57195327299999998</c:v>
                </c:pt>
                <c:pt idx="6730">
                  <c:v>0.57190290099999996</c:v>
                </c:pt>
                <c:pt idx="6731">
                  <c:v>0.57185250300000001</c:v>
                </c:pt>
                <c:pt idx="6732">
                  <c:v>0.57180131000000001</c:v>
                </c:pt>
                <c:pt idx="6733">
                  <c:v>0.571693746</c:v>
                </c:pt>
                <c:pt idx="6734">
                  <c:v>0.57144021700000003</c:v>
                </c:pt>
                <c:pt idx="6735">
                  <c:v>0.57123744600000004</c:v>
                </c:pt>
                <c:pt idx="6736">
                  <c:v>0.57118425399999995</c:v>
                </c:pt>
                <c:pt idx="6737">
                  <c:v>0.57113388099999995</c:v>
                </c:pt>
                <c:pt idx="6738">
                  <c:v>0.57098030300000002</c:v>
                </c:pt>
                <c:pt idx="6739">
                  <c:v>0.570775967</c:v>
                </c:pt>
                <c:pt idx="6740">
                  <c:v>0.57067158200000001</c:v>
                </c:pt>
                <c:pt idx="6741">
                  <c:v>0.57062080000000004</c:v>
                </c:pt>
                <c:pt idx="6742">
                  <c:v>0.57015811699999996</c:v>
                </c:pt>
                <c:pt idx="6743">
                  <c:v>0.57010730799999998</c:v>
                </c:pt>
                <c:pt idx="6744">
                  <c:v>0.57005814099999996</c:v>
                </c:pt>
                <c:pt idx="6745">
                  <c:v>0.57000615300000002</c:v>
                </c:pt>
                <c:pt idx="6746">
                  <c:v>0.56995575499999995</c:v>
                </c:pt>
                <c:pt idx="6747">
                  <c:v>0.56990417800000004</c:v>
                </c:pt>
                <c:pt idx="6748">
                  <c:v>0.56985298500000003</c:v>
                </c:pt>
                <c:pt idx="6749">
                  <c:v>0.56980179200000003</c:v>
                </c:pt>
                <c:pt idx="6750">
                  <c:v>0.56969940699999999</c:v>
                </c:pt>
                <c:pt idx="6751">
                  <c:v>0.56893038699999998</c:v>
                </c:pt>
                <c:pt idx="6752">
                  <c:v>0.56861766800000002</c:v>
                </c:pt>
                <c:pt idx="6753">
                  <c:v>0.56846811399999997</c:v>
                </c:pt>
                <c:pt idx="6754">
                  <c:v>0.56836452400000004</c:v>
                </c:pt>
                <c:pt idx="6755">
                  <c:v>0.56821255999999998</c:v>
                </c:pt>
                <c:pt idx="6756">
                  <c:v>0.56816177800000001</c:v>
                </c:pt>
                <c:pt idx="6757">
                  <c:v>0.56810820100000003</c:v>
                </c:pt>
                <c:pt idx="6758">
                  <c:v>0.56790463499999999</c:v>
                </c:pt>
                <c:pt idx="6759">
                  <c:v>0.56785423700000004</c:v>
                </c:pt>
                <c:pt idx="6760">
                  <c:v>0.56764910700000004</c:v>
                </c:pt>
                <c:pt idx="6761">
                  <c:v>0.56759791400000004</c:v>
                </c:pt>
                <c:pt idx="6762">
                  <c:v>0.56744315599999995</c:v>
                </c:pt>
                <c:pt idx="6763">
                  <c:v>0.567392758</c:v>
                </c:pt>
                <c:pt idx="6764">
                  <c:v>0.56724038499999996</c:v>
                </c:pt>
                <c:pt idx="6765">
                  <c:v>0.56713561499999998</c:v>
                </c:pt>
                <c:pt idx="6766">
                  <c:v>0.56713520500000003</c:v>
                </c:pt>
                <c:pt idx="6767">
                  <c:v>0.56708521700000003</c:v>
                </c:pt>
                <c:pt idx="6768">
                  <c:v>0.56698285699999995</c:v>
                </c:pt>
                <c:pt idx="6769">
                  <c:v>0.56698206200000001</c:v>
                </c:pt>
                <c:pt idx="6770">
                  <c:v>0.56677690700000005</c:v>
                </c:pt>
                <c:pt idx="6771">
                  <c:v>0.56621304299999997</c:v>
                </c:pt>
                <c:pt idx="6772">
                  <c:v>0.56616105500000002</c:v>
                </c:pt>
                <c:pt idx="6773">
                  <c:v>0.565905502</c:v>
                </c:pt>
                <c:pt idx="6774">
                  <c:v>0.56585392400000001</c:v>
                </c:pt>
                <c:pt idx="6775">
                  <c:v>0.56580352599999995</c:v>
                </c:pt>
                <c:pt idx="6776">
                  <c:v>0.56580273199999997</c:v>
                </c:pt>
                <c:pt idx="6777">
                  <c:v>0.56570034599999997</c:v>
                </c:pt>
                <c:pt idx="6778">
                  <c:v>0.56564835899999999</c:v>
                </c:pt>
                <c:pt idx="6779">
                  <c:v>0.56559757600000005</c:v>
                </c:pt>
                <c:pt idx="6780">
                  <c:v>0.56539203599999999</c:v>
                </c:pt>
                <c:pt idx="6781">
                  <c:v>0.56488015899999999</c:v>
                </c:pt>
                <c:pt idx="6782">
                  <c:v>0.56436746299999996</c:v>
                </c:pt>
                <c:pt idx="6783">
                  <c:v>0.56431588499999996</c:v>
                </c:pt>
                <c:pt idx="6784">
                  <c:v>0.56426548700000001</c:v>
                </c:pt>
                <c:pt idx="6785">
                  <c:v>0.56421229500000003</c:v>
                </c:pt>
                <c:pt idx="6786">
                  <c:v>0.56416230700000003</c:v>
                </c:pt>
                <c:pt idx="6787">
                  <c:v>0.56411113999999996</c:v>
                </c:pt>
                <c:pt idx="6788">
                  <c:v>0.564059537</c:v>
                </c:pt>
                <c:pt idx="6789">
                  <c:v>0.56400834399999999</c:v>
                </c:pt>
                <c:pt idx="6790">
                  <c:v>0.56354686600000004</c:v>
                </c:pt>
                <c:pt idx="6791">
                  <c:v>0.56349567300000003</c:v>
                </c:pt>
                <c:pt idx="6792">
                  <c:v>0.56344448000000003</c:v>
                </c:pt>
                <c:pt idx="6793">
                  <c:v>0.56319013100000004</c:v>
                </c:pt>
                <c:pt idx="6794">
                  <c:v>0.56303416900000003</c:v>
                </c:pt>
                <c:pt idx="6795">
                  <c:v>0.56298379700000001</c:v>
                </c:pt>
                <c:pt idx="6796">
                  <c:v>0.56241911200000005</c:v>
                </c:pt>
                <c:pt idx="6797">
                  <c:v>0.56221398199999995</c:v>
                </c:pt>
                <c:pt idx="6798">
                  <c:v>0.56206040400000001</c:v>
                </c:pt>
                <c:pt idx="6799">
                  <c:v>0.56180408100000001</c:v>
                </c:pt>
                <c:pt idx="6800">
                  <c:v>0.56175247800000006</c:v>
                </c:pt>
                <c:pt idx="6801">
                  <c:v>0.56129059000000003</c:v>
                </c:pt>
                <c:pt idx="6802">
                  <c:v>0.56103506199999997</c:v>
                </c:pt>
                <c:pt idx="6803">
                  <c:v>0.56036760699999999</c:v>
                </c:pt>
                <c:pt idx="6804">
                  <c:v>0.55970256299999999</c:v>
                </c:pt>
                <c:pt idx="6805">
                  <c:v>0.55964898600000001</c:v>
                </c:pt>
                <c:pt idx="6806">
                  <c:v>0.559598178</c:v>
                </c:pt>
                <c:pt idx="6807">
                  <c:v>0.55955018899999998</c:v>
                </c:pt>
                <c:pt idx="6808">
                  <c:v>0.55949702300000004</c:v>
                </c:pt>
                <c:pt idx="6809">
                  <c:v>0.55944621400000005</c:v>
                </c:pt>
                <c:pt idx="6810">
                  <c:v>0.55934105999999995</c:v>
                </c:pt>
                <c:pt idx="6811">
                  <c:v>0.55929225199999999</c:v>
                </c:pt>
                <c:pt idx="6812">
                  <c:v>0.55908591699999999</c:v>
                </c:pt>
                <c:pt idx="6813">
                  <c:v>0.55903551900000004</c:v>
                </c:pt>
                <c:pt idx="6814">
                  <c:v>0.55877837600000002</c:v>
                </c:pt>
                <c:pt idx="6815">
                  <c:v>0.55867719500000002</c:v>
                </c:pt>
                <c:pt idx="6816">
                  <c:v>0.55862720700000001</c:v>
                </c:pt>
                <c:pt idx="6817">
                  <c:v>0.55857321999999998</c:v>
                </c:pt>
                <c:pt idx="6818">
                  <c:v>0.55847124500000001</c:v>
                </c:pt>
                <c:pt idx="6819">
                  <c:v>0.55842087200000001</c:v>
                </c:pt>
                <c:pt idx="6820">
                  <c:v>0.55831728199999997</c:v>
                </c:pt>
                <c:pt idx="6821">
                  <c:v>0.558214922</c:v>
                </c:pt>
                <c:pt idx="6822">
                  <c:v>0.55790738100000004</c:v>
                </c:pt>
                <c:pt idx="6823">
                  <c:v>0.55775382799999995</c:v>
                </c:pt>
                <c:pt idx="6824">
                  <c:v>0.557702225</c:v>
                </c:pt>
                <c:pt idx="6825">
                  <c:v>0.55765103199999999</c:v>
                </c:pt>
                <c:pt idx="6826">
                  <c:v>0.55759824999999996</c:v>
                </c:pt>
                <c:pt idx="6827">
                  <c:v>0.55754746700000002</c:v>
                </c:pt>
                <c:pt idx="6828">
                  <c:v>0.55749747999999999</c:v>
                </c:pt>
                <c:pt idx="6829">
                  <c:v>0.55744590199999999</c:v>
                </c:pt>
                <c:pt idx="6830">
                  <c:v>0.55739550400000004</c:v>
                </c:pt>
                <c:pt idx="6831">
                  <c:v>0.55729111899999995</c:v>
                </c:pt>
                <c:pt idx="6832">
                  <c:v>0.55724074700000004</c:v>
                </c:pt>
                <c:pt idx="6833">
                  <c:v>0.55718955400000003</c:v>
                </c:pt>
                <c:pt idx="6834">
                  <c:v>0.55708117000000001</c:v>
                </c:pt>
                <c:pt idx="6835">
                  <c:v>0.55703600099999995</c:v>
                </c:pt>
                <c:pt idx="6836">
                  <c:v>0.55688203800000002</c:v>
                </c:pt>
                <c:pt idx="6837">
                  <c:v>0.55672805000000003</c:v>
                </c:pt>
                <c:pt idx="6838">
                  <c:v>0.55647172700000003</c:v>
                </c:pt>
                <c:pt idx="6839">
                  <c:v>0.55642053400000002</c:v>
                </c:pt>
                <c:pt idx="6840">
                  <c:v>0.55636934199999999</c:v>
                </c:pt>
                <c:pt idx="6841">
                  <c:v>0.55631297099999999</c:v>
                </c:pt>
                <c:pt idx="6842">
                  <c:v>0.55616418599999995</c:v>
                </c:pt>
                <c:pt idx="6843">
                  <c:v>0.55600942799999997</c:v>
                </c:pt>
                <c:pt idx="6844">
                  <c:v>0.555857465</c:v>
                </c:pt>
                <c:pt idx="6845">
                  <c:v>0.55585667000000005</c:v>
                </c:pt>
                <c:pt idx="6846">
                  <c:v>0.55575308000000001</c:v>
                </c:pt>
                <c:pt idx="6847">
                  <c:v>0.55570270799999999</c:v>
                </c:pt>
                <c:pt idx="6848">
                  <c:v>0.55544635899999995</c:v>
                </c:pt>
                <c:pt idx="6849">
                  <c:v>0.555240819</c:v>
                </c:pt>
                <c:pt idx="6850">
                  <c:v>0.55462655699999996</c:v>
                </c:pt>
                <c:pt idx="6851">
                  <c:v>0.55457498000000005</c:v>
                </c:pt>
                <c:pt idx="6852">
                  <c:v>0.55452217199999998</c:v>
                </c:pt>
                <c:pt idx="6853">
                  <c:v>0.55447138900000004</c:v>
                </c:pt>
                <c:pt idx="6854">
                  <c:v>0.55421504099999996</c:v>
                </c:pt>
                <c:pt idx="6855">
                  <c:v>0.55400829600000001</c:v>
                </c:pt>
                <c:pt idx="6856">
                  <c:v>0.55395751299999996</c:v>
                </c:pt>
                <c:pt idx="6857">
                  <c:v>0.55370316399999997</c:v>
                </c:pt>
                <c:pt idx="6858">
                  <c:v>0.553652382</c:v>
                </c:pt>
                <c:pt idx="6859">
                  <c:v>0.55355040600000005</c:v>
                </c:pt>
                <c:pt idx="6860">
                  <c:v>0.55339764800000002</c:v>
                </c:pt>
                <c:pt idx="6861">
                  <c:v>0.55334445600000004</c:v>
                </c:pt>
                <c:pt idx="6862">
                  <c:v>0.55329326300000004</c:v>
                </c:pt>
                <c:pt idx="6863">
                  <c:v>0.55314009500000005</c:v>
                </c:pt>
                <c:pt idx="6864">
                  <c:v>0.55308810799999997</c:v>
                </c:pt>
                <c:pt idx="6865">
                  <c:v>0.553036941</c:v>
                </c:pt>
                <c:pt idx="6866">
                  <c:v>0.55277979799999999</c:v>
                </c:pt>
                <c:pt idx="6867">
                  <c:v>0.55226710099999998</c:v>
                </c:pt>
                <c:pt idx="6868">
                  <c:v>0.55175522399999999</c:v>
                </c:pt>
                <c:pt idx="6869">
                  <c:v>0.55165286400000002</c:v>
                </c:pt>
                <c:pt idx="6870">
                  <c:v>0.55160087700000004</c:v>
                </c:pt>
                <c:pt idx="6871">
                  <c:v>0.55155006900000003</c:v>
                </c:pt>
                <c:pt idx="6872">
                  <c:v>0.55119094999999996</c:v>
                </c:pt>
                <c:pt idx="6873">
                  <c:v>0.55098620499999995</c:v>
                </c:pt>
                <c:pt idx="6874">
                  <c:v>0.55088343500000003</c:v>
                </c:pt>
                <c:pt idx="6875">
                  <c:v>0.55021718500000005</c:v>
                </c:pt>
                <c:pt idx="6876">
                  <c:v>0.54980689999999999</c:v>
                </c:pt>
                <c:pt idx="6877">
                  <c:v>0.54975770599999996</c:v>
                </c:pt>
                <c:pt idx="6878">
                  <c:v>0.54970410400000003</c:v>
                </c:pt>
                <c:pt idx="6879">
                  <c:v>0.54965373100000003</c:v>
                </c:pt>
                <c:pt idx="6880">
                  <c:v>0.54960174399999995</c:v>
                </c:pt>
                <c:pt idx="6881">
                  <c:v>0.54955055100000005</c:v>
                </c:pt>
                <c:pt idx="6882">
                  <c:v>0.54949856399999997</c:v>
                </c:pt>
                <c:pt idx="6883">
                  <c:v>0.54934539599999999</c:v>
                </c:pt>
                <c:pt idx="6884">
                  <c:v>0.54862515899999997</c:v>
                </c:pt>
                <c:pt idx="6885">
                  <c:v>0.548574377</c:v>
                </c:pt>
                <c:pt idx="6886">
                  <c:v>0.54836963100000002</c:v>
                </c:pt>
                <c:pt idx="6887">
                  <c:v>0.54826886100000005</c:v>
                </c:pt>
                <c:pt idx="6888">
                  <c:v>0.54775616400000005</c:v>
                </c:pt>
                <c:pt idx="6889">
                  <c:v>0.54765418799999999</c:v>
                </c:pt>
                <c:pt idx="6890">
                  <c:v>0.54755021299999995</c:v>
                </c:pt>
                <c:pt idx="6891">
                  <c:v>0.54744864800000004</c:v>
                </c:pt>
                <c:pt idx="6892">
                  <c:v>0.54739745500000003</c:v>
                </c:pt>
                <c:pt idx="6893">
                  <c:v>0.54724549199999994</c:v>
                </c:pt>
                <c:pt idx="6894">
                  <c:v>0.54709152900000002</c:v>
                </c:pt>
                <c:pt idx="6895">
                  <c:v>0.54703992599999995</c:v>
                </c:pt>
                <c:pt idx="6896">
                  <c:v>0.54698914399999998</c:v>
                </c:pt>
                <c:pt idx="6897">
                  <c:v>0.54698714400000004</c:v>
                </c:pt>
                <c:pt idx="6898">
                  <c:v>0.54688516899999995</c:v>
                </c:pt>
                <c:pt idx="6899">
                  <c:v>0.54683159199999998</c:v>
                </c:pt>
                <c:pt idx="6900">
                  <c:v>0.54678119400000003</c:v>
                </c:pt>
                <c:pt idx="6901">
                  <c:v>0.54673282099999998</c:v>
                </c:pt>
                <c:pt idx="6902">
                  <c:v>0.54662884599999995</c:v>
                </c:pt>
                <c:pt idx="6903">
                  <c:v>0.546628436</c:v>
                </c:pt>
                <c:pt idx="6904">
                  <c:v>0.54657524400000002</c:v>
                </c:pt>
                <c:pt idx="6905">
                  <c:v>0.54652446099999996</c:v>
                </c:pt>
                <c:pt idx="6906">
                  <c:v>0.54647447299999996</c:v>
                </c:pt>
                <c:pt idx="6907">
                  <c:v>0.54642327999999996</c:v>
                </c:pt>
                <c:pt idx="6908">
                  <c:v>0.54631489600000005</c:v>
                </c:pt>
                <c:pt idx="6909">
                  <c:v>0.54626731799999995</c:v>
                </c:pt>
                <c:pt idx="6910">
                  <c:v>0.546218125</c:v>
                </c:pt>
                <c:pt idx="6911">
                  <c:v>0.54611576500000003</c:v>
                </c:pt>
                <c:pt idx="6912">
                  <c:v>0.54585900600000004</c:v>
                </c:pt>
                <c:pt idx="6913">
                  <c:v>0.54554669700000002</c:v>
                </c:pt>
                <c:pt idx="6914">
                  <c:v>0.54544910499999999</c:v>
                </c:pt>
                <c:pt idx="6915">
                  <c:v>0.54524276999999999</c:v>
                </c:pt>
                <c:pt idx="6916">
                  <c:v>0.54519196199999997</c:v>
                </c:pt>
                <c:pt idx="6917">
                  <c:v>0.545037204</c:v>
                </c:pt>
                <c:pt idx="6918">
                  <c:v>0.54457811</c:v>
                </c:pt>
                <c:pt idx="6919">
                  <c:v>0.544526917</c:v>
                </c:pt>
                <c:pt idx="6920">
                  <c:v>0.54447493000000002</c:v>
                </c:pt>
                <c:pt idx="6921">
                  <c:v>0.54442376299999995</c:v>
                </c:pt>
                <c:pt idx="6922">
                  <c:v>0.54375510400000004</c:v>
                </c:pt>
                <c:pt idx="6923">
                  <c:v>0.54339798500000003</c:v>
                </c:pt>
                <c:pt idx="6924">
                  <c:v>0.54339760000000004</c:v>
                </c:pt>
                <c:pt idx="6925">
                  <c:v>0.54334761200000004</c:v>
                </c:pt>
                <c:pt idx="6926">
                  <c:v>0.54329562499999995</c:v>
                </c:pt>
                <c:pt idx="6927">
                  <c:v>0.543245227</c:v>
                </c:pt>
                <c:pt idx="6928">
                  <c:v>0.54309085400000001</c:v>
                </c:pt>
                <c:pt idx="6929">
                  <c:v>0.54293609600000003</c:v>
                </c:pt>
                <c:pt idx="6930">
                  <c:v>0.54288572400000001</c:v>
                </c:pt>
                <c:pt idx="6931">
                  <c:v>0.54283373599999996</c:v>
                </c:pt>
                <c:pt idx="6932">
                  <c:v>0.54278292800000005</c:v>
                </c:pt>
                <c:pt idx="6933">
                  <c:v>0.54272976100000003</c:v>
                </c:pt>
                <c:pt idx="6934">
                  <c:v>0.54267936299999997</c:v>
                </c:pt>
                <c:pt idx="6935">
                  <c:v>0.542628581</c:v>
                </c:pt>
                <c:pt idx="6936">
                  <c:v>0.54257818300000005</c:v>
                </c:pt>
                <c:pt idx="6937">
                  <c:v>0.54247541200000005</c:v>
                </c:pt>
                <c:pt idx="6938">
                  <c:v>0.54242422000000001</c:v>
                </c:pt>
                <c:pt idx="6939">
                  <c:v>0.54237302700000001</c:v>
                </c:pt>
                <c:pt idx="6940">
                  <c:v>0.54232103899999995</c:v>
                </c:pt>
                <c:pt idx="6941">
                  <c:v>0.54226984700000003</c:v>
                </c:pt>
                <c:pt idx="6942">
                  <c:v>0.54216669200000001</c:v>
                </c:pt>
                <c:pt idx="6943">
                  <c:v>0.54211588399999999</c:v>
                </c:pt>
                <c:pt idx="6944">
                  <c:v>0.542065511</c:v>
                </c:pt>
                <c:pt idx="6945">
                  <c:v>0.54185956099999999</c:v>
                </c:pt>
                <c:pt idx="6946">
                  <c:v>0.54180916300000004</c:v>
                </c:pt>
                <c:pt idx="6947">
                  <c:v>0.54170839199999998</c:v>
                </c:pt>
                <c:pt idx="6948">
                  <c:v>0.54150123699999997</c:v>
                </c:pt>
                <c:pt idx="6949">
                  <c:v>0.54088538600000002</c:v>
                </c:pt>
                <c:pt idx="6950">
                  <c:v>0.54078300000000001</c:v>
                </c:pt>
                <c:pt idx="6951">
                  <c:v>0.54063065300000002</c:v>
                </c:pt>
                <c:pt idx="6952">
                  <c:v>0.54058025399999998</c:v>
                </c:pt>
                <c:pt idx="6953">
                  <c:v>0.54057866499999996</c:v>
                </c:pt>
                <c:pt idx="6954">
                  <c:v>0.540527062</c:v>
                </c:pt>
                <c:pt idx="6955">
                  <c:v>0.54052667799999998</c:v>
                </c:pt>
                <c:pt idx="6956">
                  <c:v>0.540475869</c:v>
                </c:pt>
                <c:pt idx="6957">
                  <c:v>0.54037350900000003</c:v>
                </c:pt>
                <c:pt idx="6958">
                  <c:v>0.53950210399999998</c:v>
                </c:pt>
                <c:pt idx="6959">
                  <c:v>0.539398924</c:v>
                </c:pt>
                <c:pt idx="6960">
                  <c:v>0.53924616599999997</c:v>
                </c:pt>
                <c:pt idx="6961">
                  <c:v>0.53909061400000002</c:v>
                </c:pt>
                <c:pt idx="6962">
                  <c:v>0.53903980600000001</c:v>
                </c:pt>
                <c:pt idx="6963">
                  <c:v>0.53878348300000001</c:v>
                </c:pt>
                <c:pt idx="6964">
                  <c:v>0.53862511099999999</c:v>
                </c:pt>
                <c:pt idx="6965">
                  <c:v>0.53857912200000002</c:v>
                </c:pt>
                <c:pt idx="6966">
                  <c:v>0.53806524600000005</c:v>
                </c:pt>
                <c:pt idx="6967">
                  <c:v>0.53791248800000002</c:v>
                </c:pt>
                <c:pt idx="6968">
                  <c:v>0.53775811500000004</c:v>
                </c:pt>
                <c:pt idx="6969">
                  <c:v>0.53765613999999995</c:v>
                </c:pt>
                <c:pt idx="6970">
                  <c:v>0.53755375400000005</c:v>
                </c:pt>
                <c:pt idx="6971">
                  <c:v>0.53750376600000005</c:v>
                </c:pt>
                <c:pt idx="6972">
                  <c:v>0.53750258699999998</c:v>
                </c:pt>
                <c:pt idx="6973">
                  <c:v>0.53734862400000005</c:v>
                </c:pt>
                <c:pt idx="6974">
                  <c:v>0.53724582799999998</c:v>
                </c:pt>
                <c:pt idx="6975">
                  <c:v>0.53704028800000003</c:v>
                </c:pt>
                <c:pt idx="6976">
                  <c:v>0.53668357899999997</c:v>
                </c:pt>
                <c:pt idx="6977">
                  <c:v>0.53668196400000001</c:v>
                </c:pt>
                <c:pt idx="6978">
                  <c:v>0.53662997700000004</c:v>
                </c:pt>
                <c:pt idx="6979">
                  <c:v>0.53647880800000003</c:v>
                </c:pt>
                <c:pt idx="6980">
                  <c:v>0.53642564199999998</c:v>
                </c:pt>
                <c:pt idx="6981">
                  <c:v>0.53627367800000003</c:v>
                </c:pt>
                <c:pt idx="6982">
                  <c:v>0.53627206299999997</c:v>
                </c:pt>
                <c:pt idx="6983">
                  <c:v>0.53622048600000005</c:v>
                </c:pt>
                <c:pt idx="6984">
                  <c:v>0.53622007599999999</c:v>
                </c:pt>
                <c:pt idx="6985">
                  <c:v>0.53617008799999999</c:v>
                </c:pt>
                <c:pt idx="6986">
                  <c:v>0.53616929300000005</c:v>
                </c:pt>
                <c:pt idx="6987">
                  <c:v>0.535708199</c:v>
                </c:pt>
                <c:pt idx="6988">
                  <c:v>0.53565662199999997</c:v>
                </c:pt>
                <c:pt idx="6989">
                  <c:v>0.53488719200000001</c:v>
                </c:pt>
                <c:pt idx="6990">
                  <c:v>0.534631254</c:v>
                </c:pt>
                <c:pt idx="6991">
                  <c:v>0.53422135299999995</c:v>
                </c:pt>
                <c:pt idx="6992">
                  <c:v>0.53401619700000003</c:v>
                </c:pt>
                <c:pt idx="6993">
                  <c:v>0.533913427</c:v>
                </c:pt>
                <c:pt idx="6994">
                  <c:v>0.53386223499999996</c:v>
                </c:pt>
                <c:pt idx="6995">
                  <c:v>0.53381104199999996</c:v>
                </c:pt>
                <c:pt idx="6996">
                  <c:v>0.53365707900000003</c:v>
                </c:pt>
                <c:pt idx="6997">
                  <c:v>0.5335035259999999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62CA-43D1-9B5E-DB9227CD45FB}"/>
            </c:ext>
          </c:extLst>
        </c:ser>
        <c:ser>
          <c:idx val="1"/>
          <c:order val="1"/>
          <c:tx>
            <c:strRef>
              <c:f>'Q6&amp;Q7'!$B$3</c:f>
              <c:strCache>
                <c:ptCount val="1"/>
                <c:pt idx="0">
                  <c:v>SURJEK_FLOW_METER_2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'Q6&amp;Q7'!$B$4:$B$7001</c:f>
              <c:numCache>
                <c:formatCode>#,##0.00</c:formatCode>
                <c:ptCount val="6998"/>
                <c:pt idx="0">
                  <c:v>-4.7680660000000001</c:v>
                </c:pt>
                <c:pt idx="1">
                  <c:v>-4.8559570000000001</c:v>
                </c:pt>
                <c:pt idx="2">
                  <c:v>-7.4479384489999996</c:v>
                </c:pt>
                <c:pt idx="3">
                  <c:v>-8.7451170000000005</c:v>
                </c:pt>
                <c:pt idx="4">
                  <c:v>-6.8774410000000001</c:v>
                </c:pt>
                <c:pt idx="5">
                  <c:v>-6.6542500540000002</c:v>
                </c:pt>
                <c:pt idx="6">
                  <c:v>-6.4311043449999996</c:v>
                </c:pt>
                <c:pt idx="7">
                  <c:v>-6.4250847909999997</c:v>
                </c:pt>
                <c:pt idx="8">
                  <c:v>-6.4189687309999997</c:v>
                </c:pt>
                <c:pt idx="9">
                  <c:v>-6.3889041349999998</c:v>
                </c:pt>
                <c:pt idx="10">
                  <c:v>-6.2622070000000001</c:v>
                </c:pt>
                <c:pt idx="11">
                  <c:v>-7.1411129999999998</c:v>
                </c:pt>
                <c:pt idx="12">
                  <c:v>-3.2519529999999999</c:v>
                </c:pt>
                <c:pt idx="13">
                  <c:v>-7.6245120000000002</c:v>
                </c:pt>
                <c:pt idx="14">
                  <c:v>-6.5199605820000004</c:v>
                </c:pt>
                <c:pt idx="15">
                  <c:v>-5.4187605320000003</c:v>
                </c:pt>
                <c:pt idx="16">
                  <c:v>-4.5703129999999996</c:v>
                </c:pt>
                <c:pt idx="17">
                  <c:v>-4.5389268109999996</c:v>
                </c:pt>
                <c:pt idx="18">
                  <c:v>-4.5263669999999996</c:v>
                </c:pt>
                <c:pt idx="19">
                  <c:v>-9.0527339999999992</c:v>
                </c:pt>
                <c:pt idx="20">
                  <c:v>-2.6147459999999998</c:v>
                </c:pt>
                <c:pt idx="21">
                  <c:v>-5.5371090000000001</c:v>
                </c:pt>
                <c:pt idx="22">
                  <c:v>-5.5810550000000001</c:v>
                </c:pt>
                <c:pt idx="23">
                  <c:v>-1.9775389999999999</c:v>
                </c:pt>
                <c:pt idx="24">
                  <c:v>-3.2308874670000001</c:v>
                </c:pt>
                <c:pt idx="25">
                  <c:v>-4.0698358069999996</c:v>
                </c:pt>
                <c:pt idx="26">
                  <c:v>-7.6245120000000002</c:v>
                </c:pt>
                <c:pt idx="27">
                  <c:v>-5.9965076430000002</c:v>
                </c:pt>
                <c:pt idx="28">
                  <c:v>-5.8159096730000002</c:v>
                </c:pt>
                <c:pt idx="29">
                  <c:v>-5.4504633120000001</c:v>
                </c:pt>
                <c:pt idx="30">
                  <c:v>-2.9223629999999998</c:v>
                </c:pt>
                <c:pt idx="31">
                  <c:v>-2.451324294</c:v>
                </c:pt>
                <c:pt idx="32">
                  <c:v>-2.4236642060000002</c:v>
                </c:pt>
                <c:pt idx="33">
                  <c:v>-2.2851560000000002</c:v>
                </c:pt>
                <c:pt idx="34">
                  <c:v>-9.0747070000000001</c:v>
                </c:pt>
                <c:pt idx="35">
                  <c:v>-7.6157031630000001</c:v>
                </c:pt>
                <c:pt idx="36">
                  <c:v>-5.9326169999999996</c:v>
                </c:pt>
                <c:pt idx="37">
                  <c:v>-5.7788089999999999</c:v>
                </c:pt>
                <c:pt idx="38">
                  <c:v>-5.251204274</c:v>
                </c:pt>
                <c:pt idx="39">
                  <c:v>-5.0537109999999998</c:v>
                </c:pt>
                <c:pt idx="40">
                  <c:v>-6.7675780000000003</c:v>
                </c:pt>
                <c:pt idx="41">
                  <c:v>-1.6918949999999999</c:v>
                </c:pt>
                <c:pt idx="42">
                  <c:v>-6.7895510000000003</c:v>
                </c:pt>
                <c:pt idx="43">
                  <c:v>-7.0971679999999999</c:v>
                </c:pt>
                <c:pt idx="44">
                  <c:v>-3.14209</c:v>
                </c:pt>
                <c:pt idx="45">
                  <c:v>-9.0747070000000001</c:v>
                </c:pt>
                <c:pt idx="46">
                  <c:v>-7.3168949999999997</c:v>
                </c:pt>
                <c:pt idx="47">
                  <c:v>-6.8994140000000002</c:v>
                </c:pt>
                <c:pt idx="48">
                  <c:v>-6.7530467669999998</c:v>
                </c:pt>
                <c:pt idx="49">
                  <c:v>-6.723698669</c:v>
                </c:pt>
                <c:pt idx="50">
                  <c:v>-6.7090904890000003</c:v>
                </c:pt>
                <c:pt idx="51">
                  <c:v>-6.4599609999999998</c:v>
                </c:pt>
                <c:pt idx="52">
                  <c:v>-6.6296813739999996</c:v>
                </c:pt>
                <c:pt idx="53">
                  <c:v>-8.8549799999999994</c:v>
                </c:pt>
                <c:pt idx="54">
                  <c:v>-4.4165039999999998</c:v>
                </c:pt>
                <c:pt idx="55">
                  <c:v>-6.6137699999999997</c:v>
                </c:pt>
                <c:pt idx="56">
                  <c:v>-3.7792970000000001</c:v>
                </c:pt>
                <c:pt idx="57">
                  <c:v>-7.1411129999999998</c:v>
                </c:pt>
                <c:pt idx="58">
                  <c:v>-7.3631921050000004</c:v>
                </c:pt>
                <c:pt idx="59">
                  <c:v>-7.5585940000000003</c:v>
                </c:pt>
                <c:pt idx="60">
                  <c:v>-6.4871307119999999</c:v>
                </c:pt>
                <c:pt idx="61">
                  <c:v>-6.1962890000000002</c:v>
                </c:pt>
                <c:pt idx="62">
                  <c:v>-6.1261017569999998</c:v>
                </c:pt>
                <c:pt idx="63">
                  <c:v>-6.0731477930000004</c:v>
                </c:pt>
                <c:pt idx="64">
                  <c:v>-6.0384005920000003</c:v>
                </c:pt>
                <c:pt idx="65">
                  <c:v>-5.7568359999999998</c:v>
                </c:pt>
                <c:pt idx="66">
                  <c:v>-8.9868159999999992</c:v>
                </c:pt>
                <c:pt idx="67">
                  <c:v>-7.4374253860000001</c:v>
                </c:pt>
                <c:pt idx="68">
                  <c:v>-7.1919522770000004</c:v>
                </c:pt>
                <c:pt idx="69">
                  <c:v>-6.7016600000000004</c:v>
                </c:pt>
                <c:pt idx="70">
                  <c:v>-4.7680660000000001</c:v>
                </c:pt>
                <c:pt idx="71">
                  <c:v>-6.5258789999999998</c:v>
                </c:pt>
                <c:pt idx="72">
                  <c:v>-2.087402</c:v>
                </c:pt>
                <c:pt idx="73">
                  <c:v>-8.3276369999999993</c:v>
                </c:pt>
                <c:pt idx="74">
                  <c:v>-8.2306788019999999</c:v>
                </c:pt>
                <c:pt idx="75">
                  <c:v>-7.9980469999999997</c:v>
                </c:pt>
                <c:pt idx="76">
                  <c:v>-4.240723</c:v>
                </c:pt>
                <c:pt idx="77">
                  <c:v>-6.1025853809999999</c:v>
                </c:pt>
                <c:pt idx="78">
                  <c:v>-6.4858874310000001</c:v>
                </c:pt>
                <c:pt idx="79">
                  <c:v>-7.8007780899999997</c:v>
                </c:pt>
                <c:pt idx="80">
                  <c:v>-7.9101559999999997</c:v>
                </c:pt>
                <c:pt idx="81">
                  <c:v>-5.6778023119999999</c:v>
                </c:pt>
                <c:pt idx="82">
                  <c:v>-4.5922850000000004</c:v>
                </c:pt>
                <c:pt idx="83">
                  <c:v>-8.4814450000000008</c:v>
                </c:pt>
                <c:pt idx="84">
                  <c:v>-7.404210172</c:v>
                </c:pt>
                <c:pt idx="85">
                  <c:v>-7.3072715109999997</c:v>
                </c:pt>
                <c:pt idx="86">
                  <c:v>-6.328125</c:v>
                </c:pt>
                <c:pt idx="87">
                  <c:v>-6.2841800000000001</c:v>
                </c:pt>
                <c:pt idx="88">
                  <c:v>-5.1635739999999997</c:v>
                </c:pt>
                <c:pt idx="89">
                  <c:v>-9.0966799999999992</c:v>
                </c:pt>
                <c:pt idx="90">
                  <c:v>-6.1083980000000002</c:v>
                </c:pt>
                <c:pt idx="91">
                  <c:v>-8.5473630000000007</c:v>
                </c:pt>
                <c:pt idx="92">
                  <c:v>-4.3286129999999998</c:v>
                </c:pt>
                <c:pt idx="93">
                  <c:v>-7.712402</c:v>
                </c:pt>
                <c:pt idx="94">
                  <c:v>-7.658649703</c:v>
                </c:pt>
                <c:pt idx="95">
                  <c:v>-6.6191103269999996</c:v>
                </c:pt>
                <c:pt idx="96">
                  <c:v>-5.6354842879999998</c:v>
                </c:pt>
                <c:pt idx="97">
                  <c:v>-5.4711910000000001</c:v>
                </c:pt>
                <c:pt idx="98">
                  <c:v>-5.7689496230000001</c:v>
                </c:pt>
                <c:pt idx="99">
                  <c:v>-5.8130793519999999</c:v>
                </c:pt>
                <c:pt idx="100">
                  <c:v>-5.8549110950000003</c:v>
                </c:pt>
                <c:pt idx="101">
                  <c:v>-8.6202320790000009</c:v>
                </c:pt>
                <c:pt idx="102">
                  <c:v>-8.8330079999999995</c:v>
                </c:pt>
                <c:pt idx="103">
                  <c:v>-5.8227539999999998</c:v>
                </c:pt>
                <c:pt idx="104">
                  <c:v>-7.6684570000000001</c:v>
                </c:pt>
                <c:pt idx="105">
                  <c:v>-5.4711910000000001</c:v>
                </c:pt>
                <c:pt idx="106">
                  <c:v>-5.778710437</c:v>
                </c:pt>
                <c:pt idx="107">
                  <c:v>-6.9213870000000002</c:v>
                </c:pt>
                <c:pt idx="108">
                  <c:v>-5.2954100000000004</c:v>
                </c:pt>
                <c:pt idx="109">
                  <c:v>-5.6808642669999996</c:v>
                </c:pt>
                <c:pt idx="110">
                  <c:v>-6.2022808999999999</c:v>
                </c:pt>
                <c:pt idx="111">
                  <c:v>-6.4660127679999997</c:v>
                </c:pt>
                <c:pt idx="112">
                  <c:v>-8.1518549999999994</c:v>
                </c:pt>
                <c:pt idx="113">
                  <c:v>-6.328125</c:v>
                </c:pt>
                <c:pt idx="114">
                  <c:v>-1.6479490000000001</c:v>
                </c:pt>
                <c:pt idx="115">
                  <c:v>-6.7895510000000003</c:v>
                </c:pt>
                <c:pt idx="116">
                  <c:v>-6.8554690000000003</c:v>
                </c:pt>
                <c:pt idx="117">
                  <c:v>-5.8666989999999997</c:v>
                </c:pt>
                <c:pt idx="118">
                  <c:v>-3.823242</c:v>
                </c:pt>
                <c:pt idx="119">
                  <c:v>-5.4931640000000002</c:v>
                </c:pt>
                <c:pt idx="120">
                  <c:v>-5.3220238259999997</c:v>
                </c:pt>
                <c:pt idx="121">
                  <c:v>-4.4516115650000003</c:v>
                </c:pt>
                <c:pt idx="122">
                  <c:v>-3.0541990000000001</c:v>
                </c:pt>
                <c:pt idx="123">
                  <c:v>-9.0966799999999992</c:v>
                </c:pt>
                <c:pt idx="124">
                  <c:v>-7.0971679999999999</c:v>
                </c:pt>
                <c:pt idx="125">
                  <c:v>-7.2059458950000002</c:v>
                </c:pt>
                <c:pt idx="126">
                  <c:v>-7.3034600220000003</c:v>
                </c:pt>
                <c:pt idx="127">
                  <c:v>-8.3715820000000001</c:v>
                </c:pt>
                <c:pt idx="128">
                  <c:v>-6.4819339999999999</c:v>
                </c:pt>
                <c:pt idx="129">
                  <c:v>-8.9648439999999994</c:v>
                </c:pt>
                <c:pt idx="130">
                  <c:v>-8.3276369999999993</c:v>
                </c:pt>
                <c:pt idx="131">
                  <c:v>-7.9098620750000004</c:v>
                </c:pt>
                <c:pt idx="132">
                  <c:v>-6.2134618870000002</c:v>
                </c:pt>
                <c:pt idx="133">
                  <c:v>-5.2294919999999996</c:v>
                </c:pt>
                <c:pt idx="134">
                  <c:v>-8.9648439999999994</c:v>
                </c:pt>
                <c:pt idx="135">
                  <c:v>-5.2514649999999996</c:v>
                </c:pt>
                <c:pt idx="136">
                  <c:v>-8.8769530000000003</c:v>
                </c:pt>
                <c:pt idx="137">
                  <c:v>-8.3192337349999992</c:v>
                </c:pt>
                <c:pt idx="138">
                  <c:v>-7.9361310239999998</c:v>
                </c:pt>
                <c:pt idx="139">
                  <c:v>-7.7483429519999998</c:v>
                </c:pt>
                <c:pt idx="140">
                  <c:v>-5.8666989999999997</c:v>
                </c:pt>
                <c:pt idx="141">
                  <c:v>-6.2051885740000001</c:v>
                </c:pt>
                <c:pt idx="142">
                  <c:v>-7.734375</c:v>
                </c:pt>
                <c:pt idx="143">
                  <c:v>-6.2182620000000002</c:v>
                </c:pt>
                <c:pt idx="144">
                  <c:v>-6.2841800000000001</c:v>
                </c:pt>
                <c:pt idx="145">
                  <c:v>-4.7460940000000003</c:v>
                </c:pt>
                <c:pt idx="146">
                  <c:v>-7.734375</c:v>
                </c:pt>
                <c:pt idx="147">
                  <c:v>-7.0829543810000004</c:v>
                </c:pt>
                <c:pt idx="148">
                  <c:v>-6.4819339999999999</c:v>
                </c:pt>
                <c:pt idx="149">
                  <c:v>-6.5035223279999999</c:v>
                </c:pt>
                <c:pt idx="150">
                  <c:v>-7.4040027439999996</c:v>
                </c:pt>
                <c:pt idx="151">
                  <c:v>-7.6684570000000001</c:v>
                </c:pt>
                <c:pt idx="152">
                  <c:v>-2.9443359999999998</c:v>
                </c:pt>
                <c:pt idx="153">
                  <c:v>-7.9321289999999998</c:v>
                </c:pt>
                <c:pt idx="154">
                  <c:v>-4.6801760000000003</c:v>
                </c:pt>
                <c:pt idx="155">
                  <c:v>-4.8449433260000001</c:v>
                </c:pt>
                <c:pt idx="156">
                  <c:v>-5.2563045669999999</c:v>
                </c:pt>
                <c:pt idx="157">
                  <c:v>-5.6689449999999999</c:v>
                </c:pt>
                <c:pt idx="158">
                  <c:v>-3.0102540000000002</c:v>
                </c:pt>
                <c:pt idx="159">
                  <c:v>-9.0087890000000002</c:v>
                </c:pt>
                <c:pt idx="160">
                  <c:v>-6.7895510000000003</c:v>
                </c:pt>
                <c:pt idx="161">
                  <c:v>-6.6357419999999996</c:v>
                </c:pt>
                <c:pt idx="162">
                  <c:v>-7.6357980259999998</c:v>
                </c:pt>
                <c:pt idx="163">
                  <c:v>-7.9980469999999997</c:v>
                </c:pt>
                <c:pt idx="164">
                  <c:v>-1.801758</c:v>
                </c:pt>
                <c:pt idx="165">
                  <c:v>-9.0527339999999992</c:v>
                </c:pt>
                <c:pt idx="166">
                  <c:v>-4.8559570000000001</c:v>
                </c:pt>
                <c:pt idx="167">
                  <c:v>-8.0859380000000005</c:v>
                </c:pt>
                <c:pt idx="168">
                  <c:v>-5.2075199999999997</c:v>
                </c:pt>
                <c:pt idx="169">
                  <c:v>-7.4742837739999999</c:v>
                </c:pt>
                <c:pt idx="170">
                  <c:v>-7.6723110229999998</c:v>
                </c:pt>
                <c:pt idx="171">
                  <c:v>-7.7692048649999998</c:v>
                </c:pt>
                <c:pt idx="172">
                  <c:v>-7.8695741679999998</c:v>
                </c:pt>
                <c:pt idx="173">
                  <c:v>-9.0527339999999992</c:v>
                </c:pt>
                <c:pt idx="174">
                  <c:v>-8.4814450000000008</c:v>
                </c:pt>
                <c:pt idx="175">
                  <c:v>-3.515625</c:v>
                </c:pt>
                <c:pt idx="176">
                  <c:v>-6.350098</c:v>
                </c:pt>
                <c:pt idx="177">
                  <c:v>-8.9428710000000002</c:v>
                </c:pt>
                <c:pt idx="178">
                  <c:v>-7.9980469999999997</c:v>
                </c:pt>
                <c:pt idx="179">
                  <c:v>-8.298455938</c:v>
                </c:pt>
                <c:pt idx="180">
                  <c:v>-8.4138656520000001</c:v>
                </c:pt>
                <c:pt idx="181">
                  <c:v>-8.4596051279999998</c:v>
                </c:pt>
                <c:pt idx="182">
                  <c:v>-8.9208979999999993</c:v>
                </c:pt>
                <c:pt idx="183">
                  <c:v>-7.053223</c:v>
                </c:pt>
                <c:pt idx="184">
                  <c:v>-7.3554159439999998</c:v>
                </c:pt>
                <c:pt idx="185">
                  <c:v>-7.5967656870000004</c:v>
                </c:pt>
                <c:pt idx="186">
                  <c:v>-7.6575786949999998</c:v>
                </c:pt>
                <c:pt idx="187">
                  <c:v>-8.7451170000000005</c:v>
                </c:pt>
                <c:pt idx="188">
                  <c:v>-3.823242</c:v>
                </c:pt>
                <c:pt idx="189">
                  <c:v>-7.6464840000000001</c:v>
                </c:pt>
                <c:pt idx="190">
                  <c:v>-5.1635739999999997</c:v>
                </c:pt>
                <c:pt idx="191">
                  <c:v>-8.5913090000000008</c:v>
                </c:pt>
                <c:pt idx="192">
                  <c:v>-7.8881839999999999</c:v>
                </c:pt>
                <c:pt idx="193">
                  <c:v>-6.2402340000000001</c:v>
                </c:pt>
                <c:pt idx="194">
                  <c:v>-9.0747070000000001</c:v>
                </c:pt>
                <c:pt idx="195">
                  <c:v>-4.5922850000000004</c:v>
                </c:pt>
                <c:pt idx="196">
                  <c:v>2.2192379999999998</c:v>
                </c:pt>
                <c:pt idx="197">
                  <c:v>-9.0307619999999993</c:v>
                </c:pt>
                <c:pt idx="198">
                  <c:v>-5.646973</c:v>
                </c:pt>
                <c:pt idx="199">
                  <c:v>-9.0087890000000002</c:v>
                </c:pt>
                <c:pt idx="200">
                  <c:v>-7.2729489999999997</c:v>
                </c:pt>
                <c:pt idx="201">
                  <c:v>-5.9326169999999996</c:v>
                </c:pt>
                <c:pt idx="202">
                  <c:v>-5.7061282929999999</c:v>
                </c:pt>
                <c:pt idx="203">
                  <c:v>-5.646973</c:v>
                </c:pt>
                <c:pt idx="204">
                  <c:v>-9.0527339999999992</c:v>
                </c:pt>
                <c:pt idx="205">
                  <c:v>-9.0033475060000008</c:v>
                </c:pt>
                <c:pt idx="206">
                  <c:v>-5.6909179999999999</c:v>
                </c:pt>
                <c:pt idx="207">
                  <c:v>-5.7977108700000004</c:v>
                </c:pt>
                <c:pt idx="208">
                  <c:v>-6.4379879999999998</c:v>
                </c:pt>
                <c:pt idx="209">
                  <c:v>0.39550780000000002</c:v>
                </c:pt>
                <c:pt idx="210">
                  <c:v>-4.7021480000000002</c:v>
                </c:pt>
                <c:pt idx="211">
                  <c:v>-6.3720699999999999</c:v>
                </c:pt>
                <c:pt idx="212">
                  <c:v>-6.5530971320000004</c:v>
                </c:pt>
                <c:pt idx="213">
                  <c:v>-6.8848055429999997</c:v>
                </c:pt>
                <c:pt idx="214">
                  <c:v>-6.8998616080000001</c:v>
                </c:pt>
                <c:pt idx="215">
                  <c:v>-7.1411129999999998</c:v>
                </c:pt>
                <c:pt idx="216">
                  <c:v>-6.6924498080000001</c:v>
                </c:pt>
                <c:pt idx="217">
                  <c:v>-6.4599609999999998</c:v>
                </c:pt>
                <c:pt idx="218">
                  <c:v>-5.8447269999999998</c:v>
                </c:pt>
                <c:pt idx="219">
                  <c:v>-6.8334960000000002</c:v>
                </c:pt>
                <c:pt idx="220">
                  <c:v>-4.240723</c:v>
                </c:pt>
                <c:pt idx="221">
                  <c:v>-8.0859380000000005</c:v>
                </c:pt>
                <c:pt idx="222">
                  <c:v>-2.834473</c:v>
                </c:pt>
                <c:pt idx="223">
                  <c:v>-8.5253910000000008</c:v>
                </c:pt>
                <c:pt idx="224">
                  <c:v>-5.4931640000000002</c:v>
                </c:pt>
                <c:pt idx="225">
                  <c:v>-5.4052730000000002</c:v>
                </c:pt>
                <c:pt idx="226">
                  <c:v>-7.1630859999999998</c:v>
                </c:pt>
                <c:pt idx="227">
                  <c:v>-4.1528320000000001</c:v>
                </c:pt>
                <c:pt idx="228">
                  <c:v>-7.5805660000000001</c:v>
                </c:pt>
                <c:pt idx="229">
                  <c:v>-7.8176370740000003</c:v>
                </c:pt>
                <c:pt idx="230">
                  <c:v>-7.8587651620000001</c:v>
                </c:pt>
                <c:pt idx="231">
                  <c:v>-7.9101559999999997</c:v>
                </c:pt>
                <c:pt idx="232">
                  <c:v>-0.703125</c:v>
                </c:pt>
                <c:pt idx="233">
                  <c:v>-6.4599609999999998</c:v>
                </c:pt>
                <c:pt idx="234">
                  <c:v>-6.8115230000000002</c:v>
                </c:pt>
                <c:pt idx="235">
                  <c:v>-8.5034179999999999</c:v>
                </c:pt>
                <c:pt idx="236">
                  <c:v>-3.4277340000000001</c:v>
                </c:pt>
                <c:pt idx="237">
                  <c:v>-7.2729489999999997</c:v>
                </c:pt>
                <c:pt idx="238">
                  <c:v>-6.4140370539999996</c:v>
                </c:pt>
                <c:pt idx="239">
                  <c:v>-5.6003738399999996</c:v>
                </c:pt>
                <c:pt idx="240">
                  <c:v>6.5917970000000006E-2</c:v>
                </c:pt>
                <c:pt idx="241">
                  <c:v>-5.6689449999999999</c:v>
                </c:pt>
                <c:pt idx="242">
                  <c:v>-1.625977</c:v>
                </c:pt>
                <c:pt idx="243">
                  <c:v>-4.3066409999999999</c:v>
                </c:pt>
                <c:pt idx="244">
                  <c:v>-4.4074499979999997</c:v>
                </c:pt>
                <c:pt idx="245">
                  <c:v>-4.8120120000000002</c:v>
                </c:pt>
                <c:pt idx="246">
                  <c:v>-3.2519529999999999</c:v>
                </c:pt>
                <c:pt idx="247">
                  <c:v>-7.009277</c:v>
                </c:pt>
                <c:pt idx="248">
                  <c:v>-2.4609380000000001</c:v>
                </c:pt>
                <c:pt idx="249">
                  <c:v>-9.0966799999999992</c:v>
                </c:pt>
                <c:pt idx="250">
                  <c:v>-7.1850589999999999</c:v>
                </c:pt>
                <c:pt idx="251">
                  <c:v>-2.6806640000000002</c:v>
                </c:pt>
                <c:pt idx="252">
                  <c:v>-8.5913090000000008</c:v>
                </c:pt>
                <c:pt idx="253">
                  <c:v>-8.5628240699999996</c:v>
                </c:pt>
                <c:pt idx="254">
                  <c:v>-7.1411129999999998</c:v>
                </c:pt>
                <c:pt idx="255">
                  <c:v>-6.5258789999999998</c:v>
                </c:pt>
                <c:pt idx="256">
                  <c:v>-4.4824219999999997</c:v>
                </c:pt>
                <c:pt idx="257">
                  <c:v>-7.756348</c:v>
                </c:pt>
                <c:pt idx="258">
                  <c:v>-7.03125</c:v>
                </c:pt>
                <c:pt idx="259">
                  <c:v>-3.3178709999999998</c:v>
                </c:pt>
                <c:pt idx="260">
                  <c:v>-9.0747070000000001</c:v>
                </c:pt>
                <c:pt idx="261">
                  <c:v>-6.4604640809999996</c:v>
                </c:pt>
                <c:pt idx="262">
                  <c:v>-4.0209960000000002</c:v>
                </c:pt>
                <c:pt idx="263">
                  <c:v>-6.9873050000000001</c:v>
                </c:pt>
                <c:pt idx="264">
                  <c:v>-6.6914894</c:v>
                </c:pt>
                <c:pt idx="265">
                  <c:v>-6.0022873250000002</c:v>
                </c:pt>
                <c:pt idx="266">
                  <c:v>-3.9331049999999999</c:v>
                </c:pt>
                <c:pt idx="267">
                  <c:v>-3.9550779999999999</c:v>
                </c:pt>
                <c:pt idx="268">
                  <c:v>-3.4497070000000001</c:v>
                </c:pt>
                <c:pt idx="269">
                  <c:v>-5.4046706230000003</c:v>
                </c:pt>
                <c:pt idx="270">
                  <c:v>-5.4931640000000002</c:v>
                </c:pt>
                <c:pt idx="271">
                  <c:v>-6.5258789999999998</c:v>
                </c:pt>
                <c:pt idx="272">
                  <c:v>-6.8578327000000003</c:v>
                </c:pt>
                <c:pt idx="273">
                  <c:v>-7.0515536430000001</c:v>
                </c:pt>
                <c:pt idx="274">
                  <c:v>-7.0654723849999996</c:v>
                </c:pt>
                <c:pt idx="275">
                  <c:v>-7.4805303839999997</c:v>
                </c:pt>
                <c:pt idx="276">
                  <c:v>-8.0200200000000006</c:v>
                </c:pt>
                <c:pt idx="277">
                  <c:v>-7.3435153169999996</c:v>
                </c:pt>
                <c:pt idx="278">
                  <c:v>-3.6474609999999998</c:v>
                </c:pt>
                <c:pt idx="279">
                  <c:v>-7.8002929999999999</c:v>
                </c:pt>
                <c:pt idx="280">
                  <c:v>-6.806759402</c:v>
                </c:pt>
                <c:pt idx="281">
                  <c:v>-6.7317448219999996</c:v>
                </c:pt>
                <c:pt idx="282">
                  <c:v>-5.7348629999999998</c:v>
                </c:pt>
                <c:pt idx="283">
                  <c:v>-9.0747070000000001</c:v>
                </c:pt>
                <c:pt idx="284">
                  <c:v>-8.7072398209999999</c:v>
                </c:pt>
                <c:pt idx="285">
                  <c:v>-7.5181944139999999</c:v>
                </c:pt>
                <c:pt idx="286">
                  <c:v>-7.3298003310000004</c:v>
                </c:pt>
                <c:pt idx="287">
                  <c:v>-7.2381057200000001</c:v>
                </c:pt>
                <c:pt idx="288">
                  <c:v>-6.5039059999999997</c:v>
                </c:pt>
                <c:pt idx="289">
                  <c:v>-7.053223</c:v>
                </c:pt>
                <c:pt idx="290">
                  <c:v>-7.0550693290000002</c:v>
                </c:pt>
                <c:pt idx="291">
                  <c:v>-7.0714295189999996</c:v>
                </c:pt>
                <c:pt idx="292">
                  <c:v>-7.0751949999999999</c:v>
                </c:pt>
                <c:pt idx="293">
                  <c:v>-6.5478519999999998</c:v>
                </c:pt>
                <c:pt idx="294">
                  <c:v>-6.1083980000000002</c:v>
                </c:pt>
                <c:pt idx="295">
                  <c:v>-4.8559570000000001</c:v>
                </c:pt>
                <c:pt idx="296">
                  <c:v>-5.9152599129999999</c:v>
                </c:pt>
                <c:pt idx="297">
                  <c:v>-7.075679794</c:v>
                </c:pt>
                <c:pt idx="298">
                  <c:v>-8.6572270000000007</c:v>
                </c:pt>
                <c:pt idx="299">
                  <c:v>-7.2928035080000004</c:v>
                </c:pt>
                <c:pt idx="300">
                  <c:v>-5.8227539999999998</c:v>
                </c:pt>
                <c:pt idx="301">
                  <c:v>-6.7675780000000003</c:v>
                </c:pt>
                <c:pt idx="302">
                  <c:v>-3.7133790000000002</c:v>
                </c:pt>
                <c:pt idx="303">
                  <c:v>-8.6791990000000006</c:v>
                </c:pt>
                <c:pt idx="304">
                  <c:v>-7.1183605300000004</c:v>
                </c:pt>
                <c:pt idx="305">
                  <c:v>-5.5590820000000001</c:v>
                </c:pt>
                <c:pt idx="306">
                  <c:v>-5.3340713539999998</c:v>
                </c:pt>
                <c:pt idx="307">
                  <c:v>-4.1748050000000001</c:v>
                </c:pt>
                <c:pt idx="308">
                  <c:v>-7.5805660000000001</c:v>
                </c:pt>
                <c:pt idx="309">
                  <c:v>-8.5034179999999999</c:v>
                </c:pt>
                <c:pt idx="310">
                  <c:v>-4.4384769999999998</c:v>
                </c:pt>
                <c:pt idx="311">
                  <c:v>-8.7231450000000006</c:v>
                </c:pt>
                <c:pt idx="312">
                  <c:v>-4.3505859999999998</c:v>
                </c:pt>
                <c:pt idx="313">
                  <c:v>-4.4665814040000003</c:v>
                </c:pt>
                <c:pt idx="314">
                  <c:v>-4.7567440169999999</c:v>
                </c:pt>
                <c:pt idx="315">
                  <c:v>-5.0317379999999998</c:v>
                </c:pt>
                <c:pt idx="316">
                  <c:v>-6.4379879999999998</c:v>
                </c:pt>
                <c:pt idx="317">
                  <c:v>-6.4702124359999997</c:v>
                </c:pt>
                <c:pt idx="318">
                  <c:v>-6.8529977110000004</c:v>
                </c:pt>
                <c:pt idx="319">
                  <c:v>-8.3278741909999994</c:v>
                </c:pt>
                <c:pt idx="320">
                  <c:v>-9.0966799999999992</c:v>
                </c:pt>
                <c:pt idx="321">
                  <c:v>-5.646973</c:v>
                </c:pt>
                <c:pt idx="322">
                  <c:v>-7.6464840000000001</c:v>
                </c:pt>
                <c:pt idx="323">
                  <c:v>-7.03125</c:v>
                </c:pt>
                <c:pt idx="324">
                  <c:v>-5.9326169999999996</c:v>
                </c:pt>
                <c:pt idx="325">
                  <c:v>-5.8447269999999998</c:v>
                </c:pt>
                <c:pt idx="326">
                  <c:v>-8.4155270000000009</c:v>
                </c:pt>
                <c:pt idx="327">
                  <c:v>-3.6254879999999998</c:v>
                </c:pt>
                <c:pt idx="328">
                  <c:v>-8.4814450000000008</c:v>
                </c:pt>
                <c:pt idx="329">
                  <c:v>-4.921875</c:v>
                </c:pt>
                <c:pt idx="330">
                  <c:v>-4.0429690000000003</c:v>
                </c:pt>
                <c:pt idx="331">
                  <c:v>-7.6464840000000001</c:v>
                </c:pt>
                <c:pt idx="332">
                  <c:v>-5.8666989999999997</c:v>
                </c:pt>
                <c:pt idx="333">
                  <c:v>-5.8007809999999997</c:v>
                </c:pt>
                <c:pt idx="334">
                  <c:v>-4.0649410000000001</c:v>
                </c:pt>
                <c:pt idx="335">
                  <c:v>-7.4926760000000003</c:v>
                </c:pt>
                <c:pt idx="336">
                  <c:v>-5.7788089999999999</c:v>
                </c:pt>
                <c:pt idx="337">
                  <c:v>-6.8923861710000001</c:v>
                </c:pt>
                <c:pt idx="338">
                  <c:v>-6.9813182229999997</c:v>
                </c:pt>
                <c:pt idx="339">
                  <c:v>-7.4267580000000004</c:v>
                </c:pt>
                <c:pt idx="340">
                  <c:v>-3.3178709999999998</c:v>
                </c:pt>
                <c:pt idx="341">
                  <c:v>-6.2622070000000001</c:v>
                </c:pt>
                <c:pt idx="342">
                  <c:v>-4.921875</c:v>
                </c:pt>
                <c:pt idx="343">
                  <c:v>-7.1191409999999999</c:v>
                </c:pt>
                <c:pt idx="344">
                  <c:v>-7.6684570000000001</c:v>
                </c:pt>
                <c:pt idx="345">
                  <c:v>-3.0322269999999998</c:v>
                </c:pt>
                <c:pt idx="346">
                  <c:v>-7.1411129999999998</c:v>
                </c:pt>
                <c:pt idx="347">
                  <c:v>-6.9947403179999998</c:v>
                </c:pt>
                <c:pt idx="348">
                  <c:v>-6.9433590000000001</c:v>
                </c:pt>
                <c:pt idx="349">
                  <c:v>-6.848732246</c:v>
                </c:pt>
                <c:pt idx="350">
                  <c:v>-5.6172102800000001</c:v>
                </c:pt>
                <c:pt idx="351">
                  <c:v>-5.4272460000000002</c:v>
                </c:pt>
                <c:pt idx="352">
                  <c:v>-2.790527</c:v>
                </c:pt>
                <c:pt idx="353">
                  <c:v>-8.5693359999999998</c:v>
                </c:pt>
                <c:pt idx="354">
                  <c:v>-1.40625</c:v>
                </c:pt>
                <c:pt idx="355">
                  <c:v>-5.5810550000000001</c:v>
                </c:pt>
                <c:pt idx="356">
                  <c:v>-5.8007809999999997</c:v>
                </c:pt>
                <c:pt idx="357">
                  <c:v>-9.0966799999999992</c:v>
                </c:pt>
                <c:pt idx="358">
                  <c:v>-2.416992</c:v>
                </c:pt>
                <c:pt idx="359">
                  <c:v>-6.9873050000000001</c:v>
                </c:pt>
                <c:pt idx="360">
                  <c:v>-3.3398439999999998</c:v>
                </c:pt>
                <c:pt idx="361">
                  <c:v>-5.1416019999999998</c:v>
                </c:pt>
                <c:pt idx="362">
                  <c:v>-6.1962890000000002</c:v>
                </c:pt>
                <c:pt idx="363">
                  <c:v>-0.48339840000000001</c:v>
                </c:pt>
                <c:pt idx="364">
                  <c:v>-5.2734379999999996</c:v>
                </c:pt>
                <c:pt idx="365">
                  <c:v>-1.73584</c:v>
                </c:pt>
                <c:pt idx="366">
                  <c:v>-8.8549799999999994</c:v>
                </c:pt>
                <c:pt idx="367">
                  <c:v>-2.6147459999999998</c:v>
                </c:pt>
                <c:pt idx="368">
                  <c:v>-2.6147459999999998</c:v>
                </c:pt>
                <c:pt idx="369">
                  <c:v>-7.8002929999999999</c:v>
                </c:pt>
                <c:pt idx="370">
                  <c:v>-8.8642094599999997</c:v>
                </c:pt>
                <c:pt idx="371">
                  <c:v>-9.1186520000000009</c:v>
                </c:pt>
                <c:pt idx="372">
                  <c:v>-5.5810550000000001</c:v>
                </c:pt>
                <c:pt idx="373">
                  <c:v>-5.2294919999999996</c:v>
                </c:pt>
                <c:pt idx="374">
                  <c:v>-1.1206050000000001</c:v>
                </c:pt>
                <c:pt idx="375">
                  <c:v>-7.3608399999999996</c:v>
                </c:pt>
                <c:pt idx="376">
                  <c:v>-7.5539147099999999</c:v>
                </c:pt>
                <c:pt idx="377">
                  <c:v>-8.9681349800000003</c:v>
                </c:pt>
                <c:pt idx="378">
                  <c:v>-9.0966799999999992</c:v>
                </c:pt>
                <c:pt idx="379">
                  <c:v>-5.7128909999999999</c:v>
                </c:pt>
                <c:pt idx="380">
                  <c:v>-6.6357419999999996</c:v>
                </c:pt>
                <c:pt idx="381">
                  <c:v>-6.2622070000000001</c:v>
                </c:pt>
                <c:pt idx="382">
                  <c:v>-7.4707030000000003</c:v>
                </c:pt>
                <c:pt idx="383">
                  <c:v>-7.830602839</c:v>
                </c:pt>
                <c:pt idx="384">
                  <c:v>-8.3276369999999993</c:v>
                </c:pt>
                <c:pt idx="385">
                  <c:v>-3.3398439999999998</c:v>
                </c:pt>
                <c:pt idx="386">
                  <c:v>-7.9321289999999998</c:v>
                </c:pt>
                <c:pt idx="387">
                  <c:v>-2.9223629999999998</c:v>
                </c:pt>
                <c:pt idx="388">
                  <c:v>-7.9541019999999998</c:v>
                </c:pt>
                <c:pt idx="389">
                  <c:v>-6.8774410000000001</c:v>
                </c:pt>
                <c:pt idx="390">
                  <c:v>-5.7348629999999998</c:v>
                </c:pt>
                <c:pt idx="391">
                  <c:v>-5.1579006249999999</c:v>
                </c:pt>
                <c:pt idx="392">
                  <c:v>-3.4277340000000001</c:v>
                </c:pt>
                <c:pt idx="393">
                  <c:v>-9.0966799999999992</c:v>
                </c:pt>
                <c:pt idx="394">
                  <c:v>-4.5483399999999996</c:v>
                </c:pt>
                <c:pt idx="395">
                  <c:v>-6.8334960000000002</c:v>
                </c:pt>
                <c:pt idx="396">
                  <c:v>-8.8549799999999994</c:v>
                </c:pt>
                <c:pt idx="397">
                  <c:v>-3.0761720000000001</c:v>
                </c:pt>
                <c:pt idx="398">
                  <c:v>-7.8222659999999999</c:v>
                </c:pt>
                <c:pt idx="399">
                  <c:v>-5.2514649999999996</c:v>
                </c:pt>
                <c:pt idx="400">
                  <c:v>-9.0966799999999992</c:v>
                </c:pt>
                <c:pt idx="401">
                  <c:v>-3.0761720000000001</c:v>
                </c:pt>
                <c:pt idx="402">
                  <c:v>-5.5723610389999996</c:v>
                </c:pt>
                <c:pt idx="403">
                  <c:v>-8.1079100000000004</c:v>
                </c:pt>
                <c:pt idx="404">
                  <c:v>-4.0209960000000002</c:v>
                </c:pt>
                <c:pt idx="405">
                  <c:v>-4.2849578639999999</c:v>
                </c:pt>
                <c:pt idx="406">
                  <c:v>-4.4604489999999997</c:v>
                </c:pt>
                <c:pt idx="407">
                  <c:v>-6.4819339999999999</c:v>
                </c:pt>
                <c:pt idx="408">
                  <c:v>-9.0747070000000001</c:v>
                </c:pt>
                <c:pt idx="409">
                  <c:v>-4.8559570000000001</c:v>
                </c:pt>
                <c:pt idx="410">
                  <c:v>-5.3527208240000004</c:v>
                </c:pt>
                <c:pt idx="411">
                  <c:v>-6.1137471210000003</c:v>
                </c:pt>
                <c:pt idx="412">
                  <c:v>-7.1057363410000001</c:v>
                </c:pt>
                <c:pt idx="413">
                  <c:v>-7.5026345919999997</c:v>
                </c:pt>
                <c:pt idx="414">
                  <c:v>-7.734375</c:v>
                </c:pt>
                <c:pt idx="415">
                  <c:v>-9.0087890000000002</c:v>
                </c:pt>
                <c:pt idx="416">
                  <c:v>-2.4609380000000001</c:v>
                </c:pt>
                <c:pt idx="417">
                  <c:v>-7.3828129999999996</c:v>
                </c:pt>
                <c:pt idx="418">
                  <c:v>-7.03125</c:v>
                </c:pt>
                <c:pt idx="419">
                  <c:v>-8.0200043959999991</c:v>
                </c:pt>
                <c:pt idx="420">
                  <c:v>-8.3489006710000009</c:v>
                </c:pt>
                <c:pt idx="421">
                  <c:v>-9.0966799999999992</c:v>
                </c:pt>
                <c:pt idx="422">
                  <c:v>-8.9059465719999995</c:v>
                </c:pt>
                <c:pt idx="423">
                  <c:v>-8.1621421410000004</c:v>
                </c:pt>
                <c:pt idx="424">
                  <c:v>-7.2290039999999998</c:v>
                </c:pt>
                <c:pt idx="425">
                  <c:v>-7.4926760000000003</c:v>
                </c:pt>
                <c:pt idx="426">
                  <c:v>-5.0756839999999999</c:v>
                </c:pt>
                <c:pt idx="427">
                  <c:v>-5.1873963669999998</c:v>
                </c:pt>
                <c:pt idx="428">
                  <c:v>-5.2734379999999996</c:v>
                </c:pt>
                <c:pt idx="429">
                  <c:v>-7.3828129999999996</c:v>
                </c:pt>
                <c:pt idx="430">
                  <c:v>-7.3910839020000001</c:v>
                </c:pt>
                <c:pt idx="431">
                  <c:v>-7.5366210000000002</c:v>
                </c:pt>
                <c:pt idx="432">
                  <c:v>-7.3828129999999996</c:v>
                </c:pt>
                <c:pt idx="433">
                  <c:v>-7.45600927</c:v>
                </c:pt>
                <c:pt idx="434">
                  <c:v>-7.5657259330000004</c:v>
                </c:pt>
                <c:pt idx="435">
                  <c:v>-7.6025390000000002</c:v>
                </c:pt>
                <c:pt idx="436">
                  <c:v>-3.2299799999999999</c:v>
                </c:pt>
                <c:pt idx="437">
                  <c:v>-7.7783199999999999</c:v>
                </c:pt>
                <c:pt idx="438">
                  <c:v>-5.9985350000000004</c:v>
                </c:pt>
                <c:pt idx="439">
                  <c:v>-9.0966799999999992</c:v>
                </c:pt>
                <c:pt idx="440">
                  <c:v>-3.0322269999999998</c:v>
                </c:pt>
                <c:pt idx="441">
                  <c:v>-8.8989259999999994</c:v>
                </c:pt>
                <c:pt idx="442">
                  <c:v>-7.0971679999999999</c:v>
                </c:pt>
                <c:pt idx="443">
                  <c:v>-3.2519529999999999</c:v>
                </c:pt>
                <c:pt idx="444">
                  <c:v>-6.6796879999999996</c:v>
                </c:pt>
                <c:pt idx="445">
                  <c:v>-7.2070309999999997</c:v>
                </c:pt>
                <c:pt idx="446">
                  <c:v>-4.7021480000000002</c:v>
                </c:pt>
                <c:pt idx="447">
                  <c:v>-7.756348</c:v>
                </c:pt>
                <c:pt idx="448">
                  <c:v>-7.2193280599999996</c:v>
                </c:pt>
                <c:pt idx="449">
                  <c:v>-6.7895510000000003</c:v>
                </c:pt>
                <c:pt idx="450">
                  <c:v>-8.9428710000000002</c:v>
                </c:pt>
                <c:pt idx="451">
                  <c:v>-2.9882810000000002</c:v>
                </c:pt>
                <c:pt idx="452">
                  <c:v>-7.3057123969999997</c:v>
                </c:pt>
                <c:pt idx="453">
                  <c:v>-8.4814450000000008</c:v>
                </c:pt>
                <c:pt idx="454">
                  <c:v>-6.8334960000000002</c:v>
                </c:pt>
                <c:pt idx="455">
                  <c:v>-6.8658153009999996</c:v>
                </c:pt>
                <c:pt idx="456">
                  <c:v>-6.9369048360000001</c:v>
                </c:pt>
                <c:pt idx="457">
                  <c:v>-6.9433590000000001</c:v>
                </c:pt>
                <c:pt idx="458">
                  <c:v>-7.8442379999999998</c:v>
                </c:pt>
                <c:pt idx="459">
                  <c:v>-3.911133</c:v>
                </c:pt>
                <c:pt idx="460">
                  <c:v>-7.5146480000000002</c:v>
                </c:pt>
                <c:pt idx="461">
                  <c:v>-7.7613114919999999</c:v>
                </c:pt>
                <c:pt idx="462">
                  <c:v>-7.8222659999999999</c:v>
                </c:pt>
                <c:pt idx="463">
                  <c:v>-7.4267580000000004</c:v>
                </c:pt>
                <c:pt idx="464">
                  <c:v>-2.087402</c:v>
                </c:pt>
                <c:pt idx="465">
                  <c:v>-5.4052730000000002</c:v>
                </c:pt>
                <c:pt idx="466">
                  <c:v>-6.4379879999999998</c:v>
                </c:pt>
                <c:pt idx="467">
                  <c:v>0.50537109999999996</c:v>
                </c:pt>
                <c:pt idx="468">
                  <c:v>-5.6689449999999999</c:v>
                </c:pt>
                <c:pt idx="469">
                  <c:v>-5.2648796349999998</c:v>
                </c:pt>
                <c:pt idx="470">
                  <c:v>-4.8559570000000001</c:v>
                </c:pt>
                <c:pt idx="471">
                  <c:v>-5.4931640000000002</c:v>
                </c:pt>
                <c:pt idx="472">
                  <c:v>-9.0966799999999992</c:v>
                </c:pt>
                <c:pt idx="473">
                  <c:v>-6.544394746</c:v>
                </c:pt>
                <c:pt idx="474">
                  <c:v>-5.9545899999999996</c:v>
                </c:pt>
                <c:pt idx="475">
                  <c:v>-9.0966799999999992</c:v>
                </c:pt>
                <c:pt idx="476">
                  <c:v>-6.7807432969999999</c:v>
                </c:pt>
                <c:pt idx="477">
                  <c:v>-4.4604489999999997</c:v>
                </c:pt>
                <c:pt idx="478">
                  <c:v>-7.8442379999999998</c:v>
                </c:pt>
                <c:pt idx="479">
                  <c:v>-7.1411129999999998</c:v>
                </c:pt>
                <c:pt idx="480">
                  <c:v>-6.2365927250000004</c:v>
                </c:pt>
                <c:pt idx="481">
                  <c:v>-4.5263669999999996</c:v>
                </c:pt>
                <c:pt idx="482">
                  <c:v>-8.2177729999999993</c:v>
                </c:pt>
                <c:pt idx="483">
                  <c:v>-0.90087890000000004</c:v>
                </c:pt>
                <c:pt idx="484">
                  <c:v>-7.5366210000000002</c:v>
                </c:pt>
                <c:pt idx="485">
                  <c:v>-5.3393550000000003</c:v>
                </c:pt>
                <c:pt idx="486">
                  <c:v>-6.2622070000000001</c:v>
                </c:pt>
                <c:pt idx="487">
                  <c:v>-4.2626949999999999</c:v>
                </c:pt>
                <c:pt idx="488">
                  <c:v>-8.2617189999999994</c:v>
                </c:pt>
                <c:pt idx="489">
                  <c:v>-7.8670012849999997</c:v>
                </c:pt>
                <c:pt idx="490">
                  <c:v>-7.6712858150000001</c:v>
                </c:pt>
                <c:pt idx="491">
                  <c:v>-4.6801760000000003</c:v>
                </c:pt>
                <c:pt idx="492">
                  <c:v>-5.7380594140000003</c:v>
                </c:pt>
                <c:pt idx="493">
                  <c:v>-7.053223</c:v>
                </c:pt>
                <c:pt idx="494">
                  <c:v>-6.1303710000000002</c:v>
                </c:pt>
                <c:pt idx="495">
                  <c:v>-8.7679602130000003</c:v>
                </c:pt>
                <c:pt idx="496">
                  <c:v>-8.9092239850000006</c:v>
                </c:pt>
                <c:pt idx="497">
                  <c:v>-8.9826369330000002</c:v>
                </c:pt>
                <c:pt idx="498">
                  <c:v>-9.0527339999999992</c:v>
                </c:pt>
                <c:pt idx="499">
                  <c:v>-4.21875</c:v>
                </c:pt>
                <c:pt idx="500">
                  <c:v>-7.2509769999999998</c:v>
                </c:pt>
                <c:pt idx="501">
                  <c:v>-5.3833010000000003</c:v>
                </c:pt>
                <c:pt idx="502">
                  <c:v>-6.7456050000000003</c:v>
                </c:pt>
                <c:pt idx="503">
                  <c:v>-5.3173830000000004</c:v>
                </c:pt>
                <c:pt idx="504">
                  <c:v>-8.9648439999999994</c:v>
                </c:pt>
                <c:pt idx="505">
                  <c:v>-7.3608399999999996</c:v>
                </c:pt>
                <c:pt idx="506">
                  <c:v>-4.4165039999999998</c:v>
                </c:pt>
                <c:pt idx="507">
                  <c:v>-8.7451170000000005</c:v>
                </c:pt>
                <c:pt idx="508">
                  <c:v>-1.3623050000000001</c:v>
                </c:pt>
                <c:pt idx="509">
                  <c:v>-8.2617189999999994</c:v>
                </c:pt>
                <c:pt idx="510">
                  <c:v>-7.8002929999999999</c:v>
                </c:pt>
                <c:pt idx="511">
                  <c:v>-4.5043949999999997</c:v>
                </c:pt>
                <c:pt idx="512">
                  <c:v>-8.5693359999999998</c:v>
                </c:pt>
                <c:pt idx="513">
                  <c:v>-5.0317379999999998</c:v>
                </c:pt>
                <c:pt idx="514">
                  <c:v>-5.2528653810000003</c:v>
                </c:pt>
                <c:pt idx="515">
                  <c:v>-5.8007809999999997</c:v>
                </c:pt>
                <c:pt idx="516">
                  <c:v>-9.0527339999999992</c:v>
                </c:pt>
                <c:pt idx="517">
                  <c:v>-8.7206533820000001</c:v>
                </c:pt>
                <c:pt idx="518">
                  <c:v>-7.03125</c:v>
                </c:pt>
                <c:pt idx="519">
                  <c:v>-8.9428710000000002</c:v>
                </c:pt>
                <c:pt idx="520">
                  <c:v>-6.328125</c:v>
                </c:pt>
                <c:pt idx="521">
                  <c:v>-6.5478519999999998</c:v>
                </c:pt>
                <c:pt idx="522">
                  <c:v>-0.79101560000000004</c:v>
                </c:pt>
                <c:pt idx="523">
                  <c:v>-9.0087890000000002</c:v>
                </c:pt>
                <c:pt idx="524">
                  <c:v>-5.0115431949999998</c:v>
                </c:pt>
                <c:pt idx="525">
                  <c:v>-3.0322269999999998</c:v>
                </c:pt>
                <c:pt idx="526">
                  <c:v>-3.3990925409999999</c:v>
                </c:pt>
                <c:pt idx="527">
                  <c:v>-6.1962890000000002</c:v>
                </c:pt>
                <c:pt idx="528">
                  <c:v>-5.9326169999999996</c:v>
                </c:pt>
                <c:pt idx="529">
                  <c:v>-8.1518549999999994</c:v>
                </c:pt>
                <c:pt idx="530">
                  <c:v>-5.0537109999999998</c:v>
                </c:pt>
                <c:pt idx="531">
                  <c:v>-9.0527339999999992</c:v>
                </c:pt>
                <c:pt idx="532">
                  <c:v>-8.7553868119999994</c:v>
                </c:pt>
                <c:pt idx="533">
                  <c:v>-7.477692695</c:v>
                </c:pt>
                <c:pt idx="534">
                  <c:v>-7.2700473460000001</c:v>
                </c:pt>
                <c:pt idx="535">
                  <c:v>-5.8447269999999998</c:v>
                </c:pt>
                <c:pt idx="536">
                  <c:v>-9.0747070000000001</c:v>
                </c:pt>
                <c:pt idx="537">
                  <c:v>-5.5371090000000001</c:v>
                </c:pt>
                <c:pt idx="538">
                  <c:v>-9.0966799999999992</c:v>
                </c:pt>
                <c:pt idx="539">
                  <c:v>-3.7353519999999998</c:v>
                </c:pt>
                <c:pt idx="540">
                  <c:v>-8.3715820000000001</c:v>
                </c:pt>
                <c:pt idx="541">
                  <c:v>-8.5590499040000001</c:v>
                </c:pt>
                <c:pt idx="542">
                  <c:v>-8.7231450000000006</c:v>
                </c:pt>
                <c:pt idx="543">
                  <c:v>-7.5366210000000002</c:v>
                </c:pt>
                <c:pt idx="544">
                  <c:v>-7.2227641120000001</c:v>
                </c:pt>
                <c:pt idx="545">
                  <c:v>-6.6577149999999996</c:v>
                </c:pt>
                <c:pt idx="546">
                  <c:v>-3.546355385</c:v>
                </c:pt>
                <c:pt idx="547">
                  <c:v>-2.9443359999999998</c:v>
                </c:pt>
                <c:pt idx="548">
                  <c:v>-1.625977</c:v>
                </c:pt>
                <c:pt idx="549">
                  <c:v>-9.0527339999999992</c:v>
                </c:pt>
                <c:pt idx="550">
                  <c:v>-4.3725589999999999</c:v>
                </c:pt>
                <c:pt idx="551">
                  <c:v>-7.6025390000000002</c:v>
                </c:pt>
                <c:pt idx="552">
                  <c:v>-4.196777</c:v>
                </c:pt>
                <c:pt idx="553">
                  <c:v>-4.7934002009999999</c:v>
                </c:pt>
                <c:pt idx="554">
                  <c:v>-9.0747070000000001</c:v>
                </c:pt>
                <c:pt idx="555">
                  <c:v>-8.0200200000000006</c:v>
                </c:pt>
                <c:pt idx="556">
                  <c:v>-4.4384769999999998</c:v>
                </c:pt>
                <c:pt idx="557">
                  <c:v>-9.0966799999999992</c:v>
                </c:pt>
                <c:pt idx="558">
                  <c:v>-7.3828129999999996</c:v>
                </c:pt>
                <c:pt idx="559">
                  <c:v>0.63720699999999997</c:v>
                </c:pt>
                <c:pt idx="560">
                  <c:v>-7.5146480000000002</c:v>
                </c:pt>
                <c:pt idx="561">
                  <c:v>-9.0966799999999992</c:v>
                </c:pt>
                <c:pt idx="562">
                  <c:v>-1.6479490000000001</c:v>
                </c:pt>
                <c:pt idx="563">
                  <c:v>-9.0966799999999992</c:v>
                </c:pt>
                <c:pt idx="564">
                  <c:v>-4.8339840000000001</c:v>
                </c:pt>
                <c:pt idx="565">
                  <c:v>-8.5913090000000008</c:v>
                </c:pt>
                <c:pt idx="566">
                  <c:v>-8.9428710000000002</c:v>
                </c:pt>
                <c:pt idx="567">
                  <c:v>-5.5810550000000001</c:v>
                </c:pt>
                <c:pt idx="568">
                  <c:v>-9.0747070000000001</c:v>
                </c:pt>
                <c:pt idx="569">
                  <c:v>-7.8442379999999998</c:v>
                </c:pt>
                <c:pt idx="570">
                  <c:v>-6.2841800000000001</c:v>
                </c:pt>
                <c:pt idx="571">
                  <c:v>-6.4061091379999997</c:v>
                </c:pt>
                <c:pt idx="572">
                  <c:v>-8.6352539999999998</c:v>
                </c:pt>
                <c:pt idx="573">
                  <c:v>-3.7133790000000002</c:v>
                </c:pt>
                <c:pt idx="574">
                  <c:v>-8.6352539999999998</c:v>
                </c:pt>
                <c:pt idx="575">
                  <c:v>-5.2514649999999996</c:v>
                </c:pt>
                <c:pt idx="576">
                  <c:v>-6.1111545359999999</c:v>
                </c:pt>
                <c:pt idx="577">
                  <c:v>-9.0966799999999992</c:v>
                </c:pt>
                <c:pt idx="578">
                  <c:v>-9.0863572969999993</c:v>
                </c:pt>
                <c:pt idx="579">
                  <c:v>-9.0826842239999994</c:v>
                </c:pt>
                <c:pt idx="580">
                  <c:v>-9.0823517010000003</c:v>
                </c:pt>
                <c:pt idx="581">
                  <c:v>-9.0747070000000001</c:v>
                </c:pt>
                <c:pt idx="582">
                  <c:v>-5.6689449999999999</c:v>
                </c:pt>
                <c:pt idx="583">
                  <c:v>-8.7451170000000005</c:v>
                </c:pt>
                <c:pt idx="584">
                  <c:v>-8.6433571330000003</c:v>
                </c:pt>
                <c:pt idx="585">
                  <c:v>-7.5585940000000003</c:v>
                </c:pt>
                <c:pt idx="586">
                  <c:v>-3.4057620000000002</c:v>
                </c:pt>
                <c:pt idx="587">
                  <c:v>-8.7670899999999996</c:v>
                </c:pt>
                <c:pt idx="588">
                  <c:v>-5.4052730000000002</c:v>
                </c:pt>
                <c:pt idx="589">
                  <c:v>-8.7011719999999997</c:v>
                </c:pt>
                <c:pt idx="590">
                  <c:v>-5.646973</c:v>
                </c:pt>
                <c:pt idx="591">
                  <c:v>-9.0087890000000002</c:v>
                </c:pt>
                <c:pt idx="592">
                  <c:v>-7.4707030000000003</c:v>
                </c:pt>
                <c:pt idx="593">
                  <c:v>-7.7677103919999997</c:v>
                </c:pt>
                <c:pt idx="594">
                  <c:v>-7.7950934289999996</c:v>
                </c:pt>
                <c:pt idx="595">
                  <c:v>-8.4430168800000001</c:v>
                </c:pt>
                <c:pt idx="596">
                  <c:v>-8.7268593489999997</c:v>
                </c:pt>
                <c:pt idx="597">
                  <c:v>-8.7670899999999996</c:v>
                </c:pt>
                <c:pt idx="598">
                  <c:v>-6.8115230000000002</c:v>
                </c:pt>
                <c:pt idx="599">
                  <c:v>-4.7058990749999996</c:v>
                </c:pt>
                <c:pt idx="600">
                  <c:v>-4.5703129999999996</c:v>
                </c:pt>
                <c:pt idx="601">
                  <c:v>-9.0966799999999992</c:v>
                </c:pt>
                <c:pt idx="602">
                  <c:v>-7.5366210000000002</c:v>
                </c:pt>
                <c:pt idx="603">
                  <c:v>-1.779785</c:v>
                </c:pt>
                <c:pt idx="604">
                  <c:v>-8.8549799999999994</c:v>
                </c:pt>
                <c:pt idx="605">
                  <c:v>-7.8341911189999998</c:v>
                </c:pt>
                <c:pt idx="606">
                  <c:v>-7.7335304989999996</c:v>
                </c:pt>
                <c:pt idx="607">
                  <c:v>-5.8860546850000004</c:v>
                </c:pt>
                <c:pt idx="608">
                  <c:v>-5.2734379999999996</c:v>
                </c:pt>
                <c:pt idx="609">
                  <c:v>-8.3276369999999993</c:v>
                </c:pt>
                <c:pt idx="610">
                  <c:v>-8.3492524909999997</c:v>
                </c:pt>
                <c:pt idx="611">
                  <c:v>-8.4801619430000006</c:v>
                </c:pt>
                <c:pt idx="612">
                  <c:v>-8.5195349460000003</c:v>
                </c:pt>
                <c:pt idx="613">
                  <c:v>-8.520853142</c:v>
                </c:pt>
                <c:pt idx="614">
                  <c:v>-8.5920045849999998</c:v>
                </c:pt>
                <c:pt idx="615">
                  <c:v>-8.5932935449999999</c:v>
                </c:pt>
                <c:pt idx="616">
                  <c:v>-8.6352539999999998</c:v>
                </c:pt>
                <c:pt idx="617">
                  <c:v>1.3623050000000001</c:v>
                </c:pt>
                <c:pt idx="618">
                  <c:v>-6.6357419999999996</c:v>
                </c:pt>
                <c:pt idx="619">
                  <c:v>-3.6474609999999998</c:v>
                </c:pt>
                <c:pt idx="620">
                  <c:v>-7.8222659999999999</c:v>
                </c:pt>
                <c:pt idx="621">
                  <c:v>-7.7077392329999999</c:v>
                </c:pt>
                <c:pt idx="622">
                  <c:v>-6.1743160000000001</c:v>
                </c:pt>
                <c:pt idx="623">
                  <c:v>-5.2514649999999996</c:v>
                </c:pt>
                <c:pt idx="624">
                  <c:v>-8.9648439999999994</c:v>
                </c:pt>
                <c:pt idx="625">
                  <c:v>-8.2421955990000004</c:v>
                </c:pt>
                <c:pt idx="626">
                  <c:v>-7.2070309999999997</c:v>
                </c:pt>
                <c:pt idx="627">
                  <c:v>-2.7685550000000001</c:v>
                </c:pt>
                <c:pt idx="628">
                  <c:v>-7.756348</c:v>
                </c:pt>
                <c:pt idx="629">
                  <c:v>-2.7465820000000001</c:v>
                </c:pt>
                <c:pt idx="630">
                  <c:v>-5.2514649999999996</c:v>
                </c:pt>
                <c:pt idx="631">
                  <c:v>-0.65917970000000004</c:v>
                </c:pt>
                <c:pt idx="632">
                  <c:v>-9.0966799999999992</c:v>
                </c:pt>
                <c:pt idx="633">
                  <c:v>-4.5483399999999996</c:v>
                </c:pt>
                <c:pt idx="634">
                  <c:v>-6.8115230000000002</c:v>
                </c:pt>
                <c:pt idx="635">
                  <c:v>-7.6847023739999996</c:v>
                </c:pt>
                <c:pt idx="636">
                  <c:v>-8.7890630000000005</c:v>
                </c:pt>
                <c:pt idx="637">
                  <c:v>-4.1748050000000001</c:v>
                </c:pt>
                <c:pt idx="638">
                  <c:v>-9.0966799999999992</c:v>
                </c:pt>
                <c:pt idx="639">
                  <c:v>-5.4492190000000003</c:v>
                </c:pt>
                <c:pt idx="640">
                  <c:v>-7.1630859999999998</c:v>
                </c:pt>
                <c:pt idx="641">
                  <c:v>-4.7241210000000002</c:v>
                </c:pt>
                <c:pt idx="642">
                  <c:v>-7.9321289999999998</c:v>
                </c:pt>
                <c:pt idx="643">
                  <c:v>-3.911133</c:v>
                </c:pt>
                <c:pt idx="644">
                  <c:v>-6.3595147289999998</c:v>
                </c:pt>
                <c:pt idx="645">
                  <c:v>-8.9648439999999994</c:v>
                </c:pt>
                <c:pt idx="646">
                  <c:v>-9.1186520000000009</c:v>
                </c:pt>
                <c:pt idx="647">
                  <c:v>-4.196777</c:v>
                </c:pt>
                <c:pt idx="648">
                  <c:v>-9.0747070000000001</c:v>
                </c:pt>
                <c:pt idx="649">
                  <c:v>-8.979771586</c:v>
                </c:pt>
                <c:pt idx="650">
                  <c:v>-8.8456206430000002</c:v>
                </c:pt>
                <c:pt idx="651">
                  <c:v>-7.6464840000000001</c:v>
                </c:pt>
                <c:pt idx="652">
                  <c:v>-4.9658199999999999</c:v>
                </c:pt>
                <c:pt idx="653">
                  <c:v>-8.7890630000000005</c:v>
                </c:pt>
                <c:pt idx="654">
                  <c:v>0.39640329200000002</c:v>
                </c:pt>
                <c:pt idx="655">
                  <c:v>3.7353519999999998</c:v>
                </c:pt>
                <c:pt idx="656">
                  <c:v>-9.0966799999999992</c:v>
                </c:pt>
                <c:pt idx="657">
                  <c:v>-9.1100560050000006</c:v>
                </c:pt>
                <c:pt idx="658">
                  <c:v>-9.1133027250000005</c:v>
                </c:pt>
                <c:pt idx="659">
                  <c:v>-9.1154036559999998</c:v>
                </c:pt>
                <c:pt idx="660">
                  <c:v>-9.1155899090000005</c:v>
                </c:pt>
                <c:pt idx="661">
                  <c:v>-9.1182645939999993</c:v>
                </c:pt>
                <c:pt idx="662">
                  <c:v>-9.1186520000000009</c:v>
                </c:pt>
                <c:pt idx="663">
                  <c:v>-4.4604489999999997</c:v>
                </c:pt>
                <c:pt idx="664">
                  <c:v>-7.5805660000000001</c:v>
                </c:pt>
                <c:pt idx="665">
                  <c:v>-7.3608399999999996</c:v>
                </c:pt>
                <c:pt idx="666">
                  <c:v>-7.1898662470000003</c:v>
                </c:pt>
                <c:pt idx="667">
                  <c:v>-7.0751949999999999</c:v>
                </c:pt>
                <c:pt idx="668">
                  <c:v>-9.0966799999999992</c:v>
                </c:pt>
                <c:pt idx="669">
                  <c:v>-5.4492190000000003</c:v>
                </c:pt>
                <c:pt idx="670">
                  <c:v>-8.8330079999999995</c:v>
                </c:pt>
                <c:pt idx="671">
                  <c:v>-4.8559570000000001</c:v>
                </c:pt>
                <c:pt idx="672">
                  <c:v>-8.6352539999999998</c:v>
                </c:pt>
                <c:pt idx="673">
                  <c:v>-6.4379879999999998</c:v>
                </c:pt>
                <c:pt idx="674">
                  <c:v>-3.0102540000000002</c:v>
                </c:pt>
                <c:pt idx="675">
                  <c:v>-9.1186520000000009</c:v>
                </c:pt>
                <c:pt idx="676">
                  <c:v>-9.0747070000000001</c:v>
                </c:pt>
                <c:pt idx="677">
                  <c:v>-5.8666989999999997</c:v>
                </c:pt>
                <c:pt idx="678">
                  <c:v>-9.0087890000000002</c:v>
                </c:pt>
                <c:pt idx="679">
                  <c:v>-7.1191409999999999</c:v>
                </c:pt>
                <c:pt idx="680">
                  <c:v>-7.4487300000000003</c:v>
                </c:pt>
                <c:pt idx="681">
                  <c:v>-1.4721679999999999</c:v>
                </c:pt>
                <c:pt idx="682">
                  <c:v>-7.6464840000000001</c:v>
                </c:pt>
                <c:pt idx="683">
                  <c:v>-6.7078430190000002</c:v>
                </c:pt>
                <c:pt idx="684">
                  <c:v>-5.8227539999999998</c:v>
                </c:pt>
                <c:pt idx="685">
                  <c:v>-6.6039335059999997</c:v>
                </c:pt>
                <c:pt idx="686">
                  <c:v>-7.7370625110000004</c:v>
                </c:pt>
                <c:pt idx="687">
                  <c:v>-8.7720830559999996</c:v>
                </c:pt>
                <c:pt idx="688">
                  <c:v>-9.1186520000000009</c:v>
                </c:pt>
                <c:pt idx="689">
                  <c:v>-6.7236330000000004</c:v>
                </c:pt>
                <c:pt idx="690">
                  <c:v>-8.4557997670000002</c:v>
                </c:pt>
                <c:pt idx="691">
                  <c:v>-8.6791990000000006</c:v>
                </c:pt>
                <c:pt idx="692">
                  <c:v>-2.6367189999999998</c:v>
                </c:pt>
                <c:pt idx="693">
                  <c:v>-6.2402340000000001</c:v>
                </c:pt>
                <c:pt idx="694">
                  <c:v>-4.9658199999999999</c:v>
                </c:pt>
                <c:pt idx="695">
                  <c:v>-8.6791990000000006</c:v>
                </c:pt>
                <c:pt idx="696">
                  <c:v>-3.9550779999999999</c:v>
                </c:pt>
                <c:pt idx="697">
                  <c:v>-9.1186520000000009</c:v>
                </c:pt>
                <c:pt idx="698">
                  <c:v>-4.7900390000000002</c:v>
                </c:pt>
                <c:pt idx="699">
                  <c:v>-4.2626949999999999</c:v>
                </c:pt>
                <c:pt idx="700">
                  <c:v>-8.5693359999999998</c:v>
                </c:pt>
                <c:pt idx="701">
                  <c:v>-6.4835068219999998</c:v>
                </c:pt>
                <c:pt idx="702">
                  <c:v>-2.1972659999999999</c:v>
                </c:pt>
                <c:pt idx="703">
                  <c:v>-3.8012700000000001</c:v>
                </c:pt>
                <c:pt idx="704">
                  <c:v>-9.0966799999999992</c:v>
                </c:pt>
                <c:pt idx="705">
                  <c:v>-2.3510740000000001</c:v>
                </c:pt>
                <c:pt idx="706">
                  <c:v>-6.5698239999999997</c:v>
                </c:pt>
                <c:pt idx="707">
                  <c:v>-6.2622070000000001</c:v>
                </c:pt>
                <c:pt idx="708">
                  <c:v>-0.1757813</c:v>
                </c:pt>
                <c:pt idx="709">
                  <c:v>-9.0747070000000001</c:v>
                </c:pt>
                <c:pt idx="710">
                  <c:v>-8.9428710000000002</c:v>
                </c:pt>
                <c:pt idx="711">
                  <c:v>2.0214840000000001</c:v>
                </c:pt>
                <c:pt idx="712">
                  <c:v>-9.0966799999999992</c:v>
                </c:pt>
                <c:pt idx="713">
                  <c:v>-5.5810550000000001</c:v>
                </c:pt>
                <c:pt idx="714">
                  <c:v>-8.8549799999999994</c:v>
                </c:pt>
                <c:pt idx="715">
                  <c:v>-7.2729489999999997</c:v>
                </c:pt>
                <c:pt idx="716">
                  <c:v>-4.9709366279999996</c:v>
                </c:pt>
                <c:pt idx="717">
                  <c:v>-4.4165039999999998</c:v>
                </c:pt>
                <c:pt idx="718">
                  <c:v>-8.6132810000000006</c:v>
                </c:pt>
                <c:pt idx="719">
                  <c:v>-7.2070309999999997</c:v>
                </c:pt>
                <c:pt idx="720">
                  <c:v>-3.6914060000000002</c:v>
                </c:pt>
                <c:pt idx="721">
                  <c:v>-8.8549799999999994</c:v>
                </c:pt>
                <c:pt idx="722">
                  <c:v>-7.3388669999999996</c:v>
                </c:pt>
                <c:pt idx="723">
                  <c:v>-3.9550779999999999</c:v>
                </c:pt>
                <c:pt idx="724">
                  <c:v>-8.1738280000000003</c:v>
                </c:pt>
                <c:pt idx="725">
                  <c:v>-8.7451170000000005</c:v>
                </c:pt>
                <c:pt idx="726">
                  <c:v>-4.0869140000000002</c:v>
                </c:pt>
                <c:pt idx="727">
                  <c:v>-9.0966799999999992</c:v>
                </c:pt>
                <c:pt idx="728">
                  <c:v>-5.2294919999999996</c:v>
                </c:pt>
                <c:pt idx="729">
                  <c:v>-5.740720381</c:v>
                </c:pt>
                <c:pt idx="730">
                  <c:v>-6.0864260000000003</c:v>
                </c:pt>
                <c:pt idx="731">
                  <c:v>-5.2075199999999997</c:v>
                </c:pt>
                <c:pt idx="732">
                  <c:v>-0.61523439999999996</c:v>
                </c:pt>
                <c:pt idx="733">
                  <c:v>-9.0747070000000001</c:v>
                </c:pt>
                <c:pt idx="734">
                  <c:v>-3.6694339999999999</c:v>
                </c:pt>
                <c:pt idx="735">
                  <c:v>-9.0966799999999992</c:v>
                </c:pt>
                <c:pt idx="736">
                  <c:v>-2.2192379999999998</c:v>
                </c:pt>
                <c:pt idx="737">
                  <c:v>-9.0527339999999992</c:v>
                </c:pt>
                <c:pt idx="738">
                  <c:v>-9.0966799999999992</c:v>
                </c:pt>
                <c:pt idx="739">
                  <c:v>-7.1191409999999999</c:v>
                </c:pt>
                <c:pt idx="740">
                  <c:v>-3.5815429999999999</c:v>
                </c:pt>
                <c:pt idx="741">
                  <c:v>-8.3496089999999992</c:v>
                </c:pt>
                <c:pt idx="742">
                  <c:v>-7.0751949999999999</c:v>
                </c:pt>
                <c:pt idx="743">
                  <c:v>-7.5034243329999999</c:v>
                </c:pt>
                <c:pt idx="744">
                  <c:v>-8.7670899999999996</c:v>
                </c:pt>
                <c:pt idx="745">
                  <c:v>-5.7568359999999998</c:v>
                </c:pt>
                <c:pt idx="746">
                  <c:v>-7.2949219999999997</c:v>
                </c:pt>
                <c:pt idx="747">
                  <c:v>-2.8564449999999999</c:v>
                </c:pt>
                <c:pt idx="748">
                  <c:v>-8.5693359999999998</c:v>
                </c:pt>
                <c:pt idx="749">
                  <c:v>-4.5922850000000004</c:v>
                </c:pt>
                <c:pt idx="750">
                  <c:v>-8.4375</c:v>
                </c:pt>
                <c:pt idx="751">
                  <c:v>-8.3948306469999991</c:v>
                </c:pt>
                <c:pt idx="752">
                  <c:v>-6.9873050000000001</c:v>
                </c:pt>
                <c:pt idx="753">
                  <c:v>-7.5842037449999999</c:v>
                </c:pt>
                <c:pt idx="754">
                  <c:v>-7.8944882610000002</c:v>
                </c:pt>
                <c:pt idx="755">
                  <c:v>-9.0966799999999992</c:v>
                </c:pt>
                <c:pt idx="756">
                  <c:v>0.13183590000000001</c:v>
                </c:pt>
                <c:pt idx="757">
                  <c:v>-5.4052730000000002</c:v>
                </c:pt>
                <c:pt idx="758">
                  <c:v>-1.713867</c:v>
                </c:pt>
                <c:pt idx="759">
                  <c:v>-8.6572270000000007</c:v>
                </c:pt>
                <c:pt idx="760">
                  <c:v>-4.8339840000000001</c:v>
                </c:pt>
                <c:pt idx="761">
                  <c:v>-6.824782227</c:v>
                </c:pt>
                <c:pt idx="762">
                  <c:v>-8.8989259999999994</c:v>
                </c:pt>
                <c:pt idx="763">
                  <c:v>-5.3833010000000003</c:v>
                </c:pt>
                <c:pt idx="764">
                  <c:v>-9.0747070000000001</c:v>
                </c:pt>
                <c:pt idx="765">
                  <c:v>-8.4843871649999993</c:v>
                </c:pt>
                <c:pt idx="766">
                  <c:v>-8.3906918509999997</c:v>
                </c:pt>
                <c:pt idx="767">
                  <c:v>-7.6967363439999996</c:v>
                </c:pt>
                <c:pt idx="768">
                  <c:v>-5.9326169999999996</c:v>
                </c:pt>
                <c:pt idx="769">
                  <c:v>-9.0966799999999992</c:v>
                </c:pt>
                <c:pt idx="770">
                  <c:v>-8.5202056929999994</c:v>
                </c:pt>
                <c:pt idx="771">
                  <c:v>-7.756348</c:v>
                </c:pt>
                <c:pt idx="772">
                  <c:v>-7.9321289999999998</c:v>
                </c:pt>
                <c:pt idx="773">
                  <c:v>-9.0966799999999992</c:v>
                </c:pt>
                <c:pt idx="774">
                  <c:v>-7.0971679999999999</c:v>
                </c:pt>
                <c:pt idx="775">
                  <c:v>-7.5585940000000003</c:v>
                </c:pt>
                <c:pt idx="776">
                  <c:v>-3.8671880000000001</c:v>
                </c:pt>
                <c:pt idx="777">
                  <c:v>-8.8330079999999995</c:v>
                </c:pt>
                <c:pt idx="778">
                  <c:v>-6.8115230000000002</c:v>
                </c:pt>
                <c:pt idx="779">
                  <c:v>-5.0976559999999997</c:v>
                </c:pt>
                <c:pt idx="780">
                  <c:v>-7.8442379999999998</c:v>
                </c:pt>
                <c:pt idx="781">
                  <c:v>-5.9985350000000004</c:v>
                </c:pt>
                <c:pt idx="782">
                  <c:v>-7.2949219999999997</c:v>
                </c:pt>
                <c:pt idx="783">
                  <c:v>-2.790527</c:v>
                </c:pt>
                <c:pt idx="784">
                  <c:v>-9.0966799999999992</c:v>
                </c:pt>
                <c:pt idx="785">
                  <c:v>-6.9707753209999996</c:v>
                </c:pt>
                <c:pt idx="786">
                  <c:v>-6.0864260000000003</c:v>
                </c:pt>
                <c:pt idx="787">
                  <c:v>-6.4379879999999998</c:v>
                </c:pt>
                <c:pt idx="788">
                  <c:v>-4.1528320000000001</c:v>
                </c:pt>
                <c:pt idx="789">
                  <c:v>-7.4487300000000003</c:v>
                </c:pt>
                <c:pt idx="790">
                  <c:v>-5.7788089999999999</c:v>
                </c:pt>
                <c:pt idx="791">
                  <c:v>3.493652</c:v>
                </c:pt>
                <c:pt idx="792">
                  <c:v>-4.899902</c:v>
                </c:pt>
                <c:pt idx="793">
                  <c:v>-6.9928036850000002</c:v>
                </c:pt>
                <c:pt idx="794">
                  <c:v>-9.1186520000000009</c:v>
                </c:pt>
                <c:pt idx="795">
                  <c:v>-7.6793867340000004</c:v>
                </c:pt>
                <c:pt idx="796">
                  <c:v>-6.168018</c:v>
                </c:pt>
                <c:pt idx="797">
                  <c:v>-5.7128909999999999</c:v>
                </c:pt>
                <c:pt idx="798">
                  <c:v>-9.0966799999999992</c:v>
                </c:pt>
                <c:pt idx="799">
                  <c:v>-5.603027</c:v>
                </c:pt>
                <c:pt idx="800">
                  <c:v>-9.0966799999999992</c:v>
                </c:pt>
                <c:pt idx="801">
                  <c:v>-3.9770509999999999</c:v>
                </c:pt>
                <c:pt idx="802">
                  <c:v>-7.6464840000000001</c:v>
                </c:pt>
                <c:pt idx="803">
                  <c:v>-5.8007809999999997</c:v>
                </c:pt>
                <c:pt idx="804">
                  <c:v>-9.0747070000000001</c:v>
                </c:pt>
                <c:pt idx="805">
                  <c:v>-5.2294919999999996</c:v>
                </c:pt>
                <c:pt idx="806">
                  <c:v>-8.5693359999999998</c:v>
                </c:pt>
                <c:pt idx="807">
                  <c:v>-9.0747070000000001</c:v>
                </c:pt>
                <c:pt idx="808">
                  <c:v>2.6806640000000002</c:v>
                </c:pt>
                <c:pt idx="809">
                  <c:v>-5.3833010000000003</c:v>
                </c:pt>
                <c:pt idx="810">
                  <c:v>-6.8774410000000001</c:v>
                </c:pt>
                <c:pt idx="811">
                  <c:v>-2.9003909999999999</c:v>
                </c:pt>
                <c:pt idx="812">
                  <c:v>-8.9208979999999993</c:v>
                </c:pt>
                <c:pt idx="813">
                  <c:v>-5.2075199999999997</c:v>
                </c:pt>
                <c:pt idx="814">
                  <c:v>-9.0966799999999992</c:v>
                </c:pt>
                <c:pt idx="815">
                  <c:v>-3.537598</c:v>
                </c:pt>
                <c:pt idx="816">
                  <c:v>-7.6904300000000001</c:v>
                </c:pt>
                <c:pt idx="817">
                  <c:v>-6.8554690000000003</c:v>
                </c:pt>
                <c:pt idx="818">
                  <c:v>-9.0966799999999992</c:v>
                </c:pt>
                <c:pt idx="819">
                  <c:v>-5.6909179999999999</c:v>
                </c:pt>
                <c:pt idx="820">
                  <c:v>-9.0747070000000001</c:v>
                </c:pt>
                <c:pt idx="821">
                  <c:v>-7.0751949999999999</c:v>
                </c:pt>
                <c:pt idx="822">
                  <c:v>-4.1088870000000002</c:v>
                </c:pt>
                <c:pt idx="823">
                  <c:v>-9.0966799999999992</c:v>
                </c:pt>
                <c:pt idx="824">
                  <c:v>-4.9658199999999999</c:v>
                </c:pt>
                <c:pt idx="825">
                  <c:v>-7.9321289999999998</c:v>
                </c:pt>
                <c:pt idx="826">
                  <c:v>-0.1757813</c:v>
                </c:pt>
                <c:pt idx="827">
                  <c:v>-3.8671880000000001</c:v>
                </c:pt>
                <c:pt idx="828">
                  <c:v>0.48339840000000001</c:v>
                </c:pt>
                <c:pt idx="829">
                  <c:v>-8.9208979999999993</c:v>
                </c:pt>
                <c:pt idx="830">
                  <c:v>-8.5555190999999997</c:v>
                </c:pt>
                <c:pt idx="831">
                  <c:v>-7.3388669999999996</c:v>
                </c:pt>
                <c:pt idx="832">
                  <c:v>-6.0205080000000004</c:v>
                </c:pt>
                <c:pt idx="833">
                  <c:v>-7.5366210000000002</c:v>
                </c:pt>
                <c:pt idx="834">
                  <c:v>-7.3388669999999996</c:v>
                </c:pt>
                <c:pt idx="835">
                  <c:v>-7.4580982850000002</c:v>
                </c:pt>
                <c:pt idx="836">
                  <c:v>-7.4721689180000004</c:v>
                </c:pt>
                <c:pt idx="837">
                  <c:v>-7.756348</c:v>
                </c:pt>
                <c:pt idx="838">
                  <c:v>-4.0209960000000002</c:v>
                </c:pt>
                <c:pt idx="839">
                  <c:v>-9.0966799999999992</c:v>
                </c:pt>
                <c:pt idx="840">
                  <c:v>-6.306152</c:v>
                </c:pt>
                <c:pt idx="841">
                  <c:v>-6.5258789999999998</c:v>
                </c:pt>
                <c:pt idx="842">
                  <c:v>-5.71233726</c:v>
                </c:pt>
                <c:pt idx="843">
                  <c:v>-4.8120120000000002</c:v>
                </c:pt>
                <c:pt idx="844">
                  <c:v>-7.3388669999999996</c:v>
                </c:pt>
                <c:pt idx="845">
                  <c:v>-3.493652</c:v>
                </c:pt>
                <c:pt idx="846">
                  <c:v>-8.8330079999999995</c:v>
                </c:pt>
                <c:pt idx="847">
                  <c:v>-7.495010239</c:v>
                </c:pt>
                <c:pt idx="848">
                  <c:v>-5.8007809999999997</c:v>
                </c:pt>
                <c:pt idx="849">
                  <c:v>-7.7783199999999999</c:v>
                </c:pt>
                <c:pt idx="850">
                  <c:v>-7.6234015819999996</c:v>
                </c:pt>
                <c:pt idx="851">
                  <c:v>-7.3137688550000002</c:v>
                </c:pt>
                <c:pt idx="852">
                  <c:v>-7.2159445360000003</c:v>
                </c:pt>
                <c:pt idx="853">
                  <c:v>-7.1870666879999998</c:v>
                </c:pt>
                <c:pt idx="854">
                  <c:v>-6.8774410000000001</c:v>
                </c:pt>
                <c:pt idx="855">
                  <c:v>-9.0966799999999992</c:v>
                </c:pt>
                <c:pt idx="856">
                  <c:v>-4.8120120000000002</c:v>
                </c:pt>
                <c:pt idx="857">
                  <c:v>-9.0966799999999992</c:v>
                </c:pt>
                <c:pt idx="858">
                  <c:v>-6.5698239999999997</c:v>
                </c:pt>
                <c:pt idx="859">
                  <c:v>-2.6586910000000001</c:v>
                </c:pt>
                <c:pt idx="860">
                  <c:v>-5.0893286509999998</c:v>
                </c:pt>
                <c:pt idx="861">
                  <c:v>-7.6464840000000001</c:v>
                </c:pt>
                <c:pt idx="862">
                  <c:v>-6.7456050000000003</c:v>
                </c:pt>
                <c:pt idx="863">
                  <c:v>-6.907499305</c:v>
                </c:pt>
                <c:pt idx="864">
                  <c:v>-6.9884464570000002</c:v>
                </c:pt>
                <c:pt idx="865">
                  <c:v>-9.0966799999999992</c:v>
                </c:pt>
                <c:pt idx="866">
                  <c:v>-1.999512</c:v>
                </c:pt>
                <c:pt idx="867">
                  <c:v>-7.8442379999999998</c:v>
                </c:pt>
                <c:pt idx="868">
                  <c:v>-7.7761492099999998</c:v>
                </c:pt>
                <c:pt idx="869">
                  <c:v>-5.2734379999999996</c:v>
                </c:pt>
                <c:pt idx="870">
                  <c:v>-3.6914060000000002</c:v>
                </c:pt>
                <c:pt idx="871">
                  <c:v>-8.8549799999999994</c:v>
                </c:pt>
                <c:pt idx="872">
                  <c:v>-2.6147459999999998</c:v>
                </c:pt>
                <c:pt idx="873">
                  <c:v>-7.6904300000000001</c:v>
                </c:pt>
                <c:pt idx="874">
                  <c:v>-9.0747070000000001</c:v>
                </c:pt>
                <c:pt idx="875">
                  <c:v>-4.3066409999999999</c:v>
                </c:pt>
                <c:pt idx="876">
                  <c:v>-8.1079100000000004</c:v>
                </c:pt>
                <c:pt idx="877">
                  <c:v>-8.3682085310000005</c:v>
                </c:pt>
                <c:pt idx="878">
                  <c:v>-9.0966799999999992</c:v>
                </c:pt>
                <c:pt idx="879">
                  <c:v>-4.1308590000000001</c:v>
                </c:pt>
                <c:pt idx="880">
                  <c:v>-7.5805660000000001</c:v>
                </c:pt>
                <c:pt idx="881">
                  <c:v>-7.9767868389999999</c:v>
                </c:pt>
                <c:pt idx="882">
                  <c:v>-8.3134819370000006</c:v>
                </c:pt>
                <c:pt idx="883">
                  <c:v>-8.9868159999999992</c:v>
                </c:pt>
                <c:pt idx="884">
                  <c:v>-3.823242</c:v>
                </c:pt>
                <c:pt idx="885">
                  <c:v>-8.9428710000000002</c:v>
                </c:pt>
                <c:pt idx="886">
                  <c:v>-3.4277340000000001</c:v>
                </c:pt>
                <c:pt idx="887">
                  <c:v>-9.0966799999999992</c:v>
                </c:pt>
                <c:pt idx="888">
                  <c:v>-7.4813221199999997</c:v>
                </c:pt>
                <c:pt idx="889">
                  <c:v>-7.2509769999999998</c:v>
                </c:pt>
                <c:pt idx="890">
                  <c:v>-6.6373301429999998</c:v>
                </c:pt>
                <c:pt idx="891">
                  <c:v>-3.5595699999999999</c:v>
                </c:pt>
                <c:pt idx="892">
                  <c:v>-8.7670899999999996</c:v>
                </c:pt>
                <c:pt idx="893">
                  <c:v>-5.1635739999999997</c:v>
                </c:pt>
                <c:pt idx="894">
                  <c:v>-8.7231450000000006</c:v>
                </c:pt>
                <c:pt idx="895">
                  <c:v>-8.8786540610000007</c:v>
                </c:pt>
                <c:pt idx="896">
                  <c:v>-9.030206862</c:v>
                </c:pt>
                <c:pt idx="897">
                  <c:v>-9.0524580439999998</c:v>
                </c:pt>
                <c:pt idx="898">
                  <c:v>-9.0747070000000001</c:v>
                </c:pt>
                <c:pt idx="899">
                  <c:v>-5.4272460000000002</c:v>
                </c:pt>
                <c:pt idx="900">
                  <c:v>-9.0747070000000001</c:v>
                </c:pt>
                <c:pt idx="901">
                  <c:v>-7.734375</c:v>
                </c:pt>
                <c:pt idx="902">
                  <c:v>-7.2765505079999997</c:v>
                </c:pt>
                <c:pt idx="903">
                  <c:v>-7.1149859920000003</c:v>
                </c:pt>
                <c:pt idx="904">
                  <c:v>-6.8994140000000002</c:v>
                </c:pt>
                <c:pt idx="905">
                  <c:v>-1.3183590000000001</c:v>
                </c:pt>
                <c:pt idx="906">
                  <c:v>-6.9653320000000001</c:v>
                </c:pt>
                <c:pt idx="907">
                  <c:v>-7.6025390000000002</c:v>
                </c:pt>
                <c:pt idx="908">
                  <c:v>-4.6801760000000003</c:v>
                </c:pt>
                <c:pt idx="909">
                  <c:v>-9.0966799999999992</c:v>
                </c:pt>
                <c:pt idx="910">
                  <c:v>-8.5774207730000001</c:v>
                </c:pt>
                <c:pt idx="911">
                  <c:v>-8.1100355470000007</c:v>
                </c:pt>
                <c:pt idx="912">
                  <c:v>-7.9541019999999998</c:v>
                </c:pt>
                <c:pt idx="913">
                  <c:v>-8.2397460000000002</c:v>
                </c:pt>
                <c:pt idx="914">
                  <c:v>-4.7680660000000001</c:v>
                </c:pt>
                <c:pt idx="915">
                  <c:v>-8.6132810000000006</c:v>
                </c:pt>
                <c:pt idx="916">
                  <c:v>-8.6271378510000005</c:v>
                </c:pt>
                <c:pt idx="917">
                  <c:v>-8.9526331320000008</c:v>
                </c:pt>
                <c:pt idx="918">
                  <c:v>-9.0747070000000001</c:v>
                </c:pt>
                <c:pt idx="919">
                  <c:v>-4.5922850000000004</c:v>
                </c:pt>
                <c:pt idx="920">
                  <c:v>-9.0747070000000001</c:v>
                </c:pt>
                <c:pt idx="921">
                  <c:v>-6.808328232</c:v>
                </c:pt>
                <c:pt idx="922">
                  <c:v>-3.8671880000000001</c:v>
                </c:pt>
                <c:pt idx="923">
                  <c:v>-9.1186520000000009</c:v>
                </c:pt>
                <c:pt idx="924">
                  <c:v>-5.9326169999999996</c:v>
                </c:pt>
                <c:pt idx="925">
                  <c:v>-9.0747070000000001</c:v>
                </c:pt>
                <c:pt idx="926">
                  <c:v>-9.1186520000000009</c:v>
                </c:pt>
                <c:pt idx="927">
                  <c:v>-2.438965</c:v>
                </c:pt>
                <c:pt idx="928">
                  <c:v>-7.9541019999999998</c:v>
                </c:pt>
                <c:pt idx="929">
                  <c:v>-5.3173830000000004</c:v>
                </c:pt>
                <c:pt idx="930">
                  <c:v>-7.4926760000000003</c:v>
                </c:pt>
                <c:pt idx="931">
                  <c:v>-3.2739259999999999</c:v>
                </c:pt>
                <c:pt idx="932">
                  <c:v>-8.6132810000000006</c:v>
                </c:pt>
                <c:pt idx="933">
                  <c:v>-3.1640630000000001</c:v>
                </c:pt>
                <c:pt idx="934">
                  <c:v>-8.8330079999999995</c:v>
                </c:pt>
                <c:pt idx="935">
                  <c:v>-7.4047850000000004</c:v>
                </c:pt>
                <c:pt idx="936">
                  <c:v>-5.6158001070000001</c:v>
                </c:pt>
                <c:pt idx="937">
                  <c:v>-4.899902</c:v>
                </c:pt>
                <c:pt idx="938">
                  <c:v>-9.0966799999999992</c:v>
                </c:pt>
                <c:pt idx="939">
                  <c:v>-6.0589445819999996</c:v>
                </c:pt>
                <c:pt idx="940">
                  <c:v>-5.2294919999999996</c:v>
                </c:pt>
                <c:pt idx="941">
                  <c:v>-9.1186520000000009</c:v>
                </c:pt>
                <c:pt idx="942">
                  <c:v>-6.9213870000000002</c:v>
                </c:pt>
                <c:pt idx="943">
                  <c:v>-5.0950865399999996</c:v>
                </c:pt>
                <c:pt idx="944">
                  <c:v>-4.9877929999999999</c:v>
                </c:pt>
                <c:pt idx="945">
                  <c:v>-9.0087890000000002</c:v>
                </c:pt>
                <c:pt idx="946">
                  <c:v>-9.0966799999999992</c:v>
                </c:pt>
                <c:pt idx="947">
                  <c:v>-6.4379879999999998</c:v>
                </c:pt>
                <c:pt idx="948">
                  <c:v>-4.943848</c:v>
                </c:pt>
                <c:pt idx="949">
                  <c:v>-7.8662109999999998</c:v>
                </c:pt>
                <c:pt idx="950">
                  <c:v>-7.9282349310000004</c:v>
                </c:pt>
                <c:pt idx="951">
                  <c:v>-7.9488785550000003</c:v>
                </c:pt>
                <c:pt idx="952">
                  <c:v>-8.2177729999999993</c:v>
                </c:pt>
                <c:pt idx="953">
                  <c:v>-7.5146480000000002</c:v>
                </c:pt>
                <c:pt idx="954">
                  <c:v>-4.8339840000000001</c:v>
                </c:pt>
                <c:pt idx="955">
                  <c:v>-9.1186520000000009</c:v>
                </c:pt>
                <c:pt idx="956">
                  <c:v>-4.3066409999999999</c:v>
                </c:pt>
                <c:pt idx="957">
                  <c:v>-8.7011719999999997</c:v>
                </c:pt>
                <c:pt idx="958">
                  <c:v>-4.3066409999999999</c:v>
                </c:pt>
                <c:pt idx="959">
                  <c:v>-7.6025390000000002</c:v>
                </c:pt>
                <c:pt idx="960">
                  <c:v>-8.7254026660000008</c:v>
                </c:pt>
                <c:pt idx="961">
                  <c:v>-8.9593277239999995</c:v>
                </c:pt>
                <c:pt idx="962">
                  <c:v>-9.0527339999999992</c:v>
                </c:pt>
                <c:pt idx="963">
                  <c:v>-6.0864260000000003</c:v>
                </c:pt>
                <c:pt idx="964">
                  <c:v>-9.0966799999999992</c:v>
                </c:pt>
                <c:pt idx="965">
                  <c:v>-7.9737618780000004</c:v>
                </c:pt>
                <c:pt idx="966">
                  <c:v>-7.3828129999999996</c:v>
                </c:pt>
                <c:pt idx="967">
                  <c:v>-7.6750410709999999</c:v>
                </c:pt>
                <c:pt idx="968">
                  <c:v>-7.8715383880000003</c:v>
                </c:pt>
                <c:pt idx="969">
                  <c:v>-7.9269499210000003</c:v>
                </c:pt>
                <c:pt idx="970">
                  <c:v>-7.9823614540000003</c:v>
                </c:pt>
                <c:pt idx="971">
                  <c:v>-7.9874300119999999</c:v>
                </c:pt>
                <c:pt idx="972">
                  <c:v>-8.0428818510000006</c:v>
                </c:pt>
                <c:pt idx="973">
                  <c:v>-8.1083146189999997</c:v>
                </c:pt>
                <c:pt idx="974">
                  <c:v>-8.1738280000000003</c:v>
                </c:pt>
                <c:pt idx="975">
                  <c:v>-6.5700248119999998</c:v>
                </c:pt>
                <c:pt idx="976">
                  <c:v>-4.9658199999999999</c:v>
                </c:pt>
                <c:pt idx="977">
                  <c:v>-9.0527339999999992</c:v>
                </c:pt>
                <c:pt idx="978">
                  <c:v>-8.6574238809999997</c:v>
                </c:pt>
                <c:pt idx="979">
                  <c:v>-6.8115230000000002</c:v>
                </c:pt>
                <c:pt idx="980">
                  <c:v>-1.3623050000000001</c:v>
                </c:pt>
                <c:pt idx="981">
                  <c:v>-9.0747070000000001</c:v>
                </c:pt>
                <c:pt idx="982">
                  <c:v>-4.8120120000000002</c:v>
                </c:pt>
                <c:pt idx="983">
                  <c:v>-8.9868159999999992</c:v>
                </c:pt>
                <c:pt idx="984">
                  <c:v>-8.2062759960000005</c:v>
                </c:pt>
                <c:pt idx="985">
                  <c:v>-7.9980469999999997</c:v>
                </c:pt>
                <c:pt idx="986">
                  <c:v>-7.8935179379999996</c:v>
                </c:pt>
                <c:pt idx="987">
                  <c:v>-7.8779817440000004</c:v>
                </c:pt>
                <c:pt idx="988">
                  <c:v>-7.8765719949999999</c:v>
                </c:pt>
                <c:pt idx="989">
                  <c:v>-7.8680986700000002</c:v>
                </c:pt>
                <c:pt idx="990">
                  <c:v>-7.8341961879999999</c:v>
                </c:pt>
                <c:pt idx="991">
                  <c:v>-7.8017034550000002</c:v>
                </c:pt>
                <c:pt idx="992">
                  <c:v>-7.8002929999999999</c:v>
                </c:pt>
                <c:pt idx="993">
                  <c:v>-2.109375</c:v>
                </c:pt>
                <c:pt idx="994">
                  <c:v>-7.8662109999999998</c:v>
                </c:pt>
                <c:pt idx="995">
                  <c:v>-7.8672553650000001</c:v>
                </c:pt>
                <c:pt idx="996">
                  <c:v>-7.8881839999999999</c:v>
                </c:pt>
                <c:pt idx="997">
                  <c:v>-6.7628535489999999</c:v>
                </c:pt>
                <c:pt idx="998">
                  <c:v>-6.6158893900000004</c:v>
                </c:pt>
                <c:pt idx="999">
                  <c:v>-6.076898463</c:v>
                </c:pt>
                <c:pt idx="1000">
                  <c:v>-5.7348629999999998</c:v>
                </c:pt>
                <c:pt idx="1001">
                  <c:v>-9.0966799999999992</c:v>
                </c:pt>
                <c:pt idx="1002">
                  <c:v>-8.9507502250000002</c:v>
                </c:pt>
                <c:pt idx="1003">
                  <c:v>-8.2397460000000002</c:v>
                </c:pt>
                <c:pt idx="1004">
                  <c:v>-4.5922850000000004</c:v>
                </c:pt>
                <c:pt idx="1005">
                  <c:v>-8.3276369999999993</c:v>
                </c:pt>
                <c:pt idx="1006">
                  <c:v>-9.0747070000000001</c:v>
                </c:pt>
                <c:pt idx="1007">
                  <c:v>-4.1088870000000002</c:v>
                </c:pt>
                <c:pt idx="1008">
                  <c:v>-9.0966799999999992</c:v>
                </c:pt>
                <c:pt idx="1009">
                  <c:v>-7.4926760000000003</c:v>
                </c:pt>
                <c:pt idx="1010">
                  <c:v>-8.6791990000000006</c:v>
                </c:pt>
                <c:pt idx="1011">
                  <c:v>-6.1083980000000002</c:v>
                </c:pt>
                <c:pt idx="1012">
                  <c:v>-6.6577149999999996</c:v>
                </c:pt>
                <c:pt idx="1013">
                  <c:v>-7.9321289999999998</c:v>
                </c:pt>
                <c:pt idx="1014">
                  <c:v>-6.9000372270000003</c:v>
                </c:pt>
                <c:pt idx="1015">
                  <c:v>-6.306152</c:v>
                </c:pt>
                <c:pt idx="1016">
                  <c:v>-6.7456050000000003</c:v>
                </c:pt>
                <c:pt idx="1017">
                  <c:v>-2.790527</c:v>
                </c:pt>
                <c:pt idx="1018">
                  <c:v>-6.5039059999999997</c:v>
                </c:pt>
                <c:pt idx="1019">
                  <c:v>-7.4909676530000002</c:v>
                </c:pt>
                <c:pt idx="1020">
                  <c:v>-7.5805660000000001</c:v>
                </c:pt>
                <c:pt idx="1021">
                  <c:v>-4.196777</c:v>
                </c:pt>
                <c:pt idx="1022">
                  <c:v>-5.5590820000000001</c:v>
                </c:pt>
                <c:pt idx="1023">
                  <c:v>-4.4824219999999997</c:v>
                </c:pt>
                <c:pt idx="1024">
                  <c:v>-4.9658199999999999</c:v>
                </c:pt>
                <c:pt idx="1025">
                  <c:v>-5.1635739999999997</c:v>
                </c:pt>
                <c:pt idx="1026">
                  <c:v>-5.291415346</c:v>
                </c:pt>
                <c:pt idx="1027">
                  <c:v>-9.0966799999999992</c:v>
                </c:pt>
                <c:pt idx="1028">
                  <c:v>-7.6091481009999997</c:v>
                </c:pt>
                <c:pt idx="1029">
                  <c:v>-4.0429690000000003</c:v>
                </c:pt>
                <c:pt idx="1030">
                  <c:v>-9.0966799999999992</c:v>
                </c:pt>
                <c:pt idx="1031">
                  <c:v>-7.7784110670000004</c:v>
                </c:pt>
                <c:pt idx="1032">
                  <c:v>-7.1191409999999999</c:v>
                </c:pt>
                <c:pt idx="1033">
                  <c:v>-3.7792970000000001</c:v>
                </c:pt>
                <c:pt idx="1034">
                  <c:v>-8.3056640000000002</c:v>
                </c:pt>
                <c:pt idx="1035">
                  <c:v>-7.1411129999999998</c:v>
                </c:pt>
                <c:pt idx="1036">
                  <c:v>-6.1525615550000001</c:v>
                </c:pt>
                <c:pt idx="1037">
                  <c:v>-5.1635739999999997</c:v>
                </c:pt>
                <c:pt idx="1038">
                  <c:v>-9.0747070000000001</c:v>
                </c:pt>
                <c:pt idx="1039">
                  <c:v>-7.3943948009999998</c:v>
                </c:pt>
                <c:pt idx="1040">
                  <c:v>-5.9545899999999996</c:v>
                </c:pt>
                <c:pt idx="1041">
                  <c:v>-5.9326169999999996</c:v>
                </c:pt>
                <c:pt idx="1042">
                  <c:v>-6.2182620000000002</c:v>
                </c:pt>
                <c:pt idx="1043">
                  <c:v>-6.9653320000000001</c:v>
                </c:pt>
                <c:pt idx="1044">
                  <c:v>-5.9106449999999997</c:v>
                </c:pt>
                <c:pt idx="1045">
                  <c:v>-7.8222659999999999</c:v>
                </c:pt>
                <c:pt idx="1046">
                  <c:v>-6.350098</c:v>
                </c:pt>
                <c:pt idx="1047">
                  <c:v>-7.6464840000000001</c:v>
                </c:pt>
                <c:pt idx="1048">
                  <c:v>-8.2837067910000002</c:v>
                </c:pt>
                <c:pt idx="1049">
                  <c:v>-9.0966799999999992</c:v>
                </c:pt>
                <c:pt idx="1050">
                  <c:v>-3.2299799999999999</c:v>
                </c:pt>
                <c:pt idx="1051">
                  <c:v>-6.5478519999999998</c:v>
                </c:pt>
                <c:pt idx="1052">
                  <c:v>-1.010742</c:v>
                </c:pt>
                <c:pt idx="1053">
                  <c:v>-8.3496089999999992</c:v>
                </c:pt>
                <c:pt idx="1054">
                  <c:v>0.19775390000000001</c:v>
                </c:pt>
                <c:pt idx="1055">
                  <c:v>-5.8511250889999999</c:v>
                </c:pt>
                <c:pt idx="1056">
                  <c:v>-7.6245120000000002</c:v>
                </c:pt>
                <c:pt idx="1057">
                  <c:v>-3.5815429999999999</c:v>
                </c:pt>
                <c:pt idx="1058">
                  <c:v>-5.9985350000000004</c:v>
                </c:pt>
                <c:pt idx="1059">
                  <c:v>-2.1533199999999999</c:v>
                </c:pt>
                <c:pt idx="1060">
                  <c:v>-4.5922850000000004</c:v>
                </c:pt>
                <c:pt idx="1061">
                  <c:v>-7.1850589999999999</c:v>
                </c:pt>
                <c:pt idx="1062">
                  <c:v>-3.5815429999999999</c:v>
                </c:pt>
                <c:pt idx="1063">
                  <c:v>-7.3168949999999997</c:v>
                </c:pt>
                <c:pt idx="1064">
                  <c:v>-7.8442379999999998</c:v>
                </c:pt>
                <c:pt idx="1065">
                  <c:v>-4.1748050000000001</c:v>
                </c:pt>
                <c:pt idx="1066">
                  <c:v>-8.4098637390000004</c:v>
                </c:pt>
                <c:pt idx="1067">
                  <c:v>-8.9208979999999993</c:v>
                </c:pt>
                <c:pt idx="1068">
                  <c:v>-8.1040023990000005</c:v>
                </c:pt>
                <c:pt idx="1069">
                  <c:v>-5.8007809999999997</c:v>
                </c:pt>
                <c:pt idx="1070">
                  <c:v>-7.3828129999999996</c:v>
                </c:pt>
                <c:pt idx="1071">
                  <c:v>-7.6464840000000001</c:v>
                </c:pt>
                <c:pt idx="1072">
                  <c:v>-5.0976559999999997</c:v>
                </c:pt>
                <c:pt idx="1073">
                  <c:v>-7.6025390000000002</c:v>
                </c:pt>
                <c:pt idx="1074">
                  <c:v>-6.4160159999999999</c:v>
                </c:pt>
                <c:pt idx="1075">
                  <c:v>-9.0747070000000001</c:v>
                </c:pt>
                <c:pt idx="1076">
                  <c:v>-6.5917969999999997</c:v>
                </c:pt>
                <c:pt idx="1077">
                  <c:v>-3.5714458269999998</c:v>
                </c:pt>
                <c:pt idx="1078">
                  <c:v>-0.92285159999999999</c:v>
                </c:pt>
                <c:pt idx="1079">
                  <c:v>-8.0419920000000005</c:v>
                </c:pt>
                <c:pt idx="1080">
                  <c:v>-2.9663089999999999</c:v>
                </c:pt>
                <c:pt idx="1081">
                  <c:v>-8.8769530000000003</c:v>
                </c:pt>
                <c:pt idx="1082">
                  <c:v>-7.1191409999999999</c:v>
                </c:pt>
                <c:pt idx="1083">
                  <c:v>-6.3720699999999999</c:v>
                </c:pt>
                <c:pt idx="1084">
                  <c:v>-3.120117</c:v>
                </c:pt>
                <c:pt idx="1085">
                  <c:v>-6.6137699999999997</c:v>
                </c:pt>
                <c:pt idx="1086">
                  <c:v>-6.6357419999999996</c:v>
                </c:pt>
                <c:pt idx="1087">
                  <c:v>-1.6699219999999999</c:v>
                </c:pt>
                <c:pt idx="1088">
                  <c:v>-8.8549799999999994</c:v>
                </c:pt>
                <c:pt idx="1089">
                  <c:v>-4.2626949999999999</c:v>
                </c:pt>
                <c:pt idx="1090">
                  <c:v>-6.7895510000000003</c:v>
                </c:pt>
                <c:pt idx="1091">
                  <c:v>-4.1308590000000001</c:v>
                </c:pt>
                <c:pt idx="1092">
                  <c:v>-6.0424800000000003</c:v>
                </c:pt>
                <c:pt idx="1093">
                  <c:v>-7.1703224060000004</c:v>
                </c:pt>
                <c:pt idx="1094">
                  <c:v>-7.9321289999999998</c:v>
                </c:pt>
                <c:pt idx="1095">
                  <c:v>-4.5043949999999997</c:v>
                </c:pt>
                <c:pt idx="1096">
                  <c:v>-7.1630859999999998</c:v>
                </c:pt>
                <c:pt idx="1097">
                  <c:v>-7.0971679999999999</c:v>
                </c:pt>
                <c:pt idx="1098">
                  <c:v>-3.911133</c:v>
                </c:pt>
                <c:pt idx="1099">
                  <c:v>-5.4107279940000002</c:v>
                </c:pt>
                <c:pt idx="1100">
                  <c:v>-7.03125</c:v>
                </c:pt>
                <c:pt idx="1101">
                  <c:v>-7.1372498530000001</c:v>
                </c:pt>
                <c:pt idx="1102">
                  <c:v>-7.7556423780000001</c:v>
                </c:pt>
                <c:pt idx="1103">
                  <c:v>-8.9868159999999992</c:v>
                </c:pt>
                <c:pt idx="1104">
                  <c:v>-3.3178709999999998</c:v>
                </c:pt>
                <c:pt idx="1105">
                  <c:v>-7.8002929999999999</c:v>
                </c:pt>
                <c:pt idx="1106">
                  <c:v>-1.8676759999999999</c:v>
                </c:pt>
                <c:pt idx="1107">
                  <c:v>-7.1630859999999998</c:v>
                </c:pt>
                <c:pt idx="1108">
                  <c:v>-2.6586910000000001</c:v>
                </c:pt>
                <c:pt idx="1109">
                  <c:v>-6.8774410000000001</c:v>
                </c:pt>
                <c:pt idx="1110">
                  <c:v>-7.9760739999999997</c:v>
                </c:pt>
                <c:pt idx="1111">
                  <c:v>-2.3730470000000001</c:v>
                </c:pt>
                <c:pt idx="1112">
                  <c:v>-4.5483399999999996</c:v>
                </c:pt>
                <c:pt idx="1113">
                  <c:v>-2.2192379999999998</c:v>
                </c:pt>
                <c:pt idx="1114">
                  <c:v>-6.1523440000000003</c:v>
                </c:pt>
                <c:pt idx="1115">
                  <c:v>-5.1008569469999996</c:v>
                </c:pt>
                <c:pt idx="1116">
                  <c:v>-4.5483399999999996</c:v>
                </c:pt>
                <c:pt idx="1117">
                  <c:v>-8.7011719999999997</c:v>
                </c:pt>
                <c:pt idx="1118">
                  <c:v>-7.1191409999999999</c:v>
                </c:pt>
                <c:pt idx="1119">
                  <c:v>-6.2081745130000003</c:v>
                </c:pt>
                <c:pt idx="1120">
                  <c:v>-5.2514649999999996</c:v>
                </c:pt>
                <c:pt idx="1121">
                  <c:v>-7.9760739999999997</c:v>
                </c:pt>
                <c:pt idx="1122">
                  <c:v>-2.8564449999999999</c:v>
                </c:pt>
                <c:pt idx="1123">
                  <c:v>-8.9868159999999992</c:v>
                </c:pt>
                <c:pt idx="1124">
                  <c:v>-8.0509096230000008</c:v>
                </c:pt>
                <c:pt idx="1125">
                  <c:v>-6.1685500040000001</c:v>
                </c:pt>
                <c:pt idx="1126">
                  <c:v>-4.3945309999999997</c:v>
                </c:pt>
                <c:pt idx="1127">
                  <c:v>-8.6791990000000006</c:v>
                </c:pt>
                <c:pt idx="1128">
                  <c:v>-5.9106449999999997</c:v>
                </c:pt>
                <c:pt idx="1129">
                  <c:v>-9.0747070000000001</c:v>
                </c:pt>
                <c:pt idx="1130">
                  <c:v>-8.5487044409999999</c:v>
                </c:pt>
                <c:pt idx="1131">
                  <c:v>-5.0097659999999999</c:v>
                </c:pt>
                <c:pt idx="1132">
                  <c:v>-8.9428710000000002</c:v>
                </c:pt>
                <c:pt idx="1133">
                  <c:v>-6.5478519999999998</c:v>
                </c:pt>
                <c:pt idx="1134">
                  <c:v>-7.004212602</c:v>
                </c:pt>
                <c:pt idx="1135">
                  <c:v>-7.0751949999999999</c:v>
                </c:pt>
                <c:pt idx="1136">
                  <c:v>-7.0366177490000004</c:v>
                </c:pt>
                <c:pt idx="1137">
                  <c:v>-6.9213870000000002</c:v>
                </c:pt>
                <c:pt idx="1138">
                  <c:v>-3.6474609999999998</c:v>
                </c:pt>
                <c:pt idx="1139">
                  <c:v>-5.5151370000000002</c:v>
                </c:pt>
                <c:pt idx="1140">
                  <c:v>-5.9545899999999996</c:v>
                </c:pt>
                <c:pt idx="1141">
                  <c:v>-6.4422003319999996</c:v>
                </c:pt>
                <c:pt idx="1142">
                  <c:v>-7.6601680280000002</c:v>
                </c:pt>
                <c:pt idx="1143">
                  <c:v>-7.8442379999999998</c:v>
                </c:pt>
                <c:pt idx="1144">
                  <c:v>-6.0424800000000003</c:v>
                </c:pt>
                <c:pt idx="1145">
                  <c:v>-9.0307619999999993</c:v>
                </c:pt>
                <c:pt idx="1146">
                  <c:v>-5.0317379999999998</c:v>
                </c:pt>
                <c:pt idx="1147">
                  <c:v>-6.1523440000000003</c:v>
                </c:pt>
                <c:pt idx="1148">
                  <c:v>-6.5258789999999998</c:v>
                </c:pt>
                <c:pt idx="1149">
                  <c:v>-5.2075199999999997</c:v>
                </c:pt>
                <c:pt idx="1150">
                  <c:v>-5.631379709</c:v>
                </c:pt>
                <c:pt idx="1151">
                  <c:v>-5.8719357419999998</c:v>
                </c:pt>
                <c:pt idx="1152">
                  <c:v>-6.1303710000000002</c:v>
                </c:pt>
                <c:pt idx="1153">
                  <c:v>-6.9977066030000001</c:v>
                </c:pt>
                <c:pt idx="1154">
                  <c:v>-7.0281796070000002</c:v>
                </c:pt>
                <c:pt idx="1155">
                  <c:v>-7.6684328979999998</c:v>
                </c:pt>
                <c:pt idx="1156">
                  <c:v>-7.734375</c:v>
                </c:pt>
                <c:pt idx="1157">
                  <c:v>-4.2846679999999999</c:v>
                </c:pt>
                <c:pt idx="1158">
                  <c:v>-4.9559863249999996</c:v>
                </c:pt>
                <c:pt idx="1159">
                  <c:v>-7.2509769999999998</c:v>
                </c:pt>
                <c:pt idx="1160">
                  <c:v>-6.7942497749999999</c:v>
                </c:pt>
                <c:pt idx="1161">
                  <c:v>-5.4272460000000002</c:v>
                </c:pt>
                <c:pt idx="1162">
                  <c:v>-6.1962890000000002</c:v>
                </c:pt>
                <c:pt idx="1163">
                  <c:v>-6.2804814249999996</c:v>
                </c:pt>
                <c:pt idx="1164">
                  <c:v>-6.4809707169999999</c:v>
                </c:pt>
                <c:pt idx="1165">
                  <c:v>-6.7117642059999998</c:v>
                </c:pt>
                <c:pt idx="1166">
                  <c:v>-7.734375</c:v>
                </c:pt>
                <c:pt idx="1167">
                  <c:v>-5.4931640000000002</c:v>
                </c:pt>
                <c:pt idx="1168">
                  <c:v>-6.9433590000000001</c:v>
                </c:pt>
                <c:pt idx="1169">
                  <c:v>-6.3940429999999999</c:v>
                </c:pt>
                <c:pt idx="1170">
                  <c:v>-7.4487300000000003</c:v>
                </c:pt>
                <c:pt idx="1171">
                  <c:v>-7.4502836889999999</c:v>
                </c:pt>
                <c:pt idx="1172">
                  <c:v>-7.4782644859999996</c:v>
                </c:pt>
                <c:pt idx="1173">
                  <c:v>-7.4790755229999997</c:v>
                </c:pt>
                <c:pt idx="1174">
                  <c:v>-7.4806728040000001</c:v>
                </c:pt>
                <c:pt idx="1175">
                  <c:v>-7.485470243</c:v>
                </c:pt>
                <c:pt idx="1176">
                  <c:v>-7.4863188730000001</c:v>
                </c:pt>
                <c:pt idx="1177">
                  <c:v>-7.4926760000000003</c:v>
                </c:pt>
                <c:pt idx="1178">
                  <c:v>-6.328125</c:v>
                </c:pt>
                <c:pt idx="1179">
                  <c:v>-7.053223</c:v>
                </c:pt>
                <c:pt idx="1180">
                  <c:v>-1.7578130000000001</c:v>
                </c:pt>
                <c:pt idx="1181">
                  <c:v>-7.9541019999999998</c:v>
                </c:pt>
                <c:pt idx="1182">
                  <c:v>-6.2907473710000001</c:v>
                </c:pt>
                <c:pt idx="1183">
                  <c:v>-5.7348629999999998</c:v>
                </c:pt>
                <c:pt idx="1184">
                  <c:v>-6.3849461170000001</c:v>
                </c:pt>
                <c:pt idx="1185">
                  <c:v>-6.6357419999999996</c:v>
                </c:pt>
                <c:pt idx="1186">
                  <c:v>-7.1630859999999998</c:v>
                </c:pt>
                <c:pt idx="1187">
                  <c:v>-7.8758580800000004</c:v>
                </c:pt>
                <c:pt idx="1188">
                  <c:v>-7.9760739999999997</c:v>
                </c:pt>
                <c:pt idx="1189">
                  <c:v>-6.8115230000000002</c:v>
                </c:pt>
                <c:pt idx="1190">
                  <c:v>-9.0307619999999993</c:v>
                </c:pt>
                <c:pt idx="1191">
                  <c:v>-4.8559570000000001</c:v>
                </c:pt>
                <c:pt idx="1192">
                  <c:v>-5.717615114</c:v>
                </c:pt>
                <c:pt idx="1193">
                  <c:v>-9.0527339999999992</c:v>
                </c:pt>
                <c:pt idx="1194">
                  <c:v>-4.9658199999999999</c:v>
                </c:pt>
                <c:pt idx="1195">
                  <c:v>-8.9648439999999994</c:v>
                </c:pt>
                <c:pt idx="1196">
                  <c:v>-6.5074197370000002</c:v>
                </c:pt>
                <c:pt idx="1197">
                  <c:v>-4.4384769999999998</c:v>
                </c:pt>
                <c:pt idx="1198">
                  <c:v>-9.0307619999999993</c:v>
                </c:pt>
                <c:pt idx="1199">
                  <c:v>-5.9007550609999999</c:v>
                </c:pt>
                <c:pt idx="1200">
                  <c:v>-5.3393550000000003</c:v>
                </c:pt>
                <c:pt idx="1201">
                  <c:v>-6.350098</c:v>
                </c:pt>
                <c:pt idx="1202">
                  <c:v>-9.0307619999999993</c:v>
                </c:pt>
                <c:pt idx="1203">
                  <c:v>-5.603027</c:v>
                </c:pt>
                <c:pt idx="1204">
                  <c:v>-8.8330079999999995</c:v>
                </c:pt>
                <c:pt idx="1205">
                  <c:v>-9.0307619999999993</c:v>
                </c:pt>
                <c:pt idx="1206">
                  <c:v>-8.170408321</c:v>
                </c:pt>
                <c:pt idx="1207">
                  <c:v>-6.4599609999999998</c:v>
                </c:pt>
                <c:pt idx="1208">
                  <c:v>-6.7381159070000001</c:v>
                </c:pt>
                <c:pt idx="1209">
                  <c:v>-7.009277</c:v>
                </c:pt>
                <c:pt idx="1210">
                  <c:v>-7.734375</c:v>
                </c:pt>
                <c:pt idx="1211">
                  <c:v>2.1972660000000001E-2</c:v>
                </c:pt>
                <c:pt idx="1212">
                  <c:v>-6.4160159999999999</c:v>
                </c:pt>
                <c:pt idx="1213">
                  <c:v>-4.2846679999999999</c:v>
                </c:pt>
                <c:pt idx="1214">
                  <c:v>-9.0087890000000002</c:v>
                </c:pt>
                <c:pt idx="1215">
                  <c:v>-8.7831961920000001</c:v>
                </c:pt>
                <c:pt idx="1216">
                  <c:v>-7.4267580000000004</c:v>
                </c:pt>
                <c:pt idx="1217">
                  <c:v>-1.2524409999999999</c:v>
                </c:pt>
                <c:pt idx="1218">
                  <c:v>-8.9648439999999994</c:v>
                </c:pt>
                <c:pt idx="1219">
                  <c:v>-7.1850589999999999</c:v>
                </c:pt>
                <c:pt idx="1220">
                  <c:v>-7.1253865039999997</c:v>
                </c:pt>
                <c:pt idx="1221">
                  <c:v>-6.7734581030000003</c:v>
                </c:pt>
                <c:pt idx="1222">
                  <c:v>-5.646973</c:v>
                </c:pt>
                <c:pt idx="1223">
                  <c:v>-9.0087890000000002</c:v>
                </c:pt>
                <c:pt idx="1224">
                  <c:v>-4.6582030000000003</c:v>
                </c:pt>
                <c:pt idx="1225">
                  <c:v>-4.5435346030000003</c:v>
                </c:pt>
                <c:pt idx="1226">
                  <c:v>-4.4865052619999997</c:v>
                </c:pt>
                <c:pt idx="1227">
                  <c:v>-4.4809787290000003</c:v>
                </c:pt>
                <c:pt idx="1228">
                  <c:v>-4.4604489999999997</c:v>
                </c:pt>
                <c:pt idx="1229">
                  <c:v>-3.8012700000000001</c:v>
                </c:pt>
                <c:pt idx="1230">
                  <c:v>-8.7451170000000005</c:v>
                </c:pt>
                <c:pt idx="1231">
                  <c:v>-4.4604489999999997</c:v>
                </c:pt>
                <c:pt idx="1232">
                  <c:v>-7.6464840000000001</c:v>
                </c:pt>
                <c:pt idx="1233">
                  <c:v>-7.5559180279999998</c:v>
                </c:pt>
                <c:pt idx="1234">
                  <c:v>-7.5178708939999996</c:v>
                </c:pt>
                <c:pt idx="1235">
                  <c:v>-7.4047850000000004</c:v>
                </c:pt>
                <c:pt idx="1236">
                  <c:v>-7.1511884009999998</c:v>
                </c:pt>
                <c:pt idx="1237">
                  <c:v>-6.7016600000000004</c:v>
                </c:pt>
                <c:pt idx="1238">
                  <c:v>-7.3828129999999996</c:v>
                </c:pt>
                <c:pt idx="1239">
                  <c:v>-7.7862373150000002</c:v>
                </c:pt>
                <c:pt idx="1240">
                  <c:v>-8.9784904270000006</c:v>
                </c:pt>
                <c:pt idx="1241">
                  <c:v>-9.0527339999999992</c:v>
                </c:pt>
                <c:pt idx="1242">
                  <c:v>-5.5371090000000001</c:v>
                </c:pt>
                <c:pt idx="1243">
                  <c:v>-9.0087890000000002</c:v>
                </c:pt>
                <c:pt idx="1244">
                  <c:v>0.5932617</c:v>
                </c:pt>
                <c:pt idx="1245">
                  <c:v>9.2065429999999999</c:v>
                </c:pt>
                <c:pt idx="1246">
                  <c:v>0.63720699999999997</c:v>
                </c:pt>
                <c:pt idx="1247">
                  <c:v>-9.0307619999999993</c:v>
                </c:pt>
                <c:pt idx="1248">
                  <c:v>-5.2734379999999996</c:v>
                </c:pt>
                <c:pt idx="1249">
                  <c:v>-4.899902</c:v>
                </c:pt>
                <c:pt idx="1250">
                  <c:v>-5.3173830000000004</c:v>
                </c:pt>
                <c:pt idx="1251">
                  <c:v>-6.7629463259999998</c:v>
                </c:pt>
                <c:pt idx="1252">
                  <c:v>-8.5693359999999998</c:v>
                </c:pt>
                <c:pt idx="1253">
                  <c:v>-5.0537109999999998</c:v>
                </c:pt>
                <c:pt idx="1254">
                  <c:v>-8.5693359999999998</c:v>
                </c:pt>
                <c:pt idx="1255">
                  <c:v>-1.999512</c:v>
                </c:pt>
                <c:pt idx="1256">
                  <c:v>-7.1411129999999998</c:v>
                </c:pt>
                <c:pt idx="1257">
                  <c:v>-5.5590820000000001</c:v>
                </c:pt>
                <c:pt idx="1258">
                  <c:v>0.39550780000000002</c:v>
                </c:pt>
                <c:pt idx="1259">
                  <c:v>-7.0751949999999999</c:v>
                </c:pt>
                <c:pt idx="1260">
                  <c:v>-4.7900390000000002</c:v>
                </c:pt>
                <c:pt idx="1261">
                  <c:v>-8.4594729999999991</c:v>
                </c:pt>
                <c:pt idx="1262">
                  <c:v>-6.7675780000000003</c:v>
                </c:pt>
                <c:pt idx="1263">
                  <c:v>4.0209960000000002</c:v>
                </c:pt>
                <c:pt idx="1264">
                  <c:v>-5.8007809999999997</c:v>
                </c:pt>
                <c:pt idx="1265">
                  <c:v>-3.6914060000000002</c:v>
                </c:pt>
                <c:pt idx="1266">
                  <c:v>-8.8769530000000003</c:v>
                </c:pt>
                <c:pt idx="1267">
                  <c:v>-8.8004957410000006</c:v>
                </c:pt>
                <c:pt idx="1268">
                  <c:v>-8.4594729999999991</c:v>
                </c:pt>
                <c:pt idx="1269">
                  <c:v>-4.9053973620000004</c:v>
                </c:pt>
                <c:pt idx="1270">
                  <c:v>0.37353520000000001</c:v>
                </c:pt>
                <c:pt idx="1271">
                  <c:v>7.6684570000000001</c:v>
                </c:pt>
                <c:pt idx="1272">
                  <c:v>-8.1518549999999994</c:v>
                </c:pt>
                <c:pt idx="1273">
                  <c:v>-6.6357419999999996</c:v>
                </c:pt>
                <c:pt idx="1274">
                  <c:v>-4.6362300000000003</c:v>
                </c:pt>
                <c:pt idx="1275">
                  <c:v>-9.0087890000000002</c:v>
                </c:pt>
                <c:pt idx="1276">
                  <c:v>-4.5703129999999996</c:v>
                </c:pt>
                <c:pt idx="1277">
                  <c:v>-5.6740869749999998</c:v>
                </c:pt>
                <c:pt idx="1278">
                  <c:v>-6.1312629129999996</c:v>
                </c:pt>
                <c:pt idx="1279">
                  <c:v>-7.6904300000000001</c:v>
                </c:pt>
                <c:pt idx="1280">
                  <c:v>-4.5990389130000002</c:v>
                </c:pt>
                <c:pt idx="1281">
                  <c:v>-3.9770509999999999</c:v>
                </c:pt>
                <c:pt idx="1282">
                  <c:v>-6.4160159999999999</c:v>
                </c:pt>
                <c:pt idx="1283">
                  <c:v>-5.5590820000000001</c:v>
                </c:pt>
                <c:pt idx="1284">
                  <c:v>-7.1850589999999999</c:v>
                </c:pt>
                <c:pt idx="1285">
                  <c:v>-6.236027483</c:v>
                </c:pt>
                <c:pt idx="1286">
                  <c:v>-6.0424800000000003</c:v>
                </c:pt>
                <c:pt idx="1287">
                  <c:v>-5.9106449999999997</c:v>
                </c:pt>
                <c:pt idx="1288">
                  <c:v>-6.3940429999999999</c:v>
                </c:pt>
                <c:pt idx="1289">
                  <c:v>1.40625</c:v>
                </c:pt>
                <c:pt idx="1290">
                  <c:v>-8.5253910000000008</c:v>
                </c:pt>
                <c:pt idx="1291">
                  <c:v>-4.1308590000000001</c:v>
                </c:pt>
                <c:pt idx="1292">
                  <c:v>0.54931640000000004</c:v>
                </c:pt>
                <c:pt idx="1293">
                  <c:v>-7.1191409999999999</c:v>
                </c:pt>
                <c:pt idx="1294">
                  <c:v>-2.0214840000000001</c:v>
                </c:pt>
                <c:pt idx="1295">
                  <c:v>-7.2070309999999997</c:v>
                </c:pt>
                <c:pt idx="1296">
                  <c:v>-5.7788089999999999</c:v>
                </c:pt>
                <c:pt idx="1297">
                  <c:v>-9.0087890000000002</c:v>
                </c:pt>
                <c:pt idx="1298">
                  <c:v>-4.5043949999999997</c:v>
                </c:pt>
                <c:pt idx="1299">
                  <c:v>-9.0307619999999993</c:v>
                </c:pt>
                <c:pt idx="1300">
                  <c:v>-7.6749192620000004</c:v>
                </c:pt>
                <c:pt idx="1301">
                  <c:v>-7.5499521510000003</c:v>
                </c:pt>
                <c:pt idx="1302">
                  <c:v>-6.9433590000000001</c:v>
                </c:pt>
                <c:pt idx="1303">
                  <c:v>-3.3178709999999998</c:v>
                </c:pt>
                <c:pt idx="1304">
                  <c:v>-5.4711910000000001</c:v>
                </c:pt>
                <c:pt idx="1305">
                  <c:v>-2.6806640000000002</c:v>
                </c:pt>
                <c:pt idx="1306">
                  <c:v>-8.1079100000000004</c:v>
                </c:pt>
                <c:pt idx="1307">
                  <c:v>-7.3828129999999996</c:v>
                </c:pt>
                <c:pt idx="1308">
                  <c:v>0.63720699999999997</c:v>
                </c:pt>
                <c:pt idx="1309">
                  <c:v>-8.7890630000000005</c:v>
                </c:pt>
                <c:pt idx="1310">
                  <c:v>-4.1528320000000001</c:v>
                </c:pt>
                <c:pt idx="1311">
                  <c:v>2.109375</c:v>
                </c:pt>
                <c:pt idx="1312">
                  <c:v>-4.0649410000000001</c:v>
                </c:pt>
                <c:pt idx="1313">
                  <c:v>-6.89327763</c:v>
                </c:pt>
                <c:pt idx="1314">
                  <c:v>-7.2070309999999997</c:v>
                </c:pt>
                <c:pt idx="1315">
                  <c:v>-8.1298829999999995</c:v>
                </c:pt>
                <c:pt idx="1316">
                  <c:v>-4.2846679999999999</c:v>
                </c:pt>
                <c:pt idx="1317">
                  <c:v>-8.8549799999999994</c:v>
                </c:pt>
                <c:pt idx="1318">
                  <c:v>-3.4277340000000001</c:v>
                </c:pt>
                <c:pt idx="1319">
                  <c:v>-8.9648439999999994</c:v>
                </c:pt>
                <c:pt idx="1320">
                  <c:v>-2.416992</c:v>
                </c:pt>
                <c:pt idx="1321">
                  <c:v>-9.0087890000000002</c:v>
                </c:pt>
                <c:pt idx="1322">
                  <c:v>-8.8549799999999994</c:v>
                </c:pt>
                <c:pt idx="1323">
                  <c:v>2.7246090000000001</c:v>
                </c:pt>
                <c:pt idx="1324">
                  <c:v>1.4721679999999999</c:v>
                </c:pt>
                <c:pt idx="1325">
                  <c:v>-5.0976559999999997</c:v>
                </c:pt>
                <c:pt idx="1326">
                  <c:v>-9.0087890000000002</c:v>
                </c:pt>
                <c:pt idx="1327">
                  <c:v>-9.0087890000000002</c:v>
                </c:pt>
                <c:pt idx="1328">
                  <c:v>-9.0087890000000002</c:v>
                </c:pt>
                <c:pt idx="1329">
                  <c:v>3.6914060000000002</c:v>
                </c:pt>
                <c:pt idx="1330">
                  <c:v>-7.5805660000000001</c:v>
                </c:pt>
                <c:pt idx="1331">
                  <c:v>-6.7016600000000004</c:v>
                </c:pt>
                <c:pt idx="1332">
                  <c:v>-4.6690503760000004</c:v>
                </c:pt>
                <c:pt idx="1333">
                  <c:v>-3.7133790000000002</c:v>
                </c:pt>
                <c:pt idx="1334">
                  <c:v>-8.1079100000000004</c:v>
                </c:pt>
                <c:pt idx="1335">
                  <c:v>-7.756348</c:v>
                </c:pt>
                <c:pt idx="1336">
                  <c:v>1.047650263</c:v>
                </c:pt>
                <c:pt idx="1337">
                  <c:v>2.8125</c:v>
                </c:pt>
                <c:pt idx="1338">
                  <c:v>-5.2734379999999996</c:v>
                </c:pt>
                <c:pt idx="1339">
                  <c:v>1.296387</c:v>
                </c:pt>
                <c:pt idx="1340">
                  <c:v>-5.7128909999999999</c:v>
                </c:pt>
                <c:pt idx="1341">
                  <c:v>-1.4941409999999999</c:v>
                </c:pt>
                <c:pt idx="1342">
                  <c:v>-5.3833010000000003</c:v>
                </c:pt>
                <c:pt idx="1343">
                  <c:v>-2.5927730000000002</c:v>
                </c:pt>
                <c:pt idx="1344">
                  <c:v>-9.0087890000000002</c:v>
                </c:pt>
                <c:pt idx="1345">
                  <c:v>-8.086537775</c:v>
                </c:pt>
                <c:pt idx="1346">
                  <c:v>-6.2420353339999997</c:v>
                </c:pt>
                <c:pt idx="1347">
                  <c:v>-5.8227539999999998</c:v>
                </c:pt>
                <c:pt idx="1348">
                  <c:v>-5.7788089999999999</c:v>
                </c:pt>
                <c:pt idx="1349">
                  <c:v>-7.1850589999999999</c:v>
                </c:pt>
                <c:pt idx="1350">
                  <c:v>-5.6670601429999996</c:v>
                </c:pt>
                <c:pt idx="1351">
                  <c:v>-3.3837890000000002</c:v>
                </c:pt>
                <c:pt idx="1352">
                  <c:v>-8.7451170000000005</c:v>
                </c:pt>
                <c:pt idx="1353">
                  <c:v>-3.0322269999999998</c:v>
                </c:pt>
                <c:pt idx="1354">
                  <c:v>-9.0087890000000002</c:v>
                </c:pt>
                <c:pt idx="1355">
                  <c:v>-8.8542254509999996</c:v>
                </c:pt>
                <c:pt idx="1356">
                  <c:v>-8.7514404359999993</c:v>
                </c:pt>
                <c:pt idx="1357">
                  <c:v>-8.700047928</c:v>
                </c:pt>
                <c:pt idx="1358">
                  <c:v>-7.053223</c:v>
                </c:pt>
                <c:pt idx="1359">
                  <c:v>-1.3623050000000001</c:v>
                </c:pt>
                <c:pt idx="1360">
                  <c:v>-8.0200200000000006</c:v>
                </c:pt>
                <c:pt idx="1361">
                  <c:v>-7.9739450789999999</c:v>
                </c:pt>
                <c:pt idx="1362">
                  <c:v>-7.6278755780000003</c:v>
                </c:pt>
                <c:pt idx="1363">
                  <c:v>-7.28180608</c:v>
                </c:pt>
                <c:pt idx="1364">
                  <c:v>-6.6357419999999996</c:v>
                </c:pt>
                <c:pt idx="1365">
                  <c:v>-6.8041514909999998</c:v>
                </c:pt>
                <c:pt idx="1366">
                  <c:v>-6.8115230000000002</c:v>
                </c:pt>
                <c:pt idx="1367">
                  <c:v>-7.6464840000000001</c:v>
                </c:pt>
                <c:pt idx="1368">
                  <c:v>-5.8447269999999998</c:v>
                </c:pt>
                <c:pt idx="1369">
                  <c:v>-6.4191086889999998</c:v>
                </c:pt>
                <c:pt idx="1370">
                  <c:v>-9.0087890000000002</c:v>
                </c:pt>
                <c:pt idx="1371">
                  <c:v>-4.5922850000000004</c:v>
                </c:pt>
                <c:pt idx="1372">
                  <c:v>-7.2290039999999998</c:v>
                </c:pt>
                <c:pt idx="1373">
                  <c:v>-3.6254879999999998</c:v>
                </c:pt>
                <c:pt idx="1374">
                  <c:v>-8.7011719999999997</c:v>
                </c:pt>
                <c:pt idx="1375">
                  <c:v>-8.6844641120000006</c:v>
                </c:pt>
                <c:pt idx="1376">
                  <c:v>-8.6677478539999999</c:v>
                </c:pt>
                <c:pt idx="1377">
                  <c:v>-7.9478354449999999</c:v>
                </c:pt>
                <c:pt idx="1378">
                  <c:v>-7.2949219999999997</c:v>
                </c:pt>
                <c:pt idx="1379">
                  <c:v>-4.4384769999999998</c:v>
                </c:pt>
                <c:pt idx="1380">
                  <c:v>-8.9208979999999993</c:v>
                </c:pt>
                <c:pt idx="1381">
                  <c:v>-5.2514649999999996</c:v>
                </c:pt>
                <c:pt idx="1382">
                  <c:v>-7.9321289999999998</c:v>
                </c:pt>
                <c:pt idx="1383">
                  <c:v>-6.7680991759999998</c:v>
                </c:pt>
                <c:pt idx="1384">
                  <c:v>-6.4918291799999999</c:v>
                </c:pt>
                <c:pt idx="1385">
                  <c:v>-5.9985350000000004</c:v>
                </c:pt>
                <c:pt idx="1386">
                  <c:v>-7.5146480000000002</c:v>
                </c:pt>
                <c:pt idx="1387">
                  <c:v>-4.0429690000000003</c:v>
                </c:pt>
                <c:pt idx="1388">
                  <c:v>-9.0087890000000002</c:v>
                </c:pt>
                <c:pt idx="1389">
                  <c:v>-6.1743160000000001</c:v>
                </c:pt>
                <c:pt idx="1390">
                  <c:v>3.7353519999999998</c:v>
                </c:pt>
                <c:pt idx="1391">
                  <c:v>-8.2177729999999993</c:v>
                </c:pt>
                <c:pt idx="1392">
                  <c:v>-7.9418797120000004</c:v>
                </c:pt>
                <c:pt idx="1393">
                  <c:v>-7.9198509990000003</c:v>
                </c:pt>
                <c:pt idx="1394">
                  <c:v>-6.4941552800000002</c:v>
                </c:pt>
                <c:pt idx="1395">
                  <c:v>-6.2182620000000002</c:v>
                </c:pt>
                <c:pt idx="1396">
                  <c:v>-6.7047519299999996</c:v>
                </c:pt>
                <c:pt idx="1397">
                  <c:v>-6.7675780000000003</c:v>
                </c:pt>
                <c:pt idx="1398">
                  <c:v>-5.8227539999999998</c:v>
                </c:pt>
                <c:pt idx="1399">
                  <c:v>-6.7456050000000003</c:v>
                </c:pt>
                <c:pt idx="1400">
                  <c:v>-7.0802090379999996</c:v>
                </c:pt>
                <c:pt idx="1401">
                  <c:v>-7.6974667569999999</c:v>
                </c:pt>
                <c:pt idx="1402">
                  <c:v>-7.7227346910000003</c:v>
                </c:pt>
                <c:pt idx="1403">
                  <c:v>-8.2886335649999996</c:v>
                </c:pt>
                <c:pt idx="1404">
                  <c:v>-9.0087890000000002</c:v>
                </c:pt>
                <c:pt idx="1405">
                  <c:v>-6.1324820300000003</c:v>
                </c:pt>
                <c:pt idx="1406">
                  <c:v>-5.467799469</c:v>
                </c:pt>
                <c:pt idx="1407">
                  <c:v>-5.2467919670000001</c:v>
                </c:pt>
                <c:pt idx="1408">
                  <c:v>-2.8125</c:v>
                </c:pt>
                <c:pt idx="1409">
                  <c:v>-8.8769530000000003</c:v>
                </c:pt>
                <c:pt idx="1410">
                  <c:v>-7.279102398</c:v>
                </c:pt>
                <c:pt idx="1411">
                  <c:v>-7.1514609870000001</c:v>
                </c:pt>
                <c:pt idx="1412">
                  <c:v>-6.7675780000000003</c:v>
                </c:pt>
                <c:pt idx="1413">
                  <c:v>-4.0429690000000003</c:v>
                </c:pt>
                <c:pt idx="1414">
                  <c:v>-7.3828129999999996</c:v>
                </c:pt>
                <c:pt idx="1415">
                  <c:v>-7.2575026649999996</c:v>
                </c:pt>
                <c:pt idx="1416">
                  <c:v>-7.0075351570000004</c:v>
                </c:pt>
                <c:pt idx="1417">
                  <c:v>-5.7568359999999998</c:v>
                </c:pt>
                <c:pt idx="1418">
                  <c:v>3.7792970000000001</c:v>
                </c:pt>
                <c:pt idx="1419">
                  <c:v>-3.9550779999999999</c:v>
                </c:pt>
                <c:pt idx="1420">
                  <c:v>-4.6362300000000003</c:v>
                </c:pt>
                <c:pt idx="1421">
                  <c:v>-9.0087890000000002</c:v>
                </c:pt>
                <c:pt idx="1422">
                  <c:v>-5.5093069159999999</c:v>
                </c:pt>
                <c:pt idx="1423">
                  <c:v>-5.2954100000000004</c:v>
                </c:pt>
                <c:pt idx="1424">
                  <c:v>-9.0087890000000002</c:v>
                </c:pt>
                <c:pt idx="1425">
                  <c:v>-8.728327707</c:v>
                </c:pt>
                <c:pt idx="1426">
                  <c:v>-8.2235553459999995</c:v>
                </c:pt>
                <c:pt idx="1427">
                  <c:v>-5.9985350000000004</c:v>
                </c:pt>
                <c:pt idx="1428">
                  <c:v>-7.2509769999999998</c:v>
                </c:pt>
                <c:pt idx="1429">
                  <c:v>-6.9204655529999997</c:v>
                </c:pt>
                <c:pt idx="1430">
                  <c:v>-6.816125102</c:v>
                </c:pt>
                <c:pt idx="1431">
                  <c:v>-6.4856223530000001</c:v>
                </c:pt>
                <c:pt idx="1432">
                  <c:v>-5.9985350000000004</c:v>
                </c:pt>
                <c:pt idx="1433">
                  <c:v>-6.306152</c:v>
                </c:pt>
                <c:pt idx="1434">
                  <c:v>-8.5822218960000001</c:v>
                </c:pt>
                <c:pt idx="1435">
                  <c:v>-8.7231450000000006</c:v>
                </c:pt>
                <c:pt idx="1436">
                  <c:v>-6.3440954490000001</c:v>
                </c:pt>
                <c:pt idx="1437">
                  <c:v>-4.8120120000000002</c:v>
                </c:pt>
                <c:pt idx="1438">
                  <c:v>-8.3496089999999992</c:v>
                </c:pt>
                <c:pt idx="1439">
                  <c:v>-7.6527924479999996</c:v>
                </c:pt>
                <c:pt idx="1440">
                  <c:v>-7.6245120000000002</c:v>
                </c:pt>
                <c:pt idx="1441">
                  <c:v>-4.9877929999999999</c:v>
                </c:pt>
                <c:pt idx="1442">
                  <c:v>-6.1458888370000002</c:v>
                </c:pt>
                <c:pt idx="1443">
                  <c:v>-7.2949219999999997</c:v>
                </c:pt>
                <c:pt idx="1444">
                  <c:v>-5.5810550000000001</c:v>
                </c:pt>
                <c:pt idx="1445">
                  <c:v>-6.6722003750000001</c:v>
                </c:pt>
                <c:pt idx="1446">
                  <c:v>-6.8277444740000002</c:v>
                </c:pt>
                <c:pt idx="1447">
                  <c:v>-9.0087890000000002</c:v>
                </c:pt>
                <c:pt idx="1448">
                  <c:v>-5.8447269999999998</c:v>
                </c:pt>
                <c:pt idx="1449">
                  <c:v>-8.8110350000000004</c:v>
                </c:pt>
                <c:pt idx="1450">
                  <c:v>-6.5478519999999998</c:v>
                </c:pt>
                <c:pt idx="1451">
                  <c:v>-7.9762349649999997</c:v>
                </c:pt>
                <c:pt idx="1452">
                  <c:v>-9.0087890000000002</c:v>
                </c:pt>
                <c:pt idx="1453">
                  <c:v>5.8666989999999997</c:v>
                </c:pt>
                <c:pt idx="1454">
                  <c:v>-8.9868159999999992</c:v>
                </c:pt>
                <c:pt idx="1455">
                  <c:v>-8.1298842859999993</c:v>
                </c:pt>
                <c:pt idx="1456">
                  <c:v>-7.8442379999999998</c:v>
                </c:pt>
                <c:pt idx="1457">
                  <c:v>-8.9868159999999992</c:v>
                </c:pt>
                <c:pt idx="1458">
                  <c:v>-1.3403320000000001</c:v>
                </c:pt>
                <c:pt idx="1459">
                  <c:v>-8.9868159999999992</c:v>
                </c:pt>
                <c:pt idx="1460">
                  <c:v>-8.9972183890000004</c:v>
                </c:pt>
                <c:pt idx="1461">
                  <c:v>-8.9979912280000001</c:v>
                </c:pt>
                <c:pt idx="1462">
                  <c:v>-9.0153404940000001</c:v>
                </c:pt>
                <c:pt idx="1463">
                  <c:v>-9.0176532280000004</c:v>
                </c:pt>
                <c:pt idx="1464">
                  <c:v>-9.0180380089999996</c:v>
                </c:pt>
                <c:pt idx="1465">
                  <c:v>-9.0207386090000004</c:v>
                </c:pt>
                <c:pt idx="1466">
                  <c:v>-9.0211295590000002</c:v>
                </c:pt>
                <c:pt idx="1467">
                  <c:v>-9.0307619999999993</c:v>
                </c:pt>
                <c:pt idx="1468">
                  <c:v>-4.921875</c:v>
                </c:pt>
                <c:pt idx="1469">
                  <c:v>-0.43945309999999999</c:v>
                </c:pt>
                <c:pt idx="1470">
                  <c:v>-9.0087890000000002</c:v>
                </c:pt>
                <c:pt idx="1471">
                  <c:v>-8.1094708969999996</c:v>
                </c:pt>
                <c:pt idx="1472">
                  <c:v>-8.0275158530000006</c:v>
                </c:pt>
                <c:pt idx="1473">
                  <c:v>-7.2509769999999998</c:v>
                </c:pt>
                <c:pt idx="1474">
                  <c:v>2.0214840000000001</c:v>
                </c:pt>
                <c:pt idx="1475">
                  <c:v>-9.0307619999999993</c:v>
                </c:pt>
                <c:pt idx="1476">
                  <c:v>-9.0307619999999993</c:v>
                </c:pt>
                <c:pt idx="1477">
                  <c:v>-9.0307619999999993</c:v>
                </c:pt>
                <c:pt idx="1478">
                  <c:v>-9.0307619999999993</c:v>
                </c:pt>
                <c:pt idx="1479">
                  <c:v>-9.0307619999999993</c:v>
                </c:pt>
                <c:pt idx="1480">
                  <c:v>-9.0307619999999993</c:v>
                </c:pt>
                <c:pt idx="1481">
                  <c:v>-9.0307619999999993</c:v>
                </c:pt>
                <c:pt idx="1482">
                  <c:v>-9.0307619999999993</c:v>
                </c:pt>
                <c:pt idx="1483">
                  <c:v>-0.50537109999999996</c:v>
                </c:pt>
                <c:pt idx="1484">
                  <c:v>-9.0087890000000002</c:v>
                </c:pt>
                <c:pt idx="1485">
                  <c:v>-8.3879997700000004</c:v>
                </c:pt>
                <c:pt idx="1486">
                  <c:v>-7.053223</c:v>
                </c:pt>
                <c:pt idx="1487">
                  <c:v>-8.0404079300000006</c:v>
                </c:pt>
                <c:pt idx="1488">
                  <c:v>-9.0307619999999993</c:v>
                </c:pt>
                <c:pt idx="1489">
                  <c:v>-6.8334960000000002</c:v>
                </c:pt>
                <c:pt idx="1490">
                  <c:v>-7.9541019999999998</c:v>
                </c:pt>
                <c:pt idx="1491">
                  <c:v>-1.032715</c:v>
                </c:pt>
                <c:pt idx="1492">
                  <c:v>-1.3183590000000001</c:v>
                </c:pt>
                <c:pt idx="1493">
                  <c:v>-7.009277</c:v>
                </c:pt>
                <c:pt idx="1494">
                  <c:v>-7.0856592799999998</c:v>
                </c:pt>
                <c:pt idx="1495">
                  <c:v>-7.0902161970000002</c:v>
                </c:pt>
                <c:pt idx="1496">
                  <c:v>-7.3338022609999998</c:v>
                </c:pt>
                <c:pt idx="1497">
                  <c:v>-7.3552903250000004</c:v>
                </c:pt>
                <c:pt idx="1498">
                  <c:v>-7.3597753380000004</c:v>
                </c:pt>
                <c:pt idx="1499">
                  <c:v>-7.4047850000000004</c:v>
                </c:pt>
                <c:pt idx="1500">
                  <c:v>-0.41748049999999998</c:v>
                </c:pt>
                <c:pt idx="1501">
                  <c:v>-8.5473630000000007</c:v>
                </c:pt>
                <c:pt idx="1502">
                  <c:v>-5.8159555120000004</c:v>
                </c:pt>
                <c:pt idx="1503">
                  <c:v>-5.4052730000000002</c:v>
                </c:pt>
                <c:pt idx="1504">
                  <c:v>-4.5043949999999997</c:v>
                </c:pt>
                <c:pt idx="1505">
                  <c:v>-9.0307619999999993</c:v>
                </c:pt>
                <c:pt idx="1506">
                  <c:v>-8.354979385</c:v>
                </c:pt>
                <c:pt idx="1507">
                  <c:v>2.8784179999999999</c:v>
                </c:pt>
                <c:pt idx="1508">
                  <c:v>-8.8110350000000004</c:v>
                </c:pt>
                <c:pt idx="1509">
                  <c:v>-8.7688642629999993</c:v>
                </c:pt>
                <c:pt idx="1510">
                  <c:v>-8.5654440790000006</c:v>
                </c:pt>
                <c:pt idx="1511">
                  <c:v>-8.5034179999999999</c:v>
                </c:pt>
                <c:pt idx="1512">
                  <c:v>-1.384277</c:v>
                </c:pt>
                <c:pt idx="1513">
                  <c:v>-9.0087890000000002</c:v>
                </c:pt>
                <c:pt idx="1514">
                  <c:v>-9.0111492420000001</c:v>
                </c:pt>
                <c:pt idx="1515">
                  <c:v>-9.0307619999999993</c:v>
                </c:pt>
                <c:pt idx="1516">
                  <c:v>-2.3071290000000002</c:v>
                </c:pt>
                <c:pt idx="1517">
                  <c:v>-8.9868159999999992</c:v>
                </c:pt>
                <c:pt idx="1518">
                  <c:v>-8.6384508479999997</c:v>
                </c:pt>
                <c:pt idx="1519">
                  <c:v>-8.4155270000000009</c:v>
                </c:pt>
                <c:pt idx="1520">
                  <c:v>-1.8676759999999999</c:v>
                </c:pt>
                <c:pt idx="1521">
                  <c:v>-8.3935549999999992</c:v>
                </c:pt>
                <c:pt idx="1522">
                  <c:v>-9.0307619999999993</c:v>
                </c:pt>
                <c:pt idx="1523">
                  <c:v>-5.3393550000000003</c:v>
                </c:pt>
                <c:pt idx="1524">
                  <c:v>-9.0087890000000002</c:v>
                </c:pt>
                <c:pt idx="1525">
                  <c:v>2.416992</c:v>
                </c:pt>
                <c:pt idx="1526">
                  <c:v>-8.0419920000000005</c:v>
                </c:pt>
                <c:pt idx="1527">
                  <c:v>-8.9648439999999994</c:v>
                </c:pt>
                <c:pt idx="1528">
                  <c:v>-1.428223</c:v>
                </c:pt>
                <c:pt idx="1529">
                  <c:v>8.6572270000000007</c:v>
                </c:pt>
                <c:pt idx="1530">
                  <c:v>-3.2739259999999999</c:v>
                </c:pt>
                <c:pt idx="1531">
                  <c:v>-7.9980469999999997</c:v>
                </c:pt>
                <c:pt idx="1532">
                  <c:v>-7.8002929999999999</c:v>
                </c:pt>
                <c:pt idx="1533">
                  <c:v>-7.2070309999999997</c:v>
                </c:pt>
                <c:pt idx="1534">
                  <c:v>-9.0087890000000002</c:v>
                </c:pt>
                <c:pt idx="1535">
                  <c:v>5.1855469999999997</c:v>
                </c:pt>
                <c:pt idx="1536">
                  <c:v>-8.9868159999999992</c:v>
                </c:pt>
                <c:pt idx="1537">
                  <c:v>-8.9993045590000005</c:v>
                </c:pt>
                <c:pt idx="1538">
                  <c:v>-9.0038013699999997</c:v>
                </c:pt>
                <c:pt idx="1539">
                  <c:v>-9.0087890000000002</c:v>
                </c:pt>
                <c:pt idx="1540">
                  <c:v>1.6699219999999999</c:v>
                </c:pt>
                <c:pt idx="1541">
                  <c:v>-9.0087890000000002</c:v>
                </c:pt>
                <c:pt idx="1542">
                  <c:v>-9.009961401</c:v>
                </c:pt>
                <c:pt idx="1543">
                  <c:v>-9.0106543220000006</c:v>
                </c:pt>
                <c:pt idx="1544">
                  <c:v>-9.0293797819999995</c:v>
                </c:pt>
                <c:pt idx="1545">
                  <c:v>-9.0307619999999993</c:v>
                </c:pt>
                <c:pt idx="1546">
                  <c:v>-3.4277340000000001</c:v>
                </c:pt>
                <c:pt idx="1547">
                  <c:v>-9.0087890000000002</c:v>
                </c:pt>
                <c:pt idx="1548">
                  <c:v>-8.8785524480000007</c:v>
                </c:pt>
                <c:pt idx="1549">
                  <c:v>-6.9334713089999997</c:v>
                </c:pt>
                <c:pt idx="1550">
                  <c:v>-6.7782402590000004</c:v>
                </c:pt>
                <c:pt idx="1551">
                  <c:v>-6.1743160000000001</c:v>
                </c:pt>
                <c:pt idx="1552">
                  <c:v>-3.4057620000000002</c:v>
                </c:pt>
                <c:pt idx="1553">
                  <c:v>-7.3828129999999996</c:v>
                </c:pt>
                <c:pt idx="1554">
                  <c:v>-7.8594734849999996</c:v>
                </c:pt>
                <c:pt idx="1555">
                  <c:v>-9.0087890000000002</c:v>
                </c:pt>
                <c:pt idx="1556">
                  <c:v>12.612299999999999</c:v>
                </c:pt>
                <c:pt idx="1557">
                  <c:v>-8.3715820000000001</c:v>
                </c:pt>
                <c:pt idx="1558">
                  <c:v>-5.5151370000000002</c:v>
                </c:pt>
                <c:pt idx="1559">
                  <c:v>-9.0087890000000002</c:v>
                </c:pt>
                <c:pt idx="1560">
                  <c:v>-9.0087890000000002</c:v>
                </c:pt>
                <c:pt idx="1561">
                  <c:v>-9.0087890000000002</c:v>
                </c:pt>
                <c:pt idx="1562">
                  <c:v>-9.0087890000000002</c:v>
                </c:pt>
                <c:pt idx="1563">
                  <c:v>-0.1098633</c:v>
                </c:pt>
                <c:pt idx="1564">
                  <c:v>-5.7568359999999998</c:v>
                </c:pt>
                <c:pt idx="1565">
                  <c:v>-3.0761720000000001</c:v>
                </c:pt>
                <c:pt idx="1566">
                  <c:v>-7.6245120000000002</c:v>
                </c:pt>
                <c:pt idx="1567">
                  <c:v>-5.0756839999999999</c:v>
                </c:pt>
                <c:pt idx="1568">
                  <c:v>-8.5253910000000008</c:v>
                </c:pt>
                <c:pt idx="1569">
                  <c:v>-7.6065054710000002</c:v>
                </c:pt>
                <c:pt idx="1570">
                  <c:v>-5.8447269999999998</c:v>
                </c:pt>
                <c:pt idx="1571">
                  <c:v>-7.1235202749999997</c:v>
                </c:pt>
                <c:pt idx="1572">
                  <c:v>-8.5913090000000008</c:v>
                </c:pt>
                <c:pt idx="1573">
                  <c:v>-1.296387</c:v>
                </c:pt>
                <c:pt idx="1574">
                  <c:v>-3.4961769930000002</c:v>
                </c:pt>
                <c:pt idx="1575">
                  <c:v>-8.0200200000000006</c:v>
                </c:pt>
                <c:pt idx="1576">
                  <c:v>-7.9826642420000002</c:v>
                </c:pt>
                <c:pt idx="1577">
                  <c:v>-6.8181844439999999</c:v>
                </c:pt>
                <c:pt idx="1578">
                  <c:v>-5.8227539999999998</c:v>
                </c:pt>
                <c:pt idx="1579">
                  <c:v>-8.3935549999999992</c:v>
                </c:pt>
                <c:pt idx="1580">
                  <c:v>-5.8666989999999997</c:v>
                </c:pt>
                <c:pt idx="1581">
                  <c:v>-7.1411129999999998</c:v>
                </c:pt>
                <c:pt idx="1582">
                  <c:v>-7.8376042540000004</c:v>
                </c:pt>
                <c:pt idx="1583">
                  <c:v>-9.0087890000000002</c:v>
                </c:pt>
                <c:pt idx="1584">
                  <c:v>-4.2846679999999999</c:v>
                </c:pt>
                <c:pt idx="1585">
                  <c:v>-6.9433590000000001</c:v>
                </c:pt>
                <c:pt idx="1586">
                  <c:v>-7.4693409300000004</c:v>
                </c:pt>
                <c:pt idx="1587">
                  <c:v>-7.4892246269999996</c:v>
                </c:pt>
                <c:pt idx="1588">
                  <c:v>-8.2990323949999993</c:v>
                </c:pt>
                <c:pt idx="1589">
                  <c:v>-8.5620233599999995</c:v>
                </c:pt>
                <c:pt idx="1590">
                  <c:v>-8.8652674260000008</c:v>
                </c:pt>
                <c:pt idx="1591">
                  <c:v>-8.9868159999999992</c:v>
                </c:pt>
                <c:pt idx="1592">
                  <c:v>-5.7729783829999999</c:v>
                </c:pt>
                <c:pt idx="1593">
                  <c:v>-4.5922850000000004</c:v>
                </c:pt>
                <c:pt idx="1594">
                  <c:v>-9.0087890000000002</c:v>
                </c:pt>
                <c:pt idx="1595">
                  <c:v>-9.0087890000000002</c:v>
                </c:pt>
                <c:pt idx="1596">
                  <c:v>0.703125</c:v>
                </c:pt>
                <c:pt idx="1597">
                  <c:v>-4.4145236150000002</c:v>
                </c:pt>
                <c:pt idx="1598">
                  <c:v>-7.8002929999999999</c:v>
                </c:pt>
                <c:pt idx="1599">
                  <c:v>-6.5917969999999997</c:v>
                </c:pt>
                <c:pt idx="1600">
                  <c:v>-7.0864715599999997</c:v>
                </c:pt>
                <c:pt idx="1601">
                  <c:v>-7.1451046690000002</c:v>
                </c:pt>
                <c:pt idx="1602">
                  <c:v>-7.3828129999999996</c:v>
                </c:pt>
                <c:pt idx="1603">
                  <c:v>-6.306152</c:v>
                </c:pt>
                <c:pt idx="1604">
                  <c:v>-6.2693505949999997</c:v>
                </c:pt>
                <c:pt idx="1605">
                  <c:v>-6.2232130269999999</c:v>
                </c:pt>
                <c:pt idx="1606">
                  <c:v>-6.1233239529999999</c:v>
                </c:pt>
                <c:pt idx="1607">
                  <c:v>-6.1083980000000002</c:v>
                </c:pt>
                <c:pt idx="1608">
                  <c:v>-2.7685550000000001</c:v>
                </c:pt>
                <c:pt idx="1609">
                  <c:v>-5.7128909999999999</c:v>
                </c:pt>
                <c:pt idx="1610">
                  <c:v>-9.0087890000000002</c:v>
                </c:pt>
                <c:pt idx="1611">
                  <c:v>-6.6633779799999999</c:v>
                </c:pt>
                <c:pt idx="1612">
                  <c:v>-6.5698239999999997</c:v>
                </c:pt>
                <c:pt idx="1613">
                  <c:v>-7.7766233339999999</c:v>
                </c:pt>
                <c:pt idx="1614">
                  <c:v>-8.1807152339999991</c:v>
                </c:pt>
                <c:pt idx="1615">
                  <c:v>-8.9868159999999992</c:v>
                </c:pt>
                <c:pt idx="1616">
                  <c:v>-4.3286129999999998</c:v>
                </c:pt>
                <c:pt idx="1617">
                  <c:v>-9.0087890000000002</c:v>
                </c:pt>
                <c:pt idx="1618">
                  <c:v>-8.9785243030000004</c:v>
                </c:pt>
                <c:pt idx="1619">
                  <c:v>-8.6257989829999993</c:v>
                </c:pt>
                <c:pt idx="1620">
                  <c:v>-8.3946061259999993</c:v>
                </c:pt>
                <c:pt idx="1621">
                  <c:v>-8.2836909999999992</c:v>
                </c:pt>
                <c:pt idx="1622">
                  <c:v>2.8125</c:v>
                </c:pt>
                <c:pt idx="1623">
                  <c:v>-9.0307619999999993</c:v>
                </c:pt>
                <c:pt idx="1624">
                  <c:v>-8.9868159999999992</c:v>
                </c:pt>
                <c:pt idx="1625">
                  <c:v>8.7890629999999997E-2</c:v>
                </c:pt>
                <c:pt idx="1626">
                  <c:v>-7.756348</c:v>
                </c:pt>
                <c:pt idx="1627">
                  <c:v>-5.9545899999999996</c:v>
                </c:pt>
                <c:pt idx="1628">
                  <c:v>-8.9868159999999992</c:v>
                </c:pt>
                <c:pt idx="1629">
                  <c:v>-6.3811044309999998</c:v>
                </c:pt>
                <c:pt idx="1630">
                  <c:v>-5.5151370000000002</c:v>
                </c:pt>
                <c:pt idx="1631">
                  <c:v>-9.0087890000000002</c:v>
                </c:pt>
                <c:pt idx="1632">
                  <c:v>-9.0087890000000002</c:v>
                </c:pt>
                <c:pt idx="1633">
                  <c:v>-9.0087890000000002</c:v>
                </c:pt>
                <c:pt idx="1634">
                  <c:v>-9.0087890000000002</c:v>
                </c:pt>
                <c:pt idx="1635">
                  <c:v>-9.0087890000000002</c:v>
                </c:pt>
                <c:pt idx="1636">
                  <c:v>-9.0087890000000002</c:v>
                </c:pt>
                <c:pt idx="1637">
                  <c:v>-9.0087890000000002</c:v>
                </c:pt>
                <c:pt idx="1638">
                  <c:v>-9.0087890000000002</c:v>
                </c:pt>
                <c:pt idx="1639">
                  <c:v>-9.0087890000000002</c:v>
                </c:pt>
                <c:pt idx="1640">
                  <c:v>-9.0087890000000002</c:v>
                </c:pt>
                <c:pt idx="1641">
                  <c:v>-9.0087890000000002</c:v>
                </c:pt>
                <c:pt idx="1642">
                  <c:v>-4.5922850000000004</c:v>
                </c:pt>
                <c:pt idx="1643">
                  <c:v>-9.0087890000000002</c:v>
                </c:pt>
                <c:pt idx="1644">
                  <c:v>-7.9101559999999997</c:v>
                </c:pt>
                <c:pt idx="1645">
                  <c:v>-8.5228351720000006</c:v>
                </c:pt>
                <c:pt idx="1646">
                  <c:v>-8.9752938869999994</c:v>
                </c:pt>
                <c:pt idx="1647">
                  <c:v>-9.0087890000000002</c:v>
                </c:pt>
                <c:pt idx="1648">
                  <c:v>0.19775390000000001</c:v>
                </c:pt>
                <c:pt idx="1649">
                  <c:v>-9.0307619999999993</c:v>
                </c:pt>
                <c:pt idx="1650">
                  <c:v>-6.328125</c:v>
                </c:pt>
                <c:pt idx="1651">
                  <c:v>-7.2729775940000003</c:v>
                </c:pt>
                <c:pt idx="1652">
                  <c:v>-7.846810176</c:v>
                </c:pt>
                <c:pt idx="1653">
                  <c:v>-7.9321289999999998</c:v>
                </c:pt>
                <c:pt idx="1654">
                  <c:v>-4.1308590000000001</c:v>
                </c:pt>
                <c:pt idx="1655">
                  <c:v>-9.0087890000000002</c:v>
                </c:pt>
                <c:pt idx="1656">
                  <c:v>-9.0087890000000002</c:v>
                </c:pt>
                <c:pt idx="1657">
                  <c:v>-9.0087890000000002</c:v>
                </c:pt>
                <c:pt idx="1658">
                  <c:v>-9.0087890000000002</c:v>
                </c:pt>
                <c:pt idx="1659">
                  <c:v>-9.0087890000000002</c:v>
                </c:pt>
                <c:pt idx="1660">
                  <c:v>-9.0087890000000002</c:v>
                </c:pt>
                <c:pt idx="1661">
                  <c:v>-9.0087890000000002</c:v>
                </c:pt>
                <c:pt idx="1662">
                  <c:v>-9.0087890000000002</c:v>
                </c:pt>
                <c:pt idx="1663">
                  <c:v>-9.0087890000000002</c:v>
                </c:pt>
                <c:pt idx="1664">
                  <c:v>-9.0087890000000002</c:v>
                </c:pt>
                <c:pt idx="1665">
                  <c:v>-9.0087890000000002</c:v>
                </c:pt>
                <c:pt idx="1666">
                  <c:v>-9.0087890000000002</c:v>
                </c:pt>
                <c:pt idx="1667">
                  <c:v>-9.0087890000000002</c:v>
                </c:pt>
                <c:pt idx="1668">
                  <c:v>-9.0087890000000002</c:v>
                </c:pt>
                <c:pt idx="1669">
                  <c:v>-9.0087890000000002</c:v>
                </c:pt>
                <c:pt idx="1670">
                  <c:v>-9.0087890000000002</c:v>
                </c:pt>
                <c:pt idx="1671">
                  <c:v>-9.0087890000000002</c:v>
                </c:pt>
                <c:pt idx="1672">
                  <c:v>-9.0087890000000002</c:v>
                </c:pt>
                <c:pt idx="1673">
                  <c:v>-9.0087890000000002</c:v>
                </c:pt>
                <c:pt idx="1674">
                  <c:v>-9.0087890000000002</c:v>
                </c:pt>
                <c:pt idx="1675">
                  <c:v>-9.0087890000000002</c:v>
                </c:pt>
                <c:pt idx="1676">
                  <c:v>-9.0087890000000002</c:v>
                </c:pt>
                <c:pt idx="1677">
                  <c:v>-9.0087890000000002</c:v>
                </c:pt>
                <c:pt idx="1678">
                  <c:v>-9.0087890000000002</c:v>
                </c:pt>
                <c:pt idx="1679">
                  <c:v>-9.0087890000000002</c:v>
                </c:pt>
                <c:pt idx="1680">
                  <c:v>-9.0087890000000002</c:v>
                </c:pt>
                <c:pt idx="1681">
                  <c:v>-9.0087890000000002</c:v>
                </c:pt>
                <c:pt idx="1682">
                  <c:v>-9.0087890000000002</c:v>
                </c:pt>
                <c:pt idx="1683">
                  <c:v>-9.0087890000000002</c:v>
                </c:pt>
                <c:pt idx="1684">
                  <c:v>-9.0087890000000002</c:v>
                </c:pt>
                <c:pt idx="1685">
                  <c:v>-9.0087890000000002</c:v>
                </c:pt>
                <c:pt idx="1686">
                  <c:v>-9.0087890000000002</c:v>
                </c:pt>
                <c:pt idx="1687">
                  <c:v>-9.0087890000000002</c:v>
                </c:pt>
                <c:pt idx="1688">
                  <c:v>-9.0087890000000002</c:v>
                </c:pt>
                <c:pt idx="1689">
                  <c:v>-9.0087890000000002</c:v>
                </c:pt>
                <c:pt idx="1690">
                  <c:v>-9.0087890000000002</c:v>
                </c:pt>
                <c:pt idx="1691">
                  <c:v>-9.0087890000000002</c:v>
                </c:pt>
                <c:pt idx="1692">
                  <c:v>-9.0087890000000002</c:v>
                </c:pt>
                <c:pt idx="1693">
                  <c:v>-9.0087890000000002</c:v>
                </c:pt>
                <c:pt idx="1694">
                  <c:v>-9.0087890000000002</c:v>
                </c:pt>
                <c:pt idx="1695">
                  <c:v>-9.0087890000000002</c:v>
                </c:pt>
                <c:pt idx="1696">
                  <c:v>-9.0087890000000002</c:v>
                </c:pt>
                <c:pt idx="1697">
                  <c:v>-9.0087890000000002</c:v>
                </c:pt>
                <c:pt idx="1698">
                  <c:v>-9.0087890000000002</c:v>
                </c:pt>
                <c:pt idx="1699">
                  <c:v>-9.0087890000000002</c:v>
                </c:pt>
                <c:pt idx="1700">
                  <c:v>-9.0087890000000002</c:v>
                </c:pt>
                <c:pt idx="1701">
                  <c:v>-9.0087890000000002</c:v>
                </c:pt>
                <c:pt idx="1702">
                  <c:v>-9.0087890000000002</c:v>
                </c:pt>
                <c:pt idx="1703">
                  <c:v>-9.0087890000000002</c:v>
                </c:pt>
                <c:pt idx="1704">
                  <c:v>-9.0087890000000002</c:v>
                </c:pt>
                <c:pt idx="1705">
                  <c:v>-9.0087890000000002</c:v>
                </c:pt>
                <c:pt idx="1706">
                  <c:v>-9.0087890000000002</c:v>
                </c:pt>
                <c:pt idx="1707">
                  <c:v>-9.0087890000000002</c:v>
                </c:pt>
                <c:pt idx="1708">
                  <c:v>-9.0087890000000002</c:v>
                </c:pt>
                <c:pt idx="1709">
                  <c:v>-9.0087890000000002</c:v>
                </c:pt>
                <c:pt idx="1710">
                  <c:v>-9.0087890000000002</c:v>
                </c:pt>
                <c:pt idx="1711">
                  <c:v>-9.0087890000000002</c:v>
                </c:pt>
                <c:pt idx="1712">
                  <c:v>-9.0087890000000002</c:v>
                </c:pt>
                <c:pt idx="1713">
                  <c:v>-9.0087890000000002</c:v>
                </c:pt>
                <c:pt idx="1714">
                  <c:v>-9.0087890000000002</c:v>
                </c:pt>
                <c:pt idx="1715">
                  <c:v>-9.0087890000000002</c:v>
                </c:pt>
                <c:pt idx="1716">
                  <c:v>-9.0087890000000002</c:v>
                </c:pt>
                <c:pt idx="1717">
                  <c:v>-9.0087890000000002</c:v>
                </c:pt>
                <c:pt idx="1718">
                  <c:v>-9.0087890000000002</c:v>
                </c:pt>
                <c:pt idx="1719">
                  <c:v>-9.0087890000000002</c:v>
                </c:pt>
                <c:pt idx="1720">
                  <c:v>-9.0087890000000002</c:v>
                </c:pt>
                <c:pt idx="1721">
                  <c:v>-9.0087890000000002</c:v>
                </c:pt>
                <c:pt idx="1722">
                  <c:v>-9.0087890000000002</c:v>
                </c:pt>
                <c:pt idx="1723">
                  <c:v>-9.0087890000000002</c:v>
                </c:pt>
                <c:pt idx="1724">
                  <c:v>-9.0087890000000002</c:v>
                </c:pt>
                <c:pt idx="1725">
                  <c:v>-9.0087890000000002</c:v>
                </c:pt>
                <c:pt idx="1726">
                  <c:v>-9.0087890000000002</c:v>
                </c:pt>
                <c:pt idx="1727">
                  <c:v>-9.0087890000000002</c:v>
                </c:pt>
                <c:pt idx="1728">
                  <c:v>-9.0087890000000002</c:v>
                </c:pt>
                <c:pt idx="1729">
                  <c:v>-9.0087890000000002</c:v>
                </c:pt>
                <c:pt idx="1730">
                  <c:v>-9.0087890000000002</c:v>
                </c:pt>
                <c:pt idx="1731">
                  <c:v>-9.0087890000000002</c:v>
                </c:pt>
                <c:pt idx="1732">
                  <c:v>-9.0087890000000002</c:v>
                </c:pt>
                <c:pt idx="1733">
                  <c:v>-9.0087890000000002</c:v>
                </c:pt>
                <c:pt idx="1734">
                  <c:v>-9.0087890000000002</c:v>
                </c:pt>
                <c:pt idx="1735">
                  <c:v>-9.0087890000000002</c:v>
                </c:pt>
                <c:pt idx="1736">
                  <c:v>-9.0087890000000002</c:v>
                </c:pt>
                <c:pt idx="1737">
                  <c:v>-9.0087890000000002</c:v>
                </c:pt>
                <c:pt idx="1738">
                  <c:v>-9.0087890000000002</c:v>
                </c:pt>
                <c:pt idx="1739">
                  <c:v>-9.0087890000000002</c:v>
                </c:pt>
                <c:pt idx="1740">
                  <c:v>-9.0087890000000002</c:v>
                </c:pt>
                <c:pt idx="1741">
                  <c:v>-9.0087890000000002</c:v>
                </c:pt>
                <c:pt idx="1742">
                  <c:v>-9.0087890000000002</c:v>
                </c:pt>
                <c:pt idx="1743">
                  <c:v>-9.0087890000000002</c:v>
                </c:pt>
                <c:pt idx="1744">
                  <c:v>-9.0087890000000002</c:v>
                </c:pt>
                <c:pt idx="1745">
                  <c:v>-9.0087890000000002</c:v>
                </c:pt>
                <c:pt idx="1746">
                  <c:v>-9.0087890000000002</c:v>
                </c:pt>
                <c:pt idx="1747">
                  <c:v>-9.0087890000000002</c:v>
                </c:pt>
                <c:pt idx="1748">
                  <c:v>-9.0087890000000002</c:v>
                </c:pt>
                <c:pt idx="1749">
                  <c:v>-9.0087890000000002</c:v>
                </c:pt>
                <c:pt idx="1750">
                  <c:v>-9.0087890000000002</c:v>
                </c:pt>
                <c:pt idx="1751">
                  <c:v>-9.0087890000000002</c:v>
                </c:pt>
                <c:pt idx="1752">
                  <c:v>-9.0087890000000002</c:v>
                </c:pt>
                <c:pt idx="1753">
                  <c:v>-9.0087890000000002</c:v>
                </c:pt>
                <c:pt idx="1754">
                  <c:v>-9.0087890000000002</c:v>
                </c:pt>
                <c:pt idx="1755">
                  <c:v>-9.0087890000000002</c:v>
                </c:pt>
                <c:pt idx="1756">
                  <c:v>-9.0087890000000002</c:v>
                </c:pt>
                <c:pt idx="1757">
                  <c:v>-9.0087890000000002</c:v>
                </c:pt>
                <c:pt idx="1758">
                  <c:v>-9.0087890000000002</c:v>
                </c:pt>
                <c:pt idx="1759">
                  <c:v>-9.0087890000000002</c:v>
                </c:pt>
                <c:pt idx="1760">
                  <c:v>-9.0087890000000002</c:v>
                </c:pt>
                <c:pt idx="1761">
                  <c:v>-9.0087890000000002</c:v>
                </c:pt>
                <c:pt idx="1762">
                  <c:v>-9.0087890000000002</c:v>
                </c:pt>
                <c:pt idx="1763">
                  <c:v>-9.0087890000000002</c:v>
                </c:pt>
                <c:pt idx="1764">
                  <c:v>-9.0087890000000002</c:v>
                </c:pt>
                <c:pt idx="1765">
                  <c:v>-9.0087890000000002</c:v>
                </c:pt>
                <c:pt idx="1766">
                  <c:v>-9.0087890000000002</c:v>
                </c:pt>
                <c:pt idx="1767">
                  <c:v>-9.0087890000000002</c:v>
                </c:pt>
                <c:pt idx="1768">
                  <c:v>-9.0087890000000002</c:v>
                </c:pt>
                <c:pt idx="1769">
                  <c:v>-9.0087890000000002</c:v>
                </c:pt>
                <c:pt idx="1770">
                  <c:v>-9.0087890000000002</c:v>
                </c:pt>
                <c:pt idx="1771">
                  <c:v>-9.0087890000000002</c:v>
                </c:pt>
                <c:pt idx="1772">
                  <c:v>-9.0087890000000002</c:v>
                </c:pt>
                <c:pt idx="1773">
                  <c:v>-9.0087890000000002</c:v>
                </c:pt>
                <c:pt idx="1774">
                  <c:v>-9.0087890000000002</c:v>
                </c:pt>
                <c:pt idx="1775">
                  <c:v>-9.0087890000000002</c:v>
                </c:pt>
                <c:pt idx="1776">
                  <c:v>-9.0087890000000002</c:v>
                </c:pt>
                <c:pt idx="1777">
                  <c:v>-9.0087890000000002</c:v>
                </c:pt>
                <c:pt idx="1778">
                  <c:v>-9.0087890000000002</c:v>
                </c:pt>
                <c:pt idx="1779">
                  <c:v>-9.0087890000000002</c:v>
                </c:pt>
                <c:pt idx="1780">
                  <c:v>-9.0087890000000002</c:v>
                </c:pt>
                <c:pt idx="1781">
                  <c:v>-9.0087890000000002</c:v>
                </c:pt>
                <c:pt idx="1782">
                  <c:v>-9.0087890000000002</c:v>
                </c:pt>
                <c:pt idx="1783">
                  <c:v>-9.0087890000000002</c:v>
                </c:pt>
                <c:pt idx="1784">
                  <c:v>-9.0087890000000002</c:v>
                </c:pt>
                <c:pt idx="1785">
                  <c:v>-9.0087890000000002</c:v>
                </c:pt>
                <c:pt idx="1786">
                  <c:v>-9.0087890000000002</c:v>
                </c:pt>
                <c:pt idx="1787">
                  <c:v>-9.0087890000000002</c:v>
                </c:pt>
                <c:pt idx="1788">
                  <c:v>-9.0087890000000002</c:v>
                </c:pt>
                <c:pt idx="1789">
                  <c:v>-9.0087890000000002</c:v>
                </c:pt>
                <c:pt idx="1790">
                  <c:v>-9.0087890000000002</c:v>
                </c:pt>
                <c:pt idx="1791">
                  <c:v>-9.0087890000000002</c:v>
                </c:pt>
                <c:pt idx="1792">
                  <c:v>-9.0087890000000002</c:v>
                </c:pt>
                <c:pt idx="1793">
                  <c:v>-9.0087890000000002</c:v>
                </c:pt>
                <c:pt idx="1794">
                  <c:v>-9.0087890000000002</c:v>
                </c:pt>
                <c:pt idx="1795">
                  <c:v>-9.0087890000000002</c:v>
                </c:pt>
                <c:pt idx="1796">
                  <c:v>-9.0087890000000002</c:v>
                </c:pt>
                <c:pt idx="1797">
                  <c:v>-9.0087890000000002</c:v>
                </c:pt>
                <c:pt idx="1798">
                  <c:v>-9.0087890000000002</c:v>
                </c:pt>
                <c:pt idx="1799">
                  <c:v>-9.0087890000000002</c:v>
                </c:pt>
                <c:pt idx="1800">
                  <c:v>-9.0087890000000002</c:v>
                </c:pt>
                <c:pt idx="1801">
                  <c:v>-9.0087890000000002</c:v>
                </c:pt>
                <c:pt idx="1802">
                  <c:v>-9.0087890000000002</c:v>
                </c:pt>
                <c:pt idx="1803">
                  <c:v>-9.0087890000000002</c:v>
                </c:pt>
                <c:pt idx="1804">
                  <c:v>-9.0087890000000002</c:v>
                </c:pt>
                <c:pt idx="1805">
                  <c:v>-9.0087890000000002</c:v>
                </c:pt>
                <c:pt idx="1806">
                  <c:v>-9.0087890000000002</c:v>
                </c:pt>
                <c:pt idx="1807">
                  <c:v>-9.0087890000000002</c:v>
                </c:pt>
                <c:pt idx="1808">
                  <c:v>-9.0087890000000002</c:v>
                </c:pt>
                <c:pt idx="1809">
                  <c:v>-9.0087890000000002</c:v>
                </c:pt>
                <c:pt idx="1810">
                  <c:v>-9.0087890000000002</c:v>
                </c:pt>
                <c:pt idx="1811">
                  <c:v>-9.0087890000000002</c:v>
                </c:pt>
                <c:pt idx="1812">
                  <c:v>-6.5509322069999998</c:v>
                </c:pt>
                <c:pt idx="1813">
                  <c:v>-4.0155641209999997</c:v>
                </c:pt>
                <c:pt idx="1814">
                  <c:v>-1.5377046830000001</c:v>
                </c:pt>
                <c:pt idx="1815">
                  <c:v>-0.73883882499999998</c:v>
                </c:pt>
                <c:pt idx="1816">
                  <c:v>3.513028249</c:v>
                </c:pt>
                <c:pt idx="1817">
                  <c:v>5.9908879849999996</c:v>
                </c:pt>
                <c:pt idx="1818">
                  <c:v>8.4862501849999994</c:v>
                </c:pt>
                <c:pt idx="1819">
                  <c:v>10.96410962</c:v>
                </c:pt>
                <c:pt idx="1820">
                  <c:v>13.46072191</c:v>
                </c:pt>
                <c:pt idx="1821">
                  <c:v>15.996090000000001</c:v>
                </c:pt>
                <c:pt idx="1822">
                  <c:v>-6.4160159999999999</c:v>
                </c:pt>
                <c:pt idx="1823">
                  <c:v>-6.0763904039999996</c:v>
                </c:pt>
                <c:pt idx="1824">
                  <c:v>-5.7444683870000004</c:v>
                </c:pt>
                <c:pt idx="1825">
                  <c:v>-5.4023307899999997</c:v>
                </c:pt>
                <c:pt idx="1826">
                  <c:v>-4.7413336700000004</c:v>
                </c:pt>
                <c:pt idx="1827">
                  <c:v>-4.4042201150000002</c:v>
                </c:pt>
                <c:pt idx="1828">
                  <c:v>-4.06459452</c:v>
                </c:pt>
                <c:pt idx="1829">
                  <c:v>-3.9549028320000001</c:v>
                </c:pt>
                <c:pt idx="1830">
                  <c:v>-3.7353519999999998</c:v>
                </c:pt>
                <c:pt idx="1831">
                  <c:v>-2.3079425250000001</c:v>
                </c:pt>
                <c:pt idx="1832">
                  <c:v>-0.85693359999999996</c:v>
                </c:pt>
                <c:pt idx="1833">
                  <c:v>-8.9648439999999994</c:v>
                </c:pt>
                <c:pt idx="1834">
                  <c:v>0.76904300000000003</c:v>
                </c:pt>
                <c:pt idx="1835">
                  <c:v>16.660410649999999</c:v>
                </c:pt>
                <c:pt idx="1836">
                  <c:v>32.058109999999999</c:v>
                </c:pt>
                <c:pt idx="1837">
                  <c:v>36.345971830000003</c:v>
                </c:pt>
                <c:pt idx="1838">
                  <c:v>44.956049999999998</c:v>
                </c:pt>
                <c:pt idx="1839">
                  <c:v>45.434376790000002</c:v>
                </c:pt>
                <c:pt idx="1840">
                  <c:v>45.438180590000002</c:v>
                </c:pt>
                <c:pt idx="1841">
                  <c:v>45.905333710000001</c:v>
                </c:pt>
                <c:pt idx="1842">
                  <c:v>46.380094419999999</c:v>
                </c:pt>
                <c:pt idx="1843">
                  <c:v>46.858658929999997</c:v>
                </c:pt>
                <c:pt idx="1844">
                  <c:v>47.815550229999999</c:v>
                </c:pt>
                <c:pt idx="1845">
                  <c:v>48.282703349999998</c:v>
                </c:pt>
                <c:pt idx="1846">
                  <c:v>50.185549999999999</c:v>
                </c:pt>
                <c:pt idx="1847">
                  <c:v>50.134600239999997</c:v>
                </c:pt>
                <c:pt idx="1848">
                  <c:v>50.083624950000001</c:v>
                </c:pt>
                <c:pt idx="1849">
                  <c:v>49.981265960000002</c:v>
                </c:pt>
                <c:pt idx="1850">
                  <c:v>49.929116479999998</c:v>
                </c:pt>
                <c:pt idx="1851">
                  <c:v>49.878524079999998</c:v>
                </c:pt>
                <c:pt idx="1852">
                  <c:v>49.77659903</c:v>
                </c:pt>
                <c:pt idx="1853">
                  <c:v>49.726006630000001</c:v>
                </c:pt>
                <c:pt idx="1854">
                  <c:v>49.675056869999999</c:v>
                </c:pt>
                <c:pt idx="1855">
                  <c:v>49.572315000000003</c:v>
                </c:pt>
                <c:pt idx="1856">
                  <c:v>49.521722590000003</c:v>
                </c:pt>
                <c:pt idx="1857">
                  <c:v>49.47074731</c:v>
                </c:pt>
                <c:pt idx="1858">
                  <c:v>49.419797539999998</c:v>
                </c:pt>
                <c:pt idx="1859">
                  <c:v>49.368005429999997</c:v>
                </c:pt>
                <c:pt idx="1860">
                  <c:v>49.317846969999998</c:v>
                </c:pt>
                <c:pt idx="1861">
                  <c:v>49.266080379999998</c:v>
                </c:pt>
                <c:pt idx="1862">
                  <c:v>49.164538219999997</c:v>
                </c:pt>
                <c:pt idx="1863">
                  <c:v>49.112746100000003</c:v>
                </c:pt>
                <c:pt idx="1864">
                  <c:v>49.062179229999998</c:v>
                </c:pt>
                <c:pt idx="1865">
                  <c:v>49.011203940000001</c:v>
                </c:pt>
                <c:pt idx="1866">
                  <c:v>48.908462059999998</c:v>
                </c:pt>
                <c:pt idx="1867">
                  <c:v>48.858303599999999</c:v>
                </c:pt>
                <c:pt idx="1868">
                  <c:v>48.80653702</c:v>
                </c:pt>
                <c:pt idx="1869">
                  <c:v>48.704969329999997</c:v>
                </c:pt>
                <c:pt idx="1870">
                  <c:v>48.654019560000002</c:v>
                </c:pt>
                <c:pt idx="1871">
                  <c:v>48.602227450000001</c:v>
                </c:pt>
                <c:pt idx="1872">
                  <c:v>48.552068990000002</c:v>
                </c:pt>
                <c:pt idx="1873">
                  <c:v>48.449710000000003</c:v>
                </c:pt>
                <c:pt idx="1874">
                  <c:v>51.789549999999998</c:v>
                </c:pt>
                <c:pt idx="1875">
                  <c:v>51.301362599999997</c:v>
                </c:pt>
                <c:pt idx="1876">
                  <c:v>50.816871689999999</c:v>
                </c:pt>
                <c:pt idx="1877">
                  <c:v>48.833071269999998</c:v>
                </c:pt>
                <c:pt idx="1878">
                  <c:v>48.344883869999997</c:v>
                </c:pt>
                <c:pt idx="1879">
                  <c:v>47.856450000000002</c:v>
                </c:pt>
                <c:pt idx="1880">
                  <c:v>51.350099999999998</c:v>
                </c:pt>
                <c:pt idx="1881">
                  <c:v>50.837685829999998</c:v>
                </c:pt>
                <c:pt idx="1882">
                  <c:v>49.796168129999998</c:v>
                </c:pt>
                <c:pt idx="1883">
                  <c:v>49.271236940000001</c:v>
                </c:pt>
                <c:pt idx="1884">
                  <c:v>48.742394169999997</c:v>
                </c:pt>
                <c:pt idx="1885">
                  <c:v>48.229979999999998</c:v>
                </c:pt>
                <c:pt idx="1886">
                  <c:v>48.264724370000003</c:v>
                </c:pt>
                <c:pt idx="1887">
                  <c:v>48.281833280000001</c:v>
                </c:pt>
                <c:pt idx="1888">
                  <c:v>48.299339269999997</c:v>
                </c:pt>
                <c:pt idx="1889">
                  <c:v>48.333539819999999</c:v>
                </c:pt>
                <c:pt idx="1890">
                  <c:v>48.350916320000003</c:v>
                </c:pt>
                <c:pt idx="1891">
                  <c:v>48.36842231</c:v>
                </c:pt>
                <c:pt idx="1892">
                  <c:v>48.402899089999998</c:v>
                </c:pt>
                <c:pt idx="1893">
                  <c:v>48.419861249999997</c:v>
                </c:pt>
                <c:pt idx="1894">
                  <c:v>48.43736723</c:v>
                </c:pt>
                <c:pt idx="1895">
                  <c:v>48.471705900000003</c:v>
                </c:pt>
                <c:pt idx="1896">
                  <c:v>48.489350000000002</c:v>
                </c:pt>
                <c:pt idx="1897">
                  <c:v>48.506450270000002</c:v>
                </c:pt>
                <c:pt idx="1898">
                  <c:v>48.540927050000001</c:v>
                </c:pt>
                <c:pt idx="1899">
                  <c:v>48.558027330000002</c:v>
                </c:pt>
                <c:pt idx="1900">
                  <c:v>48.575541940000001</c:v>
                </c:pt>
                <c:pt idx="1901">
                  <c:v>48.592504099999999</c:v>
                </c:pt>
                <c:pt idx="1902">
                  <c:v>48.661587140000002</c:v>
                </c:pt>
                <c:pt idx="1903">
                  <c:v>48.678825529999997</c:v>
                </c:pt>
                <c:pt idx="1904">
                  <c:v>48.696331520000001</c:v>
                </c:pt>
                <c:pt idx="1905">
                  <c:v>48.730670179999997</c:v>
                </c:pt>
                <c:pt idx="1906">
                  <c:v>48.748176170000001</c:v>
                </c:pt>
                <c:pt idx="1907">
                  <c:v>48.765146960000003</c:v>
                </c:pt>
                <c:pt idx="1908">
                  <c:v>48.78252346</c:v>
                </c:pt>
                <c:pt idx="1909">
                  <c:v>48.799891340000002</c:v>
                </c:pt>
                <c:pt idx="1910">
                  <c:v>48.816991610000002</c:v>
                </c:pt>
                <c:pt idx="1911">
                  <c:v>48.834497599999999</c:v>
                </c:pt>
                <c:pt idx="1912">
                  <c:v>48.868974369999997</c:v>
                </c:pt>
                <c:pt idx="1913">
                  <c:v>48.886074649999998</c:v>
                </c:pt>
                <c:pt idx="1914">
                  <c:v>48.903589269999998</c:v>
                </c:pt>
                <c:pt idx="1915">
                  <c:v>48.920551430000003</c:v>
                </c:pt>
                <c:pt idx="1916">
                  <c:v>48.937789819999999</c:v>
                </c:pt>
                <c:pt idx="1917">
                  <c:v>48.955166319999996</c:v>
                </c:pt>
                <c:pt idx="1918">
                  <c:v>48.972396080000003</c:v>
                </c:pt>
                <c:pt idx="1919">
                  <c:v>48.989634469999999</c:v>
                </c:pt>
                <c:pt idx="1920">
                  <c:v>49.024378839999997</c:v>
                </c:pt>
                <c:pt idx="1921">
                  <c:v>49.04134964</c:v>
                </c:pt>
                <c:pt idx="1922">
                  <c:v>49.058993729999997</c:v>
                </c:pt>
                <c:pt idx="1923">
                  <c:v>49.081480470000002</c:v>
                </c:pt>
                <c:pt idx="1924">
                  <c:v>49.09346188</c:v>
                </c:pt>
                <c:pt idx="1925">
                  <c:v>49.110432670000002</c:v>
                </c:pt>
                <c:pt idx="1926">
                  <c:v>49.127938659999998</c:v>
                </c:pt>
                <c:pt idx="1927">
                  <c:v>49.196892220000002</c:v>
                </c:pt>
                <c:pt idx="1928">
                  <c:v>49.33532589</c:v>
                </c:pt>
                <c:pt idx="1929">
                  <c:v>49.352426170000001</c:v>
                </c:pt>
                <c:pt idx="1930">
                  <c:v>49.369396960000003</c:v>
                </c:pt>
                <c:pt idx="1931">
                  <c:v>49.40400322</c:v>
                </c:pt>
                <c:pt idx="1932">
                  <c:v>49.421509210000004</c:v>
                </c:pt>
                <c:pt idx="1933">
                  <c:v>49.438479999999998</c:v>
                </c:pt>
                <c:pt idx="1934">
                  <c:v>46.010739999999998</c:v>
                </c:pt>
                <c:pt idx="1935">
                  <c:v>46.172119330000001</c:v>
                </c:pt>
                <c:pt idx="1936">
                  <c:v>46.252507090000002</c:v>
                </c:pt>
                <c:pt idx="1937">
                  <c:v>46.334746549999998</c:v>
                </c:pt>
                <c:pt idx="1938">
                  <c:v>46.494274179999998</c:v>
                </c:pt>
                <c:pt idx="1939">
                  <c:v>46.57590982</c:v>
                </c:pt>
                <c:pt idx="1940">
                  <c:v>46.655049699999999</c:v>
                </c:pt>
                <c:pt idx="1941">
                  <c:v>46.817676910000003</c:v>
                </c:pt>
                <c:pt idx="1942">
                  <c:v>46.896816790000003</c:v>
                </c:pt>
                <c:pt idx="1943">
                  <c:v>46.978452429999997</c:v>
                </c:pt>
                <c:pt idx="1944">
                  <c:v>47.13918769</c:v>
                </c:pt>
                <c:pt idx="1945">
                  <c:v>47.21832757</c:v>
                </c:pt>
                <c:pt idx="1946">
                  <c:v>47.299963210000001</c:v>
                </c:pt>
                <c:pt idx="1947">
                  <c:v>47.460094660000003</c:v>
                </c:pt>
                <c:pt idx="1948">
                  <c:v>47.541730299999998</c:v>
                </c:pt>
                <c:pt idx="1949">
                  <c:v>47.620870179999997</c:v>
                </c:pt>
                <c:pt idx="1950">
                  <c:v>47.783497390000001</c:v>
                </c:pt>
                <c:pt idx="1951">
                  <c:v>47.86263727</c:v>
                </c:pt>
                <c:pt idx="1952">
                  <c:v>47.943025030000001</c:v>
                </c:pt>
                <c:pt idx="1953">
                  <c:v>48.104404350000003</c:v>
                </c:pt>
                <c:pt idx="1954">
                  <c:v>48.186039999999998</c:v>
                </c:pt>
                <c:pt idx="1955">
                  <c:v>47.454187859999998</c:v>
                </c:pt>
                <c:pt idx="1956">
                  <c:v>47.094125409999997</c:v>
                </c:pt>
                <c:pt idx="1957">
                  <c:v>46.359341460000003</c:v>
                </c:pt>
                <c:pt idx="1958">
                  <c:v>45.993415339999999</c:v>
                </c:pt>
                <c:pt idx="1959">
                  <c:v>45.619060330000003</c:v>
                </c:pt>
                <c:pt idx="1960">
                  <c:v>44.890140000000002</c:v>
                </c:pt>
                <c:pt idx="1961">
                  <c:v>45.097027330000003</c:v>
                </c:pt>
                <c:pt idx="1962">
                  <c:v>45.19725846</c:v>
                </c:pt>
                <c:pt idx="1963">
                  <c:v>45.301498840000001</c:v>
                </c:pt>
                <c:pt idx="1964">
                  <c:v>45.505970349999998</c:v>
                </c:pt>
                <c:pt idx="1965">
                  <c:v>45.610210729999999</c:v>
                </c:pt>
                <c:pt idx="1966">
                  <c:v>45.71126426</c:v>
                </c:pt>
                <c:pt idx="1967">
                  <c:v>45.917329189999997</c:v>
                </c:pt>
                <c:pt idx="1968">
                  <c:v>46.019976149999998</c:v>
                </c:pt>
                <c:pt idx="1969">
                  <c:v>46.122623099999998</c:v>
                </c:pt>
                <c:pt idx="1970">
                  <c:v>46.327917020000001</c:v>
                </c:pt>
                <c:pt idx="1971">
                  <c:v>46.432157400000001</c:v>
                </c:pt>
                <c:pt idx="1972">
                  <c:v>46.533981949999998</c:v>
                </c:pt>
                <c:pt idx="1973">
                  <c:v>46.740869279999998</c:v>
                </c:pt>
                <c:pt idx="1974">
                  <c:v>46.842693830000002</c:v>
                </c:pt>
                <c:pt idx="1975">
                  <c:v>46.945340790000003</c:v>
                </c:pt>
                <c:pt idx="1976">
                  <c:v>47.150634699999998</c:v>
                </c:pt>
                <c:pt idx="1977">
                  <c:v>47.253230260000002</c:v>
                </c:pt>
                <c:pt idx="1978">
                  <c:v>47.356699630000001</c:v>
                </c:pt>
                <c:pt idx="1979">
                  <c:v>47.460940000000001</c:v>
                </c:pt>
                <c:pt idx="1980">
                  <c:v>44.780270000000002</c:v>
                </c:pt>
                <c:pt idx="1981">
                  <c:v>44.793099220000002</c:v>
                </c:pt>
                <c:pt idx="1982">
                  <c:v>44.818649309999998</c:v>
                </c:pt>
                <c:pt idx="1983">
                  <c:v>44.822728150000003</c:v>
                </c:pt>
                <c:pt idx="1984">
                  <c:v>44.831077020000002</c:v>
                </c:pt>
                <c:pt idx="1985">
                  <c:v>44.843899860000001</c:v>
                </c:pt>
                <c:pt idx="1986">
                  <c:v>44.869354360000003</c:v>
                </c:pt>
                <c:pt idx="1987">
                  <c:v>44.88208161</c:v>
                </c:pt>
                <c:pt idx="1988">
                  <c:v>44.895006420000001</c:v>
                </c:pt>
                <c:pt idx="1989">
                  <c:v>44.907631700000003</c:v>
                </c:pt>
                <c:pt idx="1990">
                  <c:v>44.933086189999997</c:v>
                </c:pt>
                <c:pt idx="1991">
                  <c:v>44.946011009999999</c:v>
                </c:pt>
                <c:pt idx="1992">
                  <c:v>44.95854069</c:v>
                </c:pt>
                <c:pt idx="1993">
                  <c:v>44.984090780000002</c:v>
                </c:pt>
                <c:pt idx="1994">
                  <c:v>44.997015599999997</c:v>
                </c:pt>
                <c:pt idx="1995">
                  <c:v>45.009545279999998</c:v>
                </c:pt>
                <c:pt idx="1996">
                  <c:v>45.035095370000001</c:v>
                </c:pt>
                <c:pt idx="1997">
                  <c:v>45.047822619999998</c:v>
                </c:pt>
                <c:pt idx="1998">
                  <c:v>45.060747429999999</c:v>
                </c:pt>
                <c:pt idx="1999">
                  <c:v>45.086195549999999</c:v>
                </c:pt>
                <c:pt idx="2000">
                  <c:v>45.098827200000002</c:v>
                </c:pt>
                <c:pt idx="2001">
                  <c:v>45.111548079999999</c:v>
                </c:pt>
                <c:pt idx="2002">
                  <c:v>45.13700257</c:v>
                </c:pt>
                <c:pt idx="2003">
                  <c:v>45.150029359999998</c:v>
                </c:pt>
                <c:pt idx="2004">
                  <c:v>45.162552660000003</c:v>
                </c:pt>
                <c:pt idx="2005">
                  <c:v>45.175477479999998</c:v>
                </c:pt>
                <c:pt idx="2006">
                  <c:v>45.200734410000003</c:v>
                </c:pt>
                <c:pt idx="2007">
                  <c:v>45.213461649999999</c:v>
                </c:pt>
                <c:pt idx="2008">
                  <c:v>45.239011740000002</c:v>
                </c:pt>
                <c:pt idx="2009">
                  <c:v>45.340918950000002</c:v>
                </c:pt>
                <c:pt idx="2010">
                  <c:v>45.353843759999997</c:v>
                </c:pt>
                <c:pt idx="2011">
                  <c:v>45.36647541</c:v>
                </c:pt>
                <c:pt idx="2012">
                  <c:v>45.39192353</c:v>
                </c:pt>
                <c:pt idx="2013">
                  <c:v>45.404848350000002</c:v>
                </c:pt>
                <c:pt idx="2014">
                  <c:v>45.417479999999998</c:v>
                </c:pt>
                <c:pt idx="2015">
                  <c:v>42.055660000000003</c:v>
                </c:pt>
                <c:pt idx="2016">
                  <c:v>45.988770000000002</c:v>
                </c:pt>
                <c:pt idx="2017">
                  <c:v>46.047061710000001</c:v>
                </c:pt>
                <c:pt idx="2018">
                  <c:v>46.105820450000003</c:v>
                </c:pt>
                <c:pt idx="2019">
                  <c:v>46.164549999999998</c:v>
                </c:pt>
                <c:pt idx="2020">
                  <c:v>41.87988</c:v>
                </c:pt>
                <c:pt idx="2021">
                  <c:v>45.812989999999999</c:v>
                </c:pt>
                <c:pt idx="2022">
                  <c:v>45.487995570000002</c:v>
                </c:pt>
                <c:pt idx="2023">
                  <c:v>44.825277970000002</c:v>
                </c:pt>
                <c:pt idx="2024">
                  <c:v>44.495158979999999</c:v>
                </c:pt>
                <c:pt idx="2025">
                  <c:v>44.165039999999998</c:v>
                </c:pt>
                <c:pt idx="2026">
                  <c:v>44.064297080000003</c:v>
                </c:pt>
                <c:pt idx="2027">
                  <c:v>44.014714040000001</c:v>
                </c:pt>
                <c:pt idx="2028">
                  <c:v>43.964730529999997</c:v>
                </c:pt>
                <c:pt idx="2029">
                  <c:v>43.86478855</c:v>
                </c:pt>
                <c:pt idx="2030">
                  <c:v>43.814805040000003</c:v>
                </c:pt>
                <c:pt idx="2031">
                  <c:v>43.764045619999997</c:v>
                </c:pt>
                <c:pt idx="2032">
                  <c:v>43.71443756</c:v>
                </c:pt>
                <c:pt idx="2033">
                  <c:v>43.66447908</c:v>
                </c:pt>
                <c:pt idx="2034">
                  <c:v>43.613719670000002</c:v>
                </c:pt>
                <c:pt idx="2035">
                  <c:v>43.564111599999997</c:v>
                </c:pt>
                <c:pt idx="2036">
                  <c:v>43.364202599999999</c:v>
                </c:pt>
                <c:pt idx="2037">
                  <c:v>43.314219100000003</c:v>
                </c:pt>
                <c:pt idx="2038">
                  <c:v>43.113133730000001</c:v>
                </c:pt>
                <c:pt idx="2039">
                  <c:v>43.063550679999999</c:v>
                </c:pt>
                <c:pt idx="2040">
                  <c:v>43.012791270000001</c:v>
                </c:pt>
                <c:pt idx="2041">
                  <c:v>42.912824260000001</c:v>
                </c:pt>
                <c:pt idx="2042">
                  <c:v>42.863641690000001</c:v>
                </c:pt>
                <c:pt idx="2043">
                  <c:v>42.813257710000002</c:v>
                </c:pt>
                <c:pt idx="2044">
                  <c:v>42.613348709999997</c:v>
                </c:pt>
                <c:pt idx="2045">
                  <c:v>42.513006269999998</c:v>
                </c:pt>
                <c:pt idx="2046">
                  <c:v>42.46224685</c:v>
                </c:pt>
                <c:pt idx="2047">
                  <c:v>42.413039249999997</c:v>
                </c:pt>
                <c:pt idx="2048">
                  <c:v>42.313072230000003</c:v>
                </c:pt>
                <c:pt idx="2049">
                  <c:v>42.262713290000001</c:v>
                </c:pt>
                <c:pt idx="2050">
                  <c:v>42.211953870000002</c:v>
                </c:pt>
                <c:pt idx="2051">
                  <c:v>42.111986860000002</c:v>
                </c:pt>
                <c:pt idx="2052">
                  <c:v>42.062403830000001</c:v>
                </c:pt>
                <c:pt idx="2053">
                  <c:v>42.012420319999997</c:v>
                </c:pt>
                <c:pt idx="2054">
                  <c:v>41.96243681</c:v>
                </c:pt>
                <c:pt idx="2055">
                  <c:v>41.911677400000002</c:v>
                </c:pt>
                <c:pt idx="2056">
                  <c:v>41.862494830000003</c:v>
                </c:pt>
                <c:pt idx="2057">
                  <c:v>41.811735409999997</c:v>
                </c:pt>
                <c:pt idx="2058">
                  <c:v>41.711367930000002</c:v>
                </c:pt>
                <c:pt idx="2059">
                  <c:v>41.662185360000002</c:v>
                </c:pt>
                <c:pt idx="2060">
                  <c:v>41.611425949999997</c:v>
                </c:pt>
                <c:pt idx="2061">
                  <c:v>41.56181788</c:v>
                </c:pt>
                <c:pt idx="2062">
                  <c:v>41.511859399999999</c:v>
                </c:pt>
                <c:pt idx="2063">
                  <c:v>41.110840000000003</c:v>
                </c:pt>
                <c:pt idx="2064">
                  <c:v>41.522035520000003</c:v>
                </c:pt>
                <c:pt idx="2065">
                  <c:v>41.923830000000002</c:v>
                </c:pt>
                <c:pt idx="2066">
                  <c:v>41.951407920000001</c:v>
                </c:pt>
                <c:pt idx="2067">
                  <c:v>41.97812914</c:v>
                </c:pt>
                <c:pt idx="2068">
                  <c:v>42.005707059999999</c:v>
                </c:pt>
                <c:pt idx="2069">
                  <c:v>42.032863429999999</c:v>
                </c:pt>
                <c:pt idx="2070">
                  <c:v>42.059815810000003</c:v>
                </c:pt>
                <c:pt idx="2071">
                  <c:v>42.086958580000001</c:v>
                </c:pt>
                <c:pt idx="2072">
                  <c:v>42.114114950000001</c:v>
                </c:pt>
                <c:pt idx="2073">
                  <c:v>42.14169287</c:v>
                </c:pt>
                <c:pt idx="2074">
                  <c:v>42.195788030000003</c:v>
                </c:pt>
                <c:pt idx="2075">
                  <c:v>42.222944400000003</c:v>
                </c:pt>
                <c:pt idx="2076">
                  <c:v>42.250100760000002</c:v>
                </c:pt>
                <c:pt idx="2077">
                  <c:v>42.304617479999997</c:v>
                </c:pt>
                <c:pt idx="2078">
                  <c:v>42.331773839999997</c:v>
                </c:pt>
                <c:pt idx="2079">
                  <c:v>42.359351760000003</c:v>
                </c:pt>
                <c:pt idx="2080">
                  <c:v>42.386086570000003</c:v>
                </c:pt>
                <c:pt idx="2081">
                  <c:v>42.413664500000003</c:v>
                </c:pt>
                <c:pt idx="2082">
                  <c:v>42.440603289999999</c:v>
                </c:pt>
                <c:pt idx="2083">
                  <c:v>42.467759649999998</c:v>
                </c:pt>
                <c:pt idx="2084">
                  <c:v>42.522058790000003</c:v>
                </c:pt>
                <c:pt idx="2085">
                  <c:v>42.549432729999999</c:v>
                </c:pt>
                <c:pt idx="2086">
                  <c:v>42.576793080000002</c:v>
                </c:pt>
                <c:pt idx="2087">
                  <c:v>42.685200969999997</c:v>
                </c:pt>
                <c:pt idx="2088">
                  <c:v>42.693904060000001</c:v>
                </c:pt>
                <c:pt idx="2089">
                  <c:v>42.712561309999998</c:v>
                </c:pt>
                <c:pt idx="2090">
                  <c:v>42.767295599999997</c:v>
                </c:pt>
                <c:pt idx="2091">
                  <c:v>42.794030419999999</c:v>
                </c:pt>
                <c:pt idx="2092">
                  <c:v>42.821608339999997</c:v>
                </c:pt>
                <c:pt idx="2093">
                  <c:v>42.84854713</c:v>
                </c:pt>
                <c:pt idx="2094">
                  <c:v>42.90285986</c:v>
                </c:pt>
                <c:pt idx="2095">
                  <c:v>42.930437779999998</c:v>
                </c:pt>
                <c:pt idx="2096">
                  <c:v>42.957158999999997</c:v>
                </c:pt>
                <c:pt idx="2097">
                  <c:v>43.066409999999998</c:v>
                </c:pt>
                <c:pt idx="2098">
                  <c:v>39.990229999999997</c:v>
                </c:pt>
                <c:pt idx="2099">
                  <c:v>40.137613819999999</c:v>
                </c:pt>
                <c:pt idx="2100">
                  <c:v>40.284923849999998</c:v>
                </c:pt>
                <c:pt idx="2101">
                  <c:v>40.434595559999998</c:v>
                </c:pt>
                <c:pt idx="2102">
                  <c:v>40.579691490000002</c:v>
                </c:pt>
                <c:pt idx="2103">
                  <c:v>40.877854069999998</c:v>
                </c:pt>
                <c:pt idx="2104">
                  <c:v>41.022950000000002</c:v>
                </c:pt>
                <c:pt idx="2105">
                  <c:v>41.340671460000003</c:v>
                </c:pt>
                <c:pt idx="2106">
                  <c:v>41.6486795</c:v>
                </c:pt>
                <c:pt idx="2107">
                  <c:v>42.276759030000001</c:v>
                </c:pt>
                <c:pt idx="2108">
                  <c:v>42.594480500000003</c:v>
                </c:pt>
                <c:pt idx="2109">
                  <c:v>42.90248854</c:v>
                </c:pt>
                <c:pt idx="2110">
                  <c:v>43.220210000000002</c:v>
                </c:pt>
                <c:pt idx="2111">
                  <c:v>42.416756159999998</c:v>
                </c:pt>
                <c:pt idx="2112">
                  <c:v>41.594239999999999</c:v>
                </c:pt>
                <c:pt idx="2113">
                  <c:v>41.579979690000002</c:v>
                </c:pt>
                <c:pt idx="2114">
                  <c:v>41.551016599999997</c:v>
                </c:pt>
                <c:pt idx="2115">
                  <c:v>41.53641537</c:v>
                </c:pt>
                <c:pt idx="2116">
                  <c:v>41.521705339999997</c:v>
                </c:pt>
                <c:pt idx="2117">
                  <c:v>41.492742249999999</c:v>
                </c:pt>
                <c:pt idx="2118">
                  <c:v>41.478481930000001</c:v>
                </c:pt>
                <c:pt idx="2119">
                  <c:v>41.434692759999997</c:v>
                </c:pt>
                <c:pt idx="2120">
                  <c:v>41.405722419999996</c:v>
                </c:pt>
                <c:pt idx="2121">
                  <c:v>41.391237240000002</c:v>
                </c:pt>
                <c:pt idx="2122">
                  <c:v>41.386711079999998</c:v>
                </c:pt>
                <c:pt idx="2123">
                  <c:v>41.376868129999998</c:v>
                </c:pt>
                <c:pt idx="2124">
                  <c:v>41.318818640000003</c:v>
                </c:pt>
                <c:pt idx="2125">
                  <c:v>41.30410861</c:v>
                </c:pt>
                <c:pt idx="2126">
                  <c:v>41.275370369999997</c:v>
                </c:pt>
                <c:pt idx="2127">
                  <c:v>41.260660340000001</c:v>
                </c:pt>
                <c:pt idx="2128">
                  <c:v>41.246059119999998</c:v>
                </c:pt>
                <c:pt idx="2129">
                  <c:v>41.21709603</c:v>
                </c:pt>
                <c:pt idx="2130">
                  <c:v>41.202835710000002</c:v>
                </c:pt>
                <c:pt idx="2131">
                  <c:v>41.188125679999999</c:v>
                </c:pt>
                <c:pt idx="2132">
                  <c:v>41.173531709999999</c:v>
                </c:pt>
                <c:pt idx="2133">
                  <c:v>41.168773430000002</c:v>
                </c:pt>
                <c:pt idx="2134">
                  <c:v>41.159271390000001</c:v>
                </c:pt>
                <c:pt idx="2135">
                  <c:v>41.14478622</c:v>
                </c:pt>
                <c:pt idx="2136">
                  <c:v>41.130076189999997</c:v>
                </c:pt>
                <c:pt idx="2137">
                  <c:v>41.11581588</c:v>
                </c:pt>
                <c:pt idx="2138">
                  <c:v>41.101105850000003</c:v>
                </c:pt>
                <c:pt idx="2139">
                  <c:v>41.086736729999998</c:v>
                </c:pt>
                <c:pt idx="2140">
                  <c:v>41.072026700000002</c:v>
                </c:pt>
                <c:pt idx="2141">
                  <c:v>41.057773640000001</c:v>
                </c:pt>
                <c:pt idx="2142">
                  <c:v>41.028687239999996</c:v>
                </c:pt>
                <c:pt idx="2143">
                  <c:v>41.01397721</c:v>
                </c:pt>
                <c:pt idx="2144">
                  <c:v>40.999724149999999</c:v>
                </c:pt>
                <c:pt idx="2145">
                  <c:v>40.970528950000002</c:v>
                </c:pt>
                <c:pt idx="2146">
                  <c:v>40.956159829999997</c:v>
                </c:pt>
                <c:pt idx="2147">
                  <c:v>40.941449800000001</c:v>
                </c:pt>
                <c:pt idx="2148">
                  <c:v>40.898219150000003</c:v>
                </c:pt>
                <c:pt idx="2149">
                  <c:v>40.883509119999999</c:v>
                </c:pt>
                <c:pt idx="2150">
                  <c:v>40.869140000000002</c:v>
                </c:pt>
                <c:pt idx="2151">
                  <c:v>40.792359779999998</c:v>
                </c:pt>
                <c:pt idx="2152">
                  <c:v>40.75337373</c:v>
                </c:pt>
                <c:pt idx="2153">
                  <c:v>40.715291200000003</c:v>
                </c:pt>
                <c:pt idx="2154">
                  <c:v>40.676016789999998</c:v>
                </c:pt>
                <c:pt idx="2155">
                  <c:v>40.600140089999996</c:v>
                </c:pt>
                <c:pt idx="2156">
                  <c:v>40.561154039999998</c:v>
                </c:pt>
                <c:pt idx="2157">
                  <c:v>40.523071510000001</c:v>
                </c:pt>
                <c:pt idx="2158">
                  <c:v>40.484681399999999</c:v>
                </c:pt>
                <c:pt idx="2159">
                  <c:v>40.407305239999999</c:v>
                </c:pt>
                <c:pt idx="2160">
                  <c:v>40.368915129999998</c:v>
                </c:pt>
                <c:pt idx="2161">
                  <c:v>40.330832600000001</c:v>
                </c:pt>
                <c:pt idx="2162">
                  <c:v>40.253456440000001</c:v>
                </c:pt>
                <c:pt idx="2163">
                  <c:v>40.215662270000003</c:v>
                </c:pt>
                <c:pt idx="2164">
                  <c:v>40.176676219999997</c:v>
                </c:pt>
                <c:pt idx="2165">
                  <c:v>40.100203579999999</c:v>
                </c:pt>
                <c:pt idx="2166">
                  <c:v>40.061832690000003</c:v>
                </c:pt>
                <c:pt idx="2167">
                  <c:v>40.022846649999998</c:v>
                </c:pt>
                <c:pt idx="2168">
                  <c:v>39.984744890000002</c:v>
                </c:pt>
                <c:pt idx="2169">
                  <c:v>39.907387960000001</c:v>
                </c:pt>
                <c:pt idx="2170">
                  <c:v>39.869593780000002</c:v>
                </c:pt>
                <c:pt idx="2171">
                  <c:v>39.830607739999998</c:v>
                </c:pt>
                <c:pt idx="2172">
                  <c:v>39.754135089999998</c:v>
                </c:pt>
                <c:pt idx="2173">
                  <c:v>39.715744979999997</c:v>
                </c:pt>
                <c:pt idx="2174">
                  <c:v>39.63896476</c:v>
                </c:pt>
                <c:pt idx="2175">
                  <c:v>39.599978720000003</c:v>
                </c:pt>
                <c:pt idx="2176">
                  <c:v>39.446149140000003</c:v>
                </c:pt>
                <c:pt idx="2177">
                  <c:v>39.331286390000002</c:v>
                </c:pt>
                <c:pt idx="2178">
                  <c:v>39.291992759999999</c:v>
                </c:pt>
                <c:pt idx="2179">
                  <c:v>39.253910230000002</c:v>
                </c:pt>
                <c:pt idx="2180">
                  <c:v>39.061671320000002</c:v>
                </c:pt>
                <c:pt idx="2181">
                  <c:v>39.023588789999998</c:v>
                </c:pt>
                <c:pt idx="2182">
                  <c:v>38.985198680000003</c:v>
                </c:pt>
                <c:pt idx="2183">
                  <c:v>38.946212629999998</c:v>
                </c:pt>
                <c:pt idx="2184">
                  <c:v>38.870047569999997</c:v>
                </c:pt>
                <c:pt idx="2185">
                  <c:v>38.831061519999999</c:v>
                </c:pt>
                <c:pt idx="2186">
                  <c:v>38.792978990000002</c:v>
                </c:pt>
                <c:pt idx="2187">
                  <c:v>38.716198769999998</c:v>
                </c:pt>
                <c:pt idx="2188">
                  <c:v>38.67721272</c:v>
                </c:pt>
                <c:pt idx="2189">
                  <c:v>38.639130190000003</c:v>
                </c:pt>
                <c:pt idx="2190">
                  <c:v>38.56234997</c:v>
                </c:pt>
                <c:pt idx="2191">
                  <c:v>38.523363930000002</c:v>
                </c:pt>
                <c:pt idx="2192">
                  <c:v>38.485569750000003</c:v>
                </c:pt>
                <c:pt idx="2193">
                  <c:v>38.408501170000001</c:v>
                </c:pt>
                <c:pt idx="2194">
                  <c:v>38.369226759999997</c:v>
                </c:pt>
                <c:pt idx="2195">
                  <c:v>38.331125020000002</c:v>
                </c:pt>
                <c:pt idx="2196">
                  <c:v>38.254652370000002</c:v>
                </c:pt>
                <c:pt idx="2197">
                  <c:v>38.215666329999998</c:v>
                </c:pt>
                <c:pt idx="2198">
                  <c:v>38.177295440000002</c:v>
                </c:pt>
                <c:pt idx="2199">
                  <c:v>38.100515219999998</c:v>
                </c:pt>
                <c:pt idx="2200">
                  <c:v>38.062432690000001</c:v>
                </c:pt>
                <c:pt idx="2201">
                  <c:v>38.023446640000003</c:v>
                </c:pt>
                <c:pt idx="2202">
                  <c:v>37.947262360000003</c:v>
                </c:pt>
                <c:pt idx="2203">
                  <c:v>37.908276309999998</c:v>
                </c:pt>
                <c:pt idx="2204">
                  <c:v>37.870193780000001</c:v>
                </c:pt>
                <c:pt idx="2205">
                  <c:v>37.831803669999999</c:v>
                </c:pt>
                <c:pt idx="2206">
                  <c:v>37.792817620000001</c:v>
                </c:pt>
                <c:pt idx="2207">
                  <c:v>37.716056620000003</c:v>
                </c:pt>
                <c:pt idx="2208">
                  <c:v>37.677954870000001</c:v>
                </c:pt>
                <c:pt idx="2209">
                  <c:v>37.639583979999998</c:v>
                </c:pt>
                <c:pt idx="2210">
                  <c:v>37.485735179999999</c:v>
                </c:pt>
                <c:pt idx="2211">
                  <c:v>37.446749130000001</c:v>
                </c:pt>
                <c:pt idx="2212">
                  <c:v>37.370564850000001</c:v>
                </c:pt>
                <c:pt idx="2213">
                  <c:v>37.331578800000003</c:v>
                </c:pt>
                <c:pt idx="2214">
                  <c:v>37.255106159999997</c:v>
                </c:pt>
                <c:pt idx="2215">
                  <c:v>37.177729999999997</c:v>
                </c:pt>
                <c:pt idx="2216">
                  <c:v>40.363770000000002</c:v>
                </c:pt>
                <c:pt idx="2217">
                  <c:v>39.733874620000002</c:v>
                </c:pt>
                <c:pt idx="2218">
                  <c:v>39.089359999999999</c:v>
                </c:pt>
                <c:pt idx="2219">
                  <c:v>37.583901529999999</c:v>
                </c:pt>
                <c:pt idx="2220">
                  <c:v>36.10107</c:v>
                </c:pt>
                <c:pt idx="2221">
                  <c:v>37.446004850000001</c:v>
                </c:pt>
                <c:pt idx="2222">
                  <c:v>38.759770000000003</c:v>
                </c:pt>
                <c:pt idx="2223">
                  <c:v>38.776104189999998</c:v>
                </c:pt>
                <c:pt idx="2224">
                  <c:v>38.792691929999997</c:v>
                </c:pt>
                <c:pt idx="2225">
                  <c:v>38.808772560000001</c:v>
                </c:pt>
                <c:pt idx="2226">
                  <c:v>38.841694490000002</c:v>
                </c:pt>
                <c:pt idx="2227">
                  <c:v>38.857897809999997</c:v>
                </c:pt>
                <c:pt idx="2228">
                  <c:v>38.874485550000003</c:v>
                </c:pt>
                <c:pt idx="2229">
                  <c:v>38.890557999999999</c:v>
                </c:pt>
                <c:pt idx="2230">
                  <c:v>39.103524059999998</c:v>
                </c:pt>
                <c:pt idx="2231">
                  <c:v>39.119858239999999</c:v>
                </c:pt>
                <c:pt idx="2232">
                  <c:v>39.136192430000001</c:v>
                </c:pt>
                <c:pt idx="2233">
                  <c:v>39.152395749999997</c:v>
                </c:pt>
                <c:pt idx="2234">
                  <c:v>39.168729929999998</c:v>
                </c:pt>
                <c:pt idx="2235">
                  <c:v>39.185317679999997</c:v>
                </c:pt>
                <c:pt idx="2236">
                  <c:v>39.218108739999998</c:v>
                </c:pt>
                <c:pt idx="2237">
                  <c:v>39.234181190000001</c:v>
                </c:pt>
                <c:pt idx="2238">
                  <c:v>39.25076894</c:v>
                </c:pt>
                <c:pt idx="2239">
                  <c:v>39.283437309999997</c:v>
                </c:pt>
                <c:pt idx="2240">
                  <c:v>39.299771499999999</c:v>
                </c:pt>
                <c:pt idx="2241">
                  <c:v>39.31597481</c:v>
                </c:pt>
                <c:pt idx="2242">
                  <c:v>39.348643189999997</c:v>
                </c:pt>
                <c:pt idx="2243">
                  <c:v>39.365230930000003</c:v>
                </c:pt>
                <c:pt idx="2244">
                  <c:v>39.381565119999998</c:v>
                </c:pt>
                <c:pt idx="2245">
                  <c:v>39.39776844</c:v>
                </c:pt>
                <c:pt idx="2246">
                  <c:v>39.414356179999999</c:v>
                </c:pt>
                <c:pt idx="2247">
                  <c:v>39.430428630000002</c:v>
                </c:pt>
                <c:pt idx="2248">
                  <c:v>39.446762819999996</c:v>
                </c:pt>
                <c:pt idx="2249">
                  <c:v>39.463481430000002</c:v>
                </c:pt>
                <c:pt idx="2250">
                  <c:v>39.479553879999997</c:v>
                </c:pt>
                <c:pt idx="2251">
                  <c:v>39.496141629999997</c:v>
                </c:pt>
                <c:pt idx="2252">
                  <c:v>39.512222250000001</c:v>
                </c:pt>
                <c:pt idx="2253">
                  <c:v>39.52881</c:v>
                </c:pt>
                <c:pt idx="2254">
                  <c:v>36.25488</c:v>
                </c:pt>
                <c:pt idx="2255">
                  <c:v>36.098917210000003</c:v>
                </c:pt>
                <c:pt idx="2256">
                  <c:v>36.073215189999999</c:v>
                </c:pt>
                <c:pt idx="2257">
                  <c:v>35.969239999999999</c:v>
                </c:pt>
                <c:pt idx="2258">
                  <c:v>5.8791335140000003</c:v>
                </c:pt>
                <c:pt idx="2259">
                  <c:v>-8.8769530000000003</c:v>
                </c:pt>
                <c:pt idx="2260">
                  <c:v>-8.3047061620000004</c:v>
                </c:pt>
                <c:pt idx="2261">
                  <c:v>-3.6166836839999998</c:v>
                </c:pt>
                <c:pt idx="2262">
                  <c:v>-3.2337748720000001</c:v>
                </c:pt>
                <c:pt idx="2263">
                  <c:v>-0.96679689999999996</c:v>
                </c:pt>
                <c:pt idx="2264">
                  <c:v>-0.93001022600000005</c:v>
                </c:pt>
                <c:pt idx="2265">
                  <c:v>-0.926638882</c:v>
                </c:pt>
                <c:pt idx="2266">
                  <c:v>-0.90986590000000001</c:v>
                </c:pt>
                <c:pt idx="2267">
                  <c:v>-0.87976832199999999</c:v>
                </c:pt>
                <c:pt idx="2268">
                  <c:v>-0.876371856</c:v>
                </c:pt>
                <c:pt idx="2269">
                  <c:v>-0.87307922699999996</c:v>
                </c:pt>
                <c:pt idx="2270">
                  <c:v>-0.86965763900000004</c:v>
                </c:pt>
                <c:pt idx="2271">
                  <c:v>-0.86636500999999999</c:v>
                </c:pt>
                <c:pt idx="2272">
                  <c:v>-0.85633304200000004</c:v>
                </c:pt>
                <c:pt idx="2273">
                  <c:v>-0.84290293299999997</c:v>
                </c:pt>
                <c:pt idx="2274">
                  <c:v>-0.83279225000000001</c:v>
                </c:pt>
                <c:pt idx="2275">
                  <c:v>-0.81272663999999994</c:v>
                </c:pt>
                <c:pt idx="2276">
                  <c:v>-0.79937524599999998</c:v>
                </c:pt>
                <c:pt idx="2277">
                  <c:v>-0.78929135900000003</c:v>
                </c:pt>
                <c:pt idx="2278">
                  <c:v>-0.77259541799999998</c:v>
                </c:pt>
                <c:pt idx="2279">
                  <c:v>-0.72227479900000002</c:v>
                </c:pt>
                <c:pt idx="2280">
                  <c:v>-0.71898384400000004</c:v>
                </c:pt>
                <c:pt idx="2281">
                  <c:v>-0.70555373600000004</c:v>
                </c:pt>
                <c:pt idx="2282">
                  <c:v>-0.68883267199999998</c:v>
                </c:pt>
                <c:pt idx="2283">
                  <c:v>-0.68206653699999997</c:v>
                </c:pt>
                <c:pt idx="2284">
                  <c:v>-0.66534547399999999</c:v>
                </c:pt>
                <c:pt idx="2285">
                  <c:v>-0.64527986299999995</c:v>
                </c:pt>
                <c:pt idx="2286">
                  <c:v>-0.63519430200000004</c:v>
                </c:pt>
                <c:pt idx="2287">
                  <c:v>-0.62853200399999998</c:v>
                </c:pt>
                <c:pt idx="2288">
                  <c:v>-0.61178581899999995</c:v>
                </c:pt>
                <c:pt idx="2289">
                  <c:v>-0.59503795900000001</c:v>
                </c:pt>
                <c:pt idx="2290">
                  <c:v>-0.57829009899999995</c:v>
                </c:pt>
                <c:pt idx="2291">
                  <c:v>-0.55151027200000002</c:v>
                </c:pt>
                <c:pt idx="2292">
                  <c:v>-0.54476925799999998</c:v>
                </c:pt>
                <c:pt idx="2293">
                  <c:v>-0.38061511100000001</c:v>
                </c:pt>
                <c:pt idx="2294">
                  <c:v>-0.36054950099999999</c:v>
                </c:pt>
                <c:pt idx="2295">
                  <c:v>-0.33379647000000001</c:v>
                </c:pt>
                <c:pt idx="2296">
                  <c:v>-0.32705545600000002</c:v>
                </c:pt>
                <c:pt idx="2297">
                  <c:v>-0.30698984499999998</c:v>
                </c:pt>
                <c:pt idx="2298">
                  <c:v>-0.29358653299999998</c:v>
                </c:pt>
                <c:pt idx="2299">
                  <c:v>-0.27689226700000003</c:v>
                </c:pt>
                <c:pt idx="2300">
                  <c:v>-0.26675478699999999</c:v>
                </c:pt>
                <c:pt idx="2301">
                  <c:v>-0.25674794099999998</c:v>
                </c:pt>
                <c:pt idx="2302">
                  <c:v>-0.16295322700000001</c:v>
                </c:pt>
                <c:pt idx="2303">
                  <c:v>-0.14617857100000001</c:v>
                </c:pt>
                <c:pt idx="2304">
                  <c:v>-0.13611980600000001</c:v>
                </c:pt>
                <c:pt idx="2305">
                  <c:v>-0.122770088</c:v>
                </c:pt>
                <c:pt idx="2306">
                  <c:v>-9.9281214000000007E-2</c:v>
                </c:pt>
                <c:pt idx="2307">
                  <c:v>-7.9163684999999998E-2</c:v>
                </c:pt>
                <c:pt idx="2308">
                  <c:v>-7.5924648999999997E-2</c:v>
                </c:pt>
                <c:pt idx="2309">
                  <c:v>-6.9156838999999998E-2</c:v>
                </c:pt>
                <c:pt idx="2310">
                  <c:v>-5.2383857999999998E-2</c:v>
                </c:pt>
                <c:pt idx="2311">
                  <c:v>-2.2207563999999999E-2</c:v>
                </c:pt>
                <c:pt idx="2312">
                  <c:v>-1.2227514E-2</c:v>
                </c:pt>
                <c:pt idx="2313">
                  <c:v>9.1600842000000002E-2</c:v>
                </c:pt>
                <c:pt idx="2314">
                  <c:v>0.13183590000000001</c:v>
                </c:pt>
                <c:pt idx="2315">
                  <c:v>1.6849957870000001</c:v>
                </c:pt>
                <c:pt idx="2316">
                  <c:v>2.532623563</c:v>
                </c:pt>
                <c:pt idx="2317">
                  <c:v>2.6759204300000001</c:v>
                </c:pt>
                <c:pt idx="2318">
                  <c:v>2.8159669570000001</c:v>
                </c:pt>
                <c:pt idx="2319">
                  <c:v>3.0981091479999998</c:v>
                </c:pt>
                <c:pt idx="2320">
                  <c:v>3.8047011550000001</c:v>
                </c:pt>
                <c:pt idx="2321">
                  <c:v>4.0869140000000002</c:v>
                </c:pt>
                <c:pt idx="2322">
                  <c:v>1.032715</c:v>
                </c:pt>
                <c:pt idx="2323">
                  <c:v>9.5361329999999995</c:v>
                </c:pt>
                <c:pt idx="2324">
                  <c:v>0.21972659999999999</c:v>
                </c:pt>
                <c:pt idx="2325">
                  <c:v>4.0125654480000001</c:v>
                </c:pt>
                <c:pt idx="2326">
                  <c:v>7.8662109999999998</c:v>
                </c:pt>
                <c:pt idx="2327">
                  <c:v>-2.504883</c:v>
                </c:pt>
                <c:pt idx="2328">
                  <c:v>2.6367189999999998</c:v>
                </c:pt>
                <c:pt idx="2329">
                  <c:v>-3.9770509999999999</c:v>
                </c:pt>
                <c:pt idx="2330">
                  <c:v>1.1206050000000001</c:v>
                </c:pt>
                <c:pt idx="2331">
                  <c:v>-8.9868159999999992</c:v>
                </c:pt>
                <c:pt idx="2332">
                  <c:v>0.30761719999999998</c:v>
                </c:pt>
                <c:pt idx="2333">
                  <c:v>-3.9331049999999999</c:v>
                </c:pt>
                <c:pt idx="2334">
                  <c:v>-3.1178239209999998</c:v>
                </c:pt>
                <c:pt idx="2335">
                  <c:v>-2.5708009999999999</c:v>
                </c:pt>
                <c:pt idx="2336">
                  <c:v>-8.7231450000000006</c:v>
                </c:pt>
                <c:pt idx="2337">
                  <c:v>-5.6479154329999997</c:v>
                </c:pt>
                <c:pt idx="2338">
                  <c:v>-5.625</c:v>
                </c:pt>
                <c:pt idx="2339">
                  <c:v>-5.9927364839999999</c:v>
                </c:pt>
                <c:pt idx="2340">
                  <c:v>-6.3720699999999999</c:v>
                </c:pt>
                <c:pt idx="2341">
                  <c:v>-6.7426122250000002</c:v>
                </c:pt>
                <c:pt idx="2342">
                  <c:v>-6.7456050000000003</c:v>
                </c:pt>
                <c:pt idx="2343">
                  <c:v>-5.9908711060000002</c:v>
                </c:pt>
                <c:pt idx="2344">
                  <c:v>-5.2239456249999998</c:v>
                </c:pt>
                <c:pt idx="2345">
                  <c:v>-2.1752929999999999</c:v>
                </c:pt>
                <c:pt idx="2346">
                  <c:v>-3.0102540000000002</c:v>
                </c:pt>
                <c:pt idx="2347">
                  <c:v>-2.8845773179999998</c:v>
                </c:pt>
                <c:pt idx="2348">
                  <c:v>-2.8583957660000001</c:v>
                </c:pt>
                <c:pt idx="2349">
                  <c:v>-2.8531699289999999</c:v>
                </c:pt>
                <c:pt idx="2350">
                  <c:v>-2.8478603100000002</c:v>
                </c:pt>
                <c:pt idx="2351">
                  <c:v>-2.842671127</c:v>
                </c:pt>
                <c:pt idx="2352">
                  <c:v>-2.8164503029999999</c:v>
                </c:pt>
                <c:pt idx="2353">
                  <c:v>-2.8112637380000001</c:v>
                </c:pt>
                <c:pt idx="2354">
                  <c:v>-2.774627894</c:v>
                </c:pt>
                <c:pt idx="2355">
                  <c:v>-2.7641290920000001</c:v>
                </c:pt>
                <c:pt idx="2356">
                  <c:v>-2.7431786140000001</c:v>
                </c:pt>
                <c:pt idx="2357">
                  <c:v>-2.7379501579999999</c:v>
                </c:pt>
                <c:pt idx="2358">
                  <c:v>-2.7327217030000002</c:v>
                </c:pt>
                <c:pt idx="2359">
                  <c:v>-2.727493247</c:v>
                </c:pt>
                <c:pt idx="2360">
                  <c:v>-2.7221417379999999</c:v>
                </c:pt>
                <c:pt idx="2361">
                  <c:v>-2.6908155119999999</c:v>
                </c:pt>
                <c:pt idx="2362">
                  <c:v>-2.6750908720000002</c:v>
                </c:pt>
                <c:pt idx="2363">
                  <c:v>-2.659408123</c:v>
                </c:pt>
                <c:pt idx="2364">
                  <c:v>-2.6541377759999998</c:v>
                </c:pt>
                <c:pt idx="2365">
                  <c:v>-2.6437227550000002</c:v>
                </c:pt>
                <c:pt idx="2366">
                  <c:v>-2.6227696599999999</c:v>
                </c:pt>
                <c:pt idx="2367">
                  <c:v>-2.6122734759999999</c:v>
                </c:pt>
                <c:pt idx="2368">
                  <c:v>-2.6070450200000002</c:v>
                </c:pt>
                <c:pt idx="2369">
                  <c:v>-2.5913622709999999</c:v>
                </c:pt>
                <c:pt idx="2370">
                  <c:v>-2.5755957409999999</c:v>
                </c:pt>
                <c:pt idx="2371">
                  <c:v>-2.5546845359999999</c:v>
                </c:pt>
                <c:pt idx="2372">
                  <c:v>-2.5284637120000002</c:v>
                </c:pt>
                <c:pt idx="2373">
                  <c:v>-2.4970955959999999</c:v>
                </c:pt>
                <c:pt idx="2374">
                  <c:v>-2.4709140449999998</c:v>
                </c:pt>
                <c:pt idx="2375">
                  <c:v>-2.444735112</c:v>
                </c:pt>
                <c:pt idx="2376">
                  <c:v>-2.4237820160000001</c:v>
                </c:pt>
                <c:pt idx="2377">
                  <c:v>-2.41851167</c:v>
                </c:pt>
                <c:pt idx="2378">
                  <c:v>-2.4080573759999999</c:v>
                </c:pt>
                <c:pt idx="2379">
                  <c:v>-2.387143553</c:v>
                </c:pt>
                <c:pt idx="2380">
                  <c:v>-2.3766473690000001</c:v>
                </c:pt>
                <c:pt idx="2381">
                  <c:v>-2.371379642</c:v>
                </c:pt>
                <c:pt idx="2382">
                  <c:v>-2.3452399810000002</c:v>
                </c:pt>
                <c:pt idx="2383">
                  <c:v>-2.3347019059999998</c:v>
                </c:pt>
                <c:pt idx="2384">
                  <c:v>-2.2771522389999999</c:v>
                </c:pt>
                <c:pt idx="2385">
                  <c:v>-2.2666979450000002</c:v>
                </c:pt>
                <c:pt idx="2386">
                  <c:v>-2.2457029589999999</c:v>
                </c:pt>
                <c:pt idx="2387">
                  <c:v>-2.2352486659999999</c:v>
                </c:pt>
                <c:pt idx="2388">
                  <c:v>-2.224791754</c:v>
                </c:pt>
                <c:pt idx="2389">
                  <c:v>-2.193384365</c:v>
                </c:pt>
                <c:pt idx="2390">
                  <c:v>-2.1724312700000001</c:v>
                </c:pt>
                <c:pt idx="2391">
                  <c:v>-2.1566647400000001</c:v>
                </c:pt>
                <c:pt idx="2392">
                  <c:v>-2.1305669690000002</c:v>
                </c:pt>
                <c:pt idx="2393">
                  <c:v>-2.0938080719999999</c:v>
                </c:pt>
                <c:pt idx="2394">
                  <c:v>-2.0520249339999999</c:v>
                </c:pt>
                <c:pt idx="2395">
                  <c:v>-1.983937192</c:v>
                </c:pt>
                <c:pt idx="2396">
                  <c:v>-1.9053139939999999</c:v>
                </c:pt>
                <c:pt idx="2397">
                  <c:v>-1.8320815770000001</c:v>
                </c:pt>
                <c:pt idx="2398">
                  <c:v>-1.8267719579999999</c:v>
                </c:pt>
                <c:pt idx="2399">
                  <c:v>-1.7691411269999999</c:v>
                </c:pt>
                <c:pt idx="2400">
                  <c:v>-1.7535002689999999</c:v>
                </c:pt>
                <c:pt idx="2401">
                  <c:v>-1.7273187169999999</c:v>
                </c:pt>
                <c:pt idx="2402">
                  <c:v>-1.7010978940000001</c:v>
                </c:pt>
                <c:pt idx="2403">
                  <c:v>-1.4131086850000001</c:v>
                </c:pt>
                <c:pt idx="2404">
                  <c:v>-1.4026543920000001</c:v>
                </c:pt>
                <c:pt idx="2405">
                  <c:v>-1.303321586</c:v>
                </c:pt>
                <c:pt idx="2406">
                  <c:v>-1.2455703199999999</c:v>
                </c:pt>
                <c:pt idx="2407">
                  <c:v>-1.240341865</c:v>
                </c:pt>
                <c:pt idx="2408">
                  <c:v>-1.2247795509999999</c:v>
                </c:pt>
                <c:pt idx="2409">
                  <c:v>-1.2089318579999999</c:v>
                </c:pt>
                <c:pt idx="2410">
                  <c:v>-1.1827921969999999</c:v>
                </c:pt>
                <c:pt idx="2411">
                  <c:v>-1.177524469</c:v>
                </c:pt>
                <c:pt idx="2412">
                  <c:v>-1.156613264</c:v>
                </c:pt>
                <c:pt idx="2413">
                  <c:v>-1.1199355289999999</c:v>
                </c:pt>
                <c:pt idx="2414">
                  <c:v>-1.104250161</c:v>
                </c:pt>
                <c:pt idx="2415">
                  <c:v>-1.0937539780000001</c:v>
                </c:pt>
                <c:pt idx="2416">
                  <c:v>-1.0832577940000001</c:v>
                </c:pt>
                <c:pt idx="2417">
                  <c:v>-1.0728427730000001</c:v>
                </c:pt>
                <c:pt idx="2418">
                  <c:v>-1.046661222</c:v>
                </c:pt>
                <c:pt idx="2419">
                  <c:v>-1.030936582</c:v>
                </c:pt>
                <c:pt idx="2420">
                  <c:v>-0.98894922900000004</c:v>
                </c:pt>
                <c:pt idx="2421">
                  <c:v>-0.97334764200000001</c:v>
                </c:pt>
                <c:pt idx="2422">
                  <c:v>-0.93144145099999998</c:v>
                </c:pt>
                <c:pt idx="2423">
                  <c:v>-0.91040719299999995</c:v>
                </c:pt>
                <c:pt idx="2424">
                  <c:v>-0.81622168100000003</c:v>
                </c:pt>
                <c:pt idx="2425">
                  <c:v>-0.81103511500000003</c:v>
                </c:pt>
                <c:pt idx="2426">
                  <c:v>-0.80053893099999995</c:v>
                </c:pt>
                <c:pt idx="2427">
                  <c:v>-0.63299794799999998</c:v>
                </c:pt>
                <c:pt idx="2428">
                  <c:v>-0.104075633</c:v>
                </c:pt>
                <c:pt idx="2429">
                  <c:v>-9.8889067999999997E-2</c:v>
                </c:pt>
                <c:pt idx="2430">
                  <c:v>0.246689082</c:v>
                </c:pt>
                <c:pt idx="2431">
                  <c:v>0.96941247600000002</c:v>
                </c:pt>
                <c:pt idx="2432">
                  <c:v>1.006009049</c:v>
                </c:pt>
                <c:pt idx="2433">
                  <c:v>1.252050176</c:v>
                </c:pt>
                <c:pt idx="2434">
                  <c:v>1.288809074</c:v>
                </c:pt>
                <c:pt idx="2435">
                  <c:v>1.3987192260000001</c:v>
                </c:pt>
                <c:pt idx="2436">
                  <c:v>1.555803297</c:v>
                </c:pt>
                <c:pt idx="2437">
                  <c:v>1.655298428</c:v>
                </c:pt>
                <c:pt idx="2438">
                  <c:v>1.6814799789999999</c:v>
                </c:pt>
                <c:pt idx="2439">
                  <c:v>1.6918949999999999</c:v>
                </c:pt>
                <c:pt idx="2440">
                  <c:v>1.3616708959999999</c:v>
                </c:pt>
                <c:pt idx="2441">
                  <c:v>1.3523688089999999</c:v>
                </c:pt>
                <c:pt idx="2442">
                  <c:v>1.3065005279999999</c:v>
                </c:pt>
                <c:pt idx="2443">
                  <c:v>1.260636834</c:v>
                </c:pt>
                <c:pt idx="2444">
                  <c:v>1.104790175</c:v>
                </c:pt>
                <c:pt idx="2445">
                  <c:v>0.90285965499999998</c:v>
                </c:pt>
                <c:pt idx="2446">
                  <c:v>0.132286293</c:v>
                </c:pt>
                <c:pt idx="2447">
                  <c:v>-3.2720261E-2</c:v>
                </c:pt>
                <c:pt idx="2448">
                  <c:v>-8.7890629999999997E-2</c:v>
                </c:pt>
                <c:pt idx="2449">
                  <c:v>0.14266301100000001</c:v>
                </c:pt>
                <c:pt idx="2450">
                  <c:v>0.33485510899999998</c:v>
                </c:pt>
                <c:pt idx="2451">
                  <c:v>0.64217027299999996</c:v>
                </c:pt>
                <c:pt idx="2452">
                  <c:v>0.71922008100000001</c:v>
                </c:pt>
                <c:pt idx="2453">
                  <c:v>0.75729333899999995</c:v>
                </c:pt>
                <c:pt idx="2454">
                  <c:v>0.79598160399999995</c:v>
                </c:pt>
                <c:pt idx="2455">
                  <c:v>0.83405486200000001</c:v>
                </c:pt>
                <c:pt idx="2456">
                  <c:v>0.98846199199999996</c:v>
                </c:pt>
                <c:pt idx="2457">
                  <c:v>0.98876949999999997</c:v>
                </c:pt>
                <c:pt idx="2458">
                  <c:v>1.0629364720000001</c:v>
                </c:pt>
                <c:pt idx="2459">
                  <c:v>1.210081958</c:v>
                </c:pt>
                <c:pt idx="2460">
                  <c:v>1.210676187</c:v>
                </c:pt>
                <c:pt idx="2461">
                  <c:v>1.3589729930000001</c:v>
                </c:pt>
                <c:pt idx="2462">
                  <c:v>1.4325457370000001</c:v>
                </c:pt>
                <c:pt idx="2463">
                  <c:v>1.507864028</c:v>
                </c:pt>
                <c:pt idx="2464">
                  <c:v>1.582031</c:v>
                </c:pt>
                <c:pt idx="2465">
                  <c:v>-0.328311032</c:v>
                </c:pt>
                <c:pt idx="2466">
                  <c:v>-0.96679689999999996</c:v>
                </c:pt>
                <c:pt idx="2467">
                  <c:v>-0.243880228</c:v>
                </c:pt>
                <c:pt idx="2468">
                  <c:v>0.121815724</c:v>
                </c:pt>
                <c:pt idx="2469">
                  <c:v>2.2851560000000002</c:v>
                </c:pt>
                <c:pt idx="2470">
                  <c:v>-0.9448242</c:v>
                </c:pt>
                <c:pt idx="2471">
                  <c:v>-1.252377311</c:v>
                </c:pt>
                <c:pt idx="2472">
                  <c:v>-1.3404913949999999</c:v>
                </c:pt>
                <c:pt idx="2473">
                  <c:v>-1.427924134</c:v>
                </c:pt>
                <c:pt idx="2474">
                  <c:v>-1.4721679999999999</c:v>
                </c:pt>
                <c:pt idx="2475">
                  <c:v>2.0654300000000001</c:v>
                </c:pt>
                <c:pt idx="2476">
                  <c:v>1.8944699549999999</c:v>
                </c:pt>
                <c:pt idx="2477">
                  <c:v>1.722145308</c:v>
                </c:pt>
                <c:pt idx="2478">
                  <c:v>1.5531895309999999</c:v>
                </c:pt>
                <c:pt idx="2479">
                  <c:v>1.467389686</c:v>
                </c:pt>
                <c:pt idx="2480">
                  <c:v>1.3822294959999999</c:v>
                </c:pt>
                <c:pt idx="2481">
                  <c:v>1.297069306</c:v>
                </c:pt>
                <c:pt idx="2482">
                  <c:v>1.296387</c:v>
                </c:pt>
                <c:pt idx="2483">
                  <c:v>0.79390116700000002</c:v>
                </c:pt>
                <c:pt idx="2484">
                  <c:v>-1.2360807840000001</c:v>
                </c:pt>
                <c:pt idx="2485">
                  <c:v>-3.2698675499999998</c:v>
                </c:pt>
                <c:pt idx="2486">
                  <c:v>-3.2739259999999999</c:v>
                </c:pt>
                <c:pt idx="2487">
                  <c:v>-2.9041772950000002</c:v>
                </c:pt>
                <c:pt idx="2488">
                  <c:v>-2.528407224</c:v>
                </c:pt>
                <c:pt idx="2489">
                  <c:v>-2.1526371530000001</c:v>
                </c:pt>
                <c:pt idx="2490">
                  <c:v>-1.4010970119999999</c:v>
                </c:pt>
                <c:pt idx="2491">
                  <c:v>-0.26814174099999999</c:v>
                </c:pt>
                <c:pt idx="2492">
                  <c:v>0.48339840000000001</c:v>
                </c:pt>
                <c:pt idx="2493">
                  <c:v>-0.41523043700000001</c:v>
                </c:pt>
                <c:pt idx="2494">
                  <c:v>-1.3134093179999999</c:v>
                </c:pt>
                <c:pt idx="2495">
                  <c:v>-2.2120381550000001</c:v>
                </c:pt>
                <c:pt idx="2496">
                  <c:v>-2.2192379999999998</c:v>
                </c:pt>
                <c:pt idx="2497">
                  <c:v>-1.5904017050000001</c:v>
                </c:pt>
                <c:pt idx="2498">
                  <c:v>-1.280904845</c:v>
                </c:pt>
                <c:pt idx="2499">
                  <c:v>-0.96890829599999995</c:v>
                </c:pt>
                <c:pt idx="2500">
                  <c:v>-0.65691174600000002</c:v>
                </c:pt>
                <c:pt idx="2501">
                  <c:v>-0.34507141800000002</c:v>
                </c:pt>
                <c:pt idx="2502">
                  <c:v>-3.5418374000000002E-2</c:v>
                </c:pt>
                <c:pt idx="2503">
                  <c:v>0.5932617</c:v>
                </c:pt>
                <c:pt idx="2504">
                  <c:v>0.37746740000000001</c:v>
                </c:pt>
                <c:pt idx="2505">
                  <c:v>0.16340202600000001</c:v>
                </c:pt>
                <c:pt idx="2506">
                  <c:v>-0.48560177399999999</c:v>
                </c:pt>
                <c:pt idx="2507">
                  <c:v>-0.703125</c:v>
                </c:pt>
                <c:pt idx="2508">
                  <c:v>-0.78430623499999996</c:v>
                </c:pt>
                <c:pt idx="2509">
                  <c:v>-0.837932762</c:v>
                </c:pt>
                <c:pt idx="2510">
                  <c:v>-0.89155929199999995</c:v>
                </c:pt>
                <c:pt idx="2511">
                  <c:v>-0.94580593400000001</c:v>
                </c:pt>
                <c:pt idx="2512">
                  <c:v>-0.99943246100000005</c:v>
                </c:pt>
                <c:pt idx="2513">
                  <c:v>-1.053490373</c:v>
                </c:pt>
                <c:pt idx="2514">
                  <c:v>-1.080398003</c:v>
                </c:pt>
                <c:pt idx="2515">
                  <c:v>-1.161794931</c:v>
                </c:pt>
                <c:pt idx="2516">
                  <c:v>-1.215421458</c:v>
                </c:pt>
                <c:pt idx="2517">
                  <c:v>-1.2421268750000001</c:v>
                </c:pt>
                <c:pt idx="2518">
                  <c:v>-1.269047984</c:v>
                </c:pt>
                <c:pt idx="2519">
                  <c:v>-1.296387</c:v>
                </c:pt>
                <c:pt idx="2520">
                  <c:v>-0.99459932200000001</c:v>
                </c:pt>
                <c:pt idx="2521">
                  <c:v>-0.54017292100000003</c:v>
                </c:pt>
                <c:pt idx="2522">
                  <c:v>-0.38745833800000001</c:v>
                </c:pt>
                <c:pt idx="2523">
                  <c:v>6.8181892999999993E-2</c:v>
                </c:pt>
                <c:pt idx="2524">
                  <c:v>0.37353520000000001</c:v>
                </c:pt>
                <c:pt idx="2525">
                  <c:v>1.5082311479999999</c:v>
                </c:pt>
                <c:pt idx="2526">
                  <c:v>3.823242</c:v>
                </c:pt>
                <c:pt idx="2527">
                  <c:v>3.3370169390000002</c:v>
                </c:pt>
                <c:pt idx="2528">
                  <c:v>-0.103356749</c:v>
                </c:pt>
                <c:pt idx="2529">
                  <c:v>-0.5932617</c:v>
                </c:pt>
                <c:pt idx="2530">
                  <c:v>-0.65917970000000004</c:v>
                </c:pt>
                <c:pt idx="2531">
                  <c:v>3.9990230000000002</c:v>
                </c:pt>
                <c:pt idx="2532">
                  <c:v>-1.3403320000000001</c:v>
                </c:pt>
                <c:pt idx="2533">
                  <c:v>-1.265238912</c:v>
                </c:pt>
                <c:pt idx="2534">
                  <c:v>-0.8129883</c:v>
                </c:pt>
                <c:pt idx="2535">
                  <c:v>-2.0214840000000001</c:v>
                </c:pt>
                <c:pt idx="2536">
                  <c:v>-1.8955064939999999</c:v>
                </c:pt>
                <c:pt idx="2537">
                  <c:v>-1.5234131909999999</c:v>
                </c:pt>
                <c:pt idx="2538">
                  <c:v>-1.2763034870000001</c:v>
                </c:pt>
                <c:pt idx="2539">
                  <c:v>-0.90222236899999997</c:v>
                </c:pt>
                <c:pt idx="2540">
                  <c:v>-0.77916447099999997</c:v>
                </c:pt>
                <c:pt idx="2541">
                  <c:v>-0.65511266499999998</c:v>
                </c:pt>
                <c:pt idx="2542">
                  <c:v>-0.528141266</c:v>
                </c:pt>
                <c:pt idx="2543">
                  <c:v>-0.40315766800000002</c:v>
                </c:pt>
                <c:pt idx="2544">
                  <c:v>-0.28103154699999999</c:v>
                </c:pt>
                <c:pt idx="2545">
                  <c:v>-3.1996156999999997E-2</c:v>
                </c:pt>
                <c:pt idx="2546">
                  <c:v>0.46321717400000001</c:v>
                </c:pt>
                <c:pt idx="2547">
                  <c:v>0.58720686499999997</c:v>
                </c:pt>
                <c:pt idx="2548">
                  <c:v>0.71125867099999995</c:v>
                </c:pt>
                <c:pt idx="2549">
                  <c:v>1.335369085</c:v>
                </c:pt>
                <c:pt idx="2550">
                  <c:v>1.4584269839999999</c:v>
                </c:pt>
                <c:pt idx="2551">
                  <c:v>1.705536688</c:v>
                </c:pt>
                <c:pt idx="2552">
                  <c:v>1.8315141939999999</c:v>
                </c:pt>
                <c:pt idx="2553">
                  <c:v>1.9536403149999999</c:v>
                </c:pt>
                <c:pt idx="2554">
                  <c:v>1.9555659999999999</c:v>
                </c:pt>
                <c:pt idx="2555">
                  <c:v>-0.45112090399999999</c:v>
                </c:pt>
                <c:pt idx="2556">
                  <c:v>-1.0546880000000001</c:v>
                </c:pt>
                <c:pt idx="2557">
                  <c:v>0.558531479</c:v>
                </c:pt>
                <c:pt idx="2558">
                  <c:v>2.4973401000000002</c:v>
                </c:pt>
                <c:pt idx="2559">
                  <c:v>2.8203399810000001</c:v>
                </c:pt>
                <c:pt idx="2560">
                  <c:v>3.1435017520000001</c:v>
                </c:pt>
                <c:pt idx="2561">
                  <c:v>3.4716800000000001</c:v>
                </c:pt>
                <c:pt idx="2562">
                  <c:v>-0.90849517599999996</c:v>
                </c:pt>
                <c:pt idx="2563">
                  <c:v>-1.582031</c:v>
                </c:pt>
                <c:pt idx="2564">
                  <c:v>2.1752929999999999</c:v>
                </c:pt>
                <c:pt idx="2565">
                  <c:v>-0.26367190000000001</c:v>
                </c:pt>
                <c:pt idx="2566">
                  <c:v>-0.73972923999999995</c:v>
                </c:pt>
                <c:pt idx="2567">
                  <c:v>-0.94427927700000003</c:v>
                </c:pt>
                <c:pt idx="2568">
                  <c:v>-0.9448242</c:v>
                </c:pt>
                <c:pt idx="2569">
                  <c:v>-1.073069295</c:v>
                </c:pt>
                <c:pt idx="2570">
                  <c:v>-1.2642053639999999</c:v>
                </c:pt>
                <c:pt idx="2571">
                  <c:v>-1.328056007</c:v>
                </c:pt>
                <c:pt idx="2572">
                  <c:v>-1.4568129320000001</c:v>
                </c:pt>
                <c:pt idx="2573">
                  <c:v>-1.5845781919999999</c:v>
                </c:pt>
                <c:pt idx="2574">
                  <c:v>-1.6479490000000001</c:v>
                </c:pt>
                <c:pt idx="2575">
                  <c:v>-3.0342826999999999E-2</c:v>
                </c:pt>
                <c:pt idx="2576">
                  <c:v>1.6123738270000001</c:v>
                </c:pt>
                <c:pt idx="2577">
                  <c:v>3.2170196839999998</c:v>
                </c:pt>
                <c:pt idx="2578">
                  <c:v>3.2299799999999999</c:v>
                </c:pt>
                <c:pt idx="2579">
                  <c:v>2.9523165929999999</c:v>
                </c:pt>
                <c:pt idx="2580">
                  <c:v>2.6703081059999998</c:v>
                </c:pt>
                <c:pt idx="2581">
                  <c:v>2.1104960579999998</c:v>
                </c:pt>
                <c:pt idx="2582">
                  <c:v>1.550684011</c:v>
                </c:pt>
                <c:pt idx="2583">
                  <c:v>-1.2524409999999999</c:v>
                </c:pt>
                <c:pt idx="2584">
                  <c:v>-5.5371090000000001</c:v>
                </c:pt>
                <c:pt idx="2585">
                  <c:v>1.1206050000000001</c:v>
                </c:pt>
                <c:pt idx="2586">
                  <c:v>-0.1757813</c:v>
                </c:pt>
                <c:pt idx="2587">
                  <c:v>3.3618160000000001</c:v>
                </c:pt>
                <c:pt idx="2588">
                  <c:v>-1.6699219999999999</c:v>
                </c:pt>
                <c:pt idx="2589">
                  <c:v>-1.406718205</c:v>
                </c:pt>
                <c:pt idx="2590">
                  <c:v>-1.0547619420000001</c:v>
                </c:pt>
                <c:pt idx="2591">
                  <c:v>-1.011242478</c:v>
                </c:pt>
                <c:pt idx="2592">
                  <c:v>-0.96737151200000004</c:v>
                </c:pt>
                <c:pt idx="2593">
                  <c:v>-0.92281953299999997</c:v>
                </c:pt>
                <c:pt idx="2594">
                  <c:v>-0.87723503300000005</c:v>
                </c:pt>
                <c:pt idx="2595">
                  <c:v>-0.83542910800000003</c:v>
                </c:pt>
                <c:pt idx="2596">
                  <c:v>-0.79155814800000002</c:v>
                </c:pt>
                <c:pt idx="2597">
                  <c:v>-0.70383819400000003</c:v>
                </c:pt>
                <c:pt idx="2598">
                  <c:v>-0.52734380000000003</c:v>
                </c:pt>
                <c:pt idx="2599">
                  <c:v>-0.58636763300000005</c:v>
                </c:pt>
                <c:pt idx="2600">
                  <c:v>-0.70672702899999995</c:v>
                </c:pt>
                <c:pt idx="2601">
                  <c:v>-0.76668155699999996</c:v>
                </c:pt>
                <c:pt idx="2602">
                  <c:v>-0.88752131000000001</c:v>
                </c:pt>
                <c:pt idx="2603">
                  <c:v>-1.066904539</c:v>
                </c:pt>
                <c:pt idx="2604">
                  <c:v>-1.2476688010000001</c:v>
                </c:pt>
                <c:pt idx="2605">
                  <c:v>-1.3680582160000001</c:v>
                </c:pt>
                <c:pt idx="2606">
                  <c:v>-1.3685085459999999</c:v>
                </c:pt>
                <c:pt idx="2607">
                  <c:v>-1.487937246</c:v>
                </c:pt>
                <c:pt idx="2608">
                  <c:v>-1.7272750109999999</c:v>
                </c:pt>
                <c:pt idx="2609">
                  <c:v>-1.788160228</c:v>
                </c:pt>
                <c:pt idx="2610">
                  <c:v>-2.093517023</c:v>
                </c:pt>
                <c:pt idx="2611">
                  <c:v>-2.1483077179999999</c:v>
                </c:pt>
                <c:pt idx="2612">
                  <c:v>-2.2078119169999999</c:v>
                </c:pt>
                <c:pt idx="2613">
                  <c:v>-2.3291019999999998</c:v>
                </c:pt>
                <c:pt idx="2614">
                  <c:v>-1.038967285</c:v>
                </c:pt>
                <c:pt idx="2615">
                  <c:v>0.25116743000000002</c:v>
                </c:pt>
                <c:pt idx="2616">
                  <c:v>1.5621423249999999</c:v>
                </c:pt>
                <c:pt idx="2617">
                  <c:v>2.8522771950000001</c:v>
                </c:pt>
                <c:pt idx="2618">
                  <c:v>4.1528320000000001</c:v>
                </c:pt>
                <c:pt idx="2619">
                  <c:v>3.9321306960000002</c:v>
                </c:pt>
                <c:pt idx="2620">
                  <c:v>3.7165442569999998</c:v>
                </c:pt>
                <c:pt idx="2621">
                  <c:v>3.280256488</c:v>
                </c:pt>
                <c:pt idx="2622">
                  <c:v>3.0645612039999999</c:v>
                </c:pt>
                <c:pt idx="2623">
                  <c:v>2.6181525240000001</c:v>
                </c:pt>
                <c:pt idx="2624">
                  <c:v>0.88649604000000004</c:v>
                </c:pt>
                <c:pt idx="2625">
                  <c:v>0.45184068799999999</c:v>
                </c:pt>
                <c:pt idx="2626">
                  <c:v>-0.201474756</c:v>
                </c:pt>
                <c:pt idx="2627">
                  <c:v>-0.42933218899999998</c:v>
                </c:pt>
                <c:pt idx="2628">
                  <c:v>-0.43945309999999999</c:v>
                </c:pt>
                <c:pt idx="2629">
                  <c:v>8.7890629999999997E-2</c:v>
                </c:pt>
                <c:pt idx="2630">
                  <c:v>-0.95744485400000001</c:v>
                </c:pt>
                <c:pt idx="2631">
                  <c:v>-2.019207465</c:v>
                </c:pt>
                <c:pt idx="2632">
                  <c:v>-2.0434570000000001</c:v>
                </c:pt>
                <c:pt idx="2633">
                  <c:v>-1.7195706559999999</c:v>
                </c:pt>
                <c:pt idx="2634">
                  <c:v>-1.3879687570000001</c:v>
                </c:pt>
                <c:pt idx="2635">
                  <c:v>-1.1645509999999999</c:v>
                </c:pt>
                <c:pt idx="2636">
                  <c:v>2.7320802780000002</c:v>
                </c:pt>
                <c:pt idx="2637">
                  <c:v>6.3940429999999999</c:v>
                </c:pt>
                <c:pt idx="2638">
                  <c:v>4.1864460880000003</c:v>
                </c:pt>
                <c:pt idx="2639">
                  <c:v>1.979954553</c:v>
                </c:pt>
                <c:pt idx="2640">
                  <c:v>-0.21106065700000001</c:v>
                </c:pt>
                <c:pt idx="2641">
                  <c:v>-2.504883</c:v>
                </c:pt>
                <c:pt idx="2642">
                  <c:v>-2.5241033929999999</c:v>
                </c:pt>
                <c:pt idx="2643">
                  <c:v>-2.543480287</c:v>
                </c:pt>
                <c:pt idx="2644">
                  <c:v>-2.5828503020000002</c:v>
                </c:pt>
                <c:pt idx="2645">
                  <c:v>-2.6216138689999999</c:v>
                </c:pt>
                <c:pt idx="2646">
                  <c:v>-2.6411374840000001</c:v>
                </c:pt>
                <c:pt idx="2647">
                  <c:v>-2.6802042749999999</c:v>
                </c:pt>
                <c:pt idx="2648">
                  <c:v>-2.699884392</c:v>
                </c:pt>
                <c:pt idx="2649">
                  <c:v>-2.7195742900000002</c:v>
                </c:pt>
                <c:pt idx="2650">
                  <c:v>-2.7584845790000001</c:v>
                </c:pt>
                <c:pt idx="2651">
                  <c:v>-2.778017975</c:v>
                </c:pt>
                <c:pt idx="2652">
                  <c:v>-2.798617541</c:v>
                </c:pt>
                <c:pt idx="2653">
                  <c:v>-2.8172314869999999</c:v>
                </c:pt>
                <c:pt idx="2654">
                  <c:v>-2.8564449999999999</c:v>
                </c:pt>
                <c:pt idx="2655">
                  <c:v>-1.0989236959999999</c:v>
                </c:pt>
                <c:pt idx="2656">
                  <c:v>0.65772437699999997</c:v>
                </c:pt>
                <c:pt idx="2657">
                  <c:v>2.3742107180000001</c:v>
                </c:pt>
                <c:pt idx="2658">
                  <c:v>4.1168896019999996</c:v>
                </c:pt>
                <c:pt idx="2659">
                  <c:v>4.1308590000000001</c:v>
                </c:pt>
                <c:pt idx="2660">
                  <c:v>3.5849787310000001</c:v>
                </c:pt>
                <c:pt idx="2661">
                  <c:v>1.4392763040000001</c:v>
                </c:pt>
                <c:pt idx="2662">
                  <c:v>-1.2524409999999999</c:v>
                </c:pt>
                <c:pt idx="2663">
                  <c:v>-2.3950200000000001</c:v>
                </c:pt>
                <c:pt idx="2664">
                  <c:v>-1.5404666629999999</c:v>
                </c:pt>
                <c:pt idx="2665">
                  <c:v>-0.75057112199999998</c:v>
                </c:pt>
                <c:pt idx="2666">
                  <c:v>7.1859219000000002E-2</c:v>
                </c:pt>
                <c:pt idx="2667">
                  <c:v>0.90087890000000004</c:v>
                </c:pt>
                <c:pt idx="2668">
                  <c:v>0.52463163999999995</c:v>
                </c:pt>
                <c:pt idx="2669">
                  <c:v>0.34235207200000001</c:v>
                </c:pt>
                <c:pt idx="2670">
                  <c:v>-0.39863981399999998</c:v>
                </c:pt>
                <c:pt idx="2671">
                  <c:v>-0.76765154300000005</c:v>
                </c:pt>
                <c:pt idx="2672">
                  <c:v>-0.76904300000000003</c:v>
                </c:pt>
                <c:pt idx="2673">
                  <c:v>0.41375878399999999</c:v>
                </c:pt>
                <c:pt idx="2674">
                  <c:v>5.2016880270000003</c:v>
                </c:pt>
                <c:pt idx="2675">
                  <c:v>6.3940429999999999</c:v>
                </c:pt>
                <c:pt idx="2676">
                  <c:v>5.74307108</c:v>
                </c:pt>
                <c:pt idx="2677">
                  <c:v>4.5089236149999996</c:v>
                </c:pt>
                <c:pt idx="2678">
                  <c:v>-2.3950200000000001</c:v>
                </c:pt>
                <c:pt idx="2679">
                  <c:v>-4.0209152030000004</c:v>
                </c:pt>
                <c:pt idx="2680">
                  <c:v>-5.646973</c:v>
                </c:pt>
                <c:pt idx="2681">
                  <c:v>-4.2223173479999998</c:v>
                </c:pt>
                <c:pt idx="2682">
                  <c:v>-2.7420166080000001</c:v>
                </c:pt>
                <c:pt idx="2683">
                  <c:v>-1.3623050000000001</c:v>
                </c:pt>
                <c:pt idx="2684">
                  <c:v>-3.1169318260000001</c:v>
                </c:pt>
                <c:pt idx="2685">
                  <c:v>-4.899902</c:v>
                </c:pt>
                <c:pt idx="2686">
                  <c:v>-4.2836568909999997</c:v>
                </c:pt>
                <c:pt idx="2687">
                  <c:v>-3.6677203459999999</c:v>
                </c:pt>
                <c:pt idx="2688">
                  <c:v>-3.0465378599999999</c:v>
                </c:pt>
                <c:pt idx="2689">
                  <c:v>4.3945310000000001E-2</c:v>
                </c:pt>
                <c:pt idx="2690">
                  <c:v>-0.48339840000000001</c:v>
                </c:pt>
                <c:pt idx="2691">
                  <c:v>3.9744945089999999</c:v>
                </c:pt>
                <c:pt idx="2692">
                  <c:v>4.7241210000000002</c:v>
                </c:pt>
                <c:pt idx="2693">
                  <c:v>3.3635324190000002</c:v>
                </c:pt>
                <c:pt idx="2694">
                  <c:v>2.0032831940000002</c:v>
                </c:pt>
                <c:pt idx="2695">
                  <c:v>0.62708686300000005</c:v>
                </c:pt>
                <c:pt idx="2696">
                  <c:v>-3.9974798999999998E-2</c:v>
                </c:pt>
                <c:pt idx="2697">
                  <c:v>-1.384277</c:v>
                </c:pt>
                <c:pt idx="2698">
                  <c:v>0.71799042599999996</c:v>
                </c:pt>
                <c:pt idx="2699">
                  <c:v>2.9023690110000002</c:v>
                </c:pt>
                <c:pt idx="2700">
                  <c:v>4.9877929999999999</c:v>
                </c:pt>
                <c:pt idx="2701">
                  <c:v>-1.8237300000000001</c:v>
                </c:pt>
                <c:pt idx="2702">
                  <c:v>3.6914060000000002</c:v>
                </c:pt>
                <c:pt idx="2703">
                  <c:v>2.2631839999999999</c:v>
                </c:pt>
                <c:pt idx="2704">
                  <c:v>-0.96679689999999996</c:v>
                </c:pt>
                <c:pt idx="2705">
                  <c:v>2.1673092920000001</c:v>
                </c:pt>
                <c:pt idx="2706">
                  <c:v>2.4092082440000002</c:v>
                </c:pt>
                <c:pt idx="2707">
                  <c:v>2.880021481</c:v>
                </c:pt>
                <c:pt idx="2708">
                  <c:v>3.120117</c:v>
                </c:pt>
                <c:pt idx="2709">
                  <c:v>-4.899902</c:v>
                </c:pt>
                <c:pt idx="2710">
                  <c:v>-3.9940233749999998</c:v>
                </c:pt>
                <c:pt idx="2711">
                  <c:v>-3.52149994</c:v>
                </c:pt>
                <c:pt idx="2712">
                  <c:v>-2.1645037280000001</c:v>
                </c:pt>
                <c:pt idx="2713">
                  <c:v>-1.7063268330000001</c:v>
                </c:pt>
                <c:pt idx="2714">
                  <c:v>-0.78610166800000003</c:v>
                </c:pt>
                <c:pt idx="2715">
                  <c:v>-0.327924773</c:v>
                </c:pt>
                <c:pt idx="2716">
                  <c:v>0.58524097500000005</c:v>
                </c:pt>
                <c:pt idx="2717">
                  <c:v>1.032715</c:v>
                </c:pt>
                <c:pt idx="2718">
                  <c:v>1.091694063</c:v>
                </c:pt>
                <c:pt idx="2719">
                  <c:v>1.4534582949999999</c:v>
                </c:pt>
                <c:pt idx="2720">
                  <c:v>1.5114773720000001</c:v>
                </c:pt>
                <c:pt idx="2721">
                  <c:v>1.6331554340000001</c:v>
                </c:pt>
                <c:pt idx="2722">
                  <c:v>1.7510835549999999</c:v>
                </c:pt>
                <c:pt idx="2723">
                  <c:v>1.8109926080000001</c:v>
                </c:pt>
                <c:pt idx="2724">
                  <c:v>1.8727616170000001</c:v>
                </c:pt>
                <c:pt idx="2725">
                  <c:v>1.9317406800000001</c:v>
                </c:pt>
                <c:pt idx="2726">
                  <c:v>1.990719744</c:v>
                </c:pt>
                <c:pt idx="2727">
                  <c:v>2.0534187419999999</c:v>
                </c:pt>
                <c:pt idx="2728">
                  <c:v>2.11098783</c:v>
                </c:pt>
                <c:pt idx="2729">
                  <c:v>2.1736868290000002</c:v>
                </c:pt>
                <c:pt idx="2730">
                  <c:v>2.232665892</c:v>
                </c:pt>
                <c:pt idx="2731">
                  <c:v>2.2916149510000001</c:v>
                </c:pt>
                <c:pt idx="2732">
                  <c:v>2.3510740000000001</c:v>
                </c:pt>
                <c:pt idx="2733">
                  <c:v>1.3039421259999999</c:v>
                </c:pt>
                <c:pt idx="2734">
                  <c:v>-0.27475891699999999</c:v>
                </c:pt>
                <c:pt idx="2735">
                  <c:v>-2.8564449999999999</c:v>
                </c:pt>
                <c:pt idx="2736">
                  <c:v>2.6147459999999998</c:v>
                </c:pt>
                <c:pt idx="2737">
                  <c:v>2.379156338</c:v>
                </c:pt>
                <c:pt idx="2738">
                  <c:v>2.1972659999999999</c:v>
                </c:pt>
                <c:pt idx="2739">
                  <c:v>-0.90087890000000004</c:v>
                </c:pt>
                <c:pt idx="2740">
                  <c:v>1.3403320000000001</c:v>
                </c:pt>
                <c:pt idx="2741">
                  <c:v>1.2514917670000001</c:v>
                </c:pt>
                <c:pt idx="2742">
                  <c:v>-0.28936176400000002</c:v>
                </c:pt>
                <c:pt idx="2743">
                  <c:v>-0.37353520000000001</c:v>
                </c:pt>
                <c:pt idx="2744">
                  <c:v>-0.36353517099999999</c:v>
                </c:pt>
                <c:pt idx="2745">
                  <c:v>-0.34273104199999999</c:v>
                </c:pt>
                <c:pt idx="2746">
                  <c:v>-0.33273101300000002</c:v>
                </c:pt>
                <c:pt idx="2747">
                  <c:v>-0.312720779</c:v>
                </c:pt>
                <c:pt idx="2748">
                  <c:v>-0.30216604200000002</c:v>
                </c:pt>
                <c:pt idx="2749">
                  <c:v>-0.27191659299999998</c:v>
                </c:pt>
                <c:pt idx="2750">
                  <c:v>-0.231030982</c:v>
                </c:pt>
                <c:pt idx="2751">
                  <c:v>-0.21047112800000001</c:v>
                </c:pt>
                <c:pt idx="2752">
                  <c:v>-0.200705196</c:v>
                </c:pt>
                <c:pt idx="2753">
                  <c:v>-0.19014537100000001</c:v>
                </c:pt>
                <c:pt idx="2754">
                  <c:v>-0.17014022600000001</c:v>
                </c:pt>
                <c:pt idx="2755">
                  <c:v>-0.149417521</c:v>
                </c:pt>
                <c:pt idx="2756">
                  <c:v>-0.129412376</c:v>
                </c:pt>
                <c:pt idx="2757">
                  <c:v>-0.119249498</c:v>
                </c:pt>
                <c:pt idx="2758">
                  <c:v>-9.8847404E-2</c:v>
                </c:pt>
                <c:pt idx="2759">
                  <c:v>-8.8287578000000005E-2</c:v>
                </c:pt>
                <c:pt idx="2760">
                  <c:v>-8.7890629999999997E-2</c:v>
                </c:pt>
                <c:pt idx="2761">
                  <c:v>-5.6909179999999999</c:v>
                </c:pt>
                <c:pt idx="2762">
                  <c:v>-4.9284071779999996</c:v>
                </c:pt>
                <c:pt idx="2763">
                  <c:v>-4.1480554009999997</c:v>
                </c:pt>
                <c:pt idx="2764">
                  <c:v>-3.3432690699999998</c:v>
                </c:pt>
                <c:pt idx="2765">
                  <c:v>-1.8186353390000001</c:v>
                </c:pt>
                <c:pt idx="2766">
                  <c:v>-0.26956714700000001</c:v>
                </c:pt>
                <c:pt idx="2767">
                  <c:v>0.53521918400000001</c:v>
                </c:pt>
                <c:pt idx="2768">
                  <c:v>0.57128909999999999</c:v>
                </c:pt>
                <c:pt idx="2769">
                  <c:v>-3.4057620000000002</c:v>
                </c:pt>
                <c:pt idx="2770">
                  <c:v>-2.37165866</c:v>
                </c:pt>
                <c:pt idx="2771">
                  <c:v>-2.351698222</c:v>
                </c:pt>
                <c:pt idx="2772">
                  <c:v>2.2192379999999998</c:v>
                </c:pt>
                <c:pt idx="2773">
                  <c:v>6.350098</c:v>
                </c:pt>
                <c:pt idx="2774">
                  <c:v>5.126948949</c:v>
                </c:pt>
                <c:pt idx="2775">
                  <c:v>3.9763696830000002</c:v>
                </c:pt>
                <c:pt idx="2776">
                  <c:v>2.8263754740000002</c:v>
                </c:pt>
                <c:pt idx="2777">
                  <c:v>0.4614258</c:v>
                </c:pt>
                <c:pt idx="2778">
                  <c:v>0.49205182200000003</c:v>
                </c:pt>
                <c:pt idx="2779">
                  <c:v>0.50695547600000002</c:v>
                </c:pt>
                <c:pt idx="2780">
                  <c:v>0.521851548</c:v>
                </c:pt>
                <c:pt idx="2781">
                  <c:v>0.53675520300000001</c:v>
                </c:pt>
                <c:pt idx="2782">
                  <c:v>0.58228487900000003</c:v>
                </c:pt>
                <c:pt idx="2783">
                  <c:v>0.90087890000000004</c:v>
                </c:pt>
                <c:pt idx="2784">
                  <c:v>9.1845700000000008</c:v>
                </c:pt>
                <c:pt idx="2785">
                  <c:v>-1.428223</c:v>
                </c:pt>
                <c:pt idx="2786">
                  <c:v>1.010742</c:v>
                </c:pt>
                <c:pt idx="2787">
                  <c:v>6.1523440000000003</c:v>
                </c:pt>
                <c:pt idx="2788">
                  <c:v>-3.537598</c:v>
                </c:pt>
                <c:pt idx="2789">
                  <c:v>-2.4504591119999999</c:v>
                </c:pt>
                <c:pt idx="2790">
                  <c:v>2.3730470000000001</c:v>
                </c:pt>
                <c:pt idx="2791">
                  <c:v>-0.30979415999999999</c:v>
                </c:pt>
                <c:pt idx="2792">
                  <c:v>-0.74776359800000003</c:v>
                </c:pt>
                <c:pt idx="2793">
                  <c:v>-1.197762693</c:v>
                </c:pt>
                <c:pt idx="2794">
                  <c:v>-1.4167474120000001</c:v>
                </c:pt>
                <c:pt idx="2795">
                  <c:v>-1.6356207270000001</c:v>
                </c:pt>
                <c:pt idx="2796">
                  <c:v>-1.866746507</c:v>
                </c:pt>
                <c:pt idx="2797">
                  <c:v>-2.087402</c:v>
                </c:pt>
                <c:pt idx="2798">
                  <c:v>-1.5057729479999999</c:v>
                </c:pt>
                <c:pt idx="2799">
                  <c:v>-0.30045865300000002</c:v>
                </c:pt>
                <c:pt idx="2800">
                  <c:v>0.28564450000000002</c:v>
                </c:pt>
                <c:pt idx="2801">
                  <c:v>-1.749964485</c:v>
                </c:pt>
                <c:pt idx="2802">
                  <c:v>-3.7247506480000001</c:v>
                </c:pt>
                <c:pt idx="2803">
                  <c:v>-3.8012700000000001</c:v>
                </c:pt>
                <c:pt idx="2804">
                  <c:v>-3.156707838</c:v>
                </c:pt>
                <c:pt idx="2805">
                  <c:v>-2.4851609109999999</c:v>
                </c:pt>
                <c:pt idx="2806">
                  <c:v>-1.8139554579999999</c:v>
                </c:pt>
                <c:pt idx="2807">
                  <c:v>-1.1263541960000001</c:v>
                </c:pt>
                <c:pt idx="2808">
                  <c:v>0.23791773499999999</c:v>
                </c:pt>
                <c:pt idx="2809">
                  <c:v>0.94635535400000004</c:v>
                </c:pt>
                <c:pt idx="2810">
                  <c:v>3.6694339999999999</c:v>
                </c:pt>
                <c:pt idx="2811">
                  <c:v>8.1738280000000003</c:v>
                </c:pt>
                <c:pt idx="2812">
                  <c:v>6.0817161469999999</c:v>
                </c:pt>
                <c:pt idx="2813">
                  <c:v>3.9896044169999998</c:v>
                </c:pt>
                <c:pt idx="2814">
                  <c:v>2.9715124949999998</c:v>
                </c:pt>
                <c:pt idx="2815">
                  <c:v>-1.1645509999999999</c:v>
                </c:pt>
                <c:pt idx="2816">
                  <c:v>-4.4019676000000001E-2</c:v>
                </c:pt>
                <c:pt idx="2817">
                  <c:v>0</c:v>
                </c:pt>
                <c:pt idx="2818">
                  <c:v>0.48909106699999999</c:v>
                </c:pt>
                <c:pt idx="2819">
                  <c:v>1.4941409999999999</c:v>
                </c:pt>
                <c:pt idx="2820">
                  <c:v>1.5989569109999999</c:v>
                </c:pt>
                <c:pt idx="2821">
                  <c:v>1.8676759999999999</c:v>
                </c:pt>
                <c:pt idx="2822">
                  <c:v>6.7016600000000004</c:v>
                </c:pt>
                <c:pt idx="2823">
                  <c:v>-0.30761719999999998</c:v>
                </c:pt>
                <c:pt idx="2824">
                  <c:v>-0.37084422900000003</c:v>
                </c:pt>
                <c:pt idx="2825">
                  <c:v>-0.40485781199999998</c:v>
                </c:pt>
                <c:pt idx="2826">
                  <c:v>-0.41959760099999999</c:v>
                </c:pt>
                <c:pt idx="2827">
                  <c:v>-0.42927356300000002</c:v>
                </c:pt>
                <c:pt idx="2828">
                  <c:v>-0.434261701</c:v>
                </c:pt>
                <c:pt idx="2829">
                  <c:v>-0.48339840000000001</c:v>
                </c:pt>
                <c:pt idx="2830">
                  <c:v>-6.9213870000000002</c:v>
                </c:pt>
                <c:pt idx="2831">
                  <c:v>-0.32958979999999999</c:v>
                </c:pt>
                <c:pt idx="2832">
                  <c:v>-4.3286129999999998</c:v>
                </c:pt>
                <c:pt idx="2833">
                  <c:v>-2.4431431720000001</c:v>
                </c:pt>
                <c:pt idx="2834">
                  <c:v>-0.21972659999999999</c:v>
                </c:pt>
                <c:pt idx="2835">
                  <c:v>-0.12356829900000001</c:v>
                </c:pt>
                <c:pt idx="2836">
                  <c:v>-9.0627583999999997E-2</c:v>
                </c:pt>
                <c:pt idx="2837">
                  <c:v>-7.4660756999999994E-2</c:v>
                </c:pt>
                <c:pt idx="2838">
                  <c:v>-4.1849984999999999E-2</c:v>
                </c:pt>
                <c:pt idx="2839">
                  <c:v>-9.9163319999999999E-3</c:v>
                </c:pt>
                <c:pt idx="2840">
                  <c:v>6.9357339999999998E-3</c:v>
                </c:pt>
                <c:pt idx="2841">
                  <c:v>3.8861264999999999E-2</c:v>
                </c:pt>
                <c:pt idx="2842">
                  <c:v>5.4949915000000002E-2</c:v>
                </c:pt>
                <c:pt idx="2843">
                  <c:v>8.7760686000000004E-2</c:v>
                </c:pt>
                <c:pt idx="2844">
                  <c:v>8.7890629999999997E-2</c:v>
                </c:pt>
                <c:pt idx="2845">
                  <c:v>1.38974285</c:v>
                </c:pt>
                <c:pt idx="2846">
                  <c:v>2.7329874809999999</c:v>
                </c:pt>
                <c:pt idx="2847">
                  <c:v>4.0869140000000002</c:v>
                </c:pt>
                <c:pt idx="2848">
                  <c:v>3.5315304730000001</c:v>
                </c:pt>
                <c:pt idx="2849">
                  <c:v>2.9453550220000002</c:v>
                </c:pt>
                <c:pt idx="2850">
                  <c:v>2.9190830810000001</c:v>
                </c:pt>
                <c:pt idx="2851">
                  <c:v>-2.131348</c:v>
                </c:pt>
                <c:pt idx="2852">
                  <c:v>1.296387</c:v>
                </c:pt>
                <c:pt idx="2853">
                  <c:v>0</c:v>
                </c:pt>
                <c:pt idx="2854">
                  <c:v>0.55479758300000004</c:v>
                </c:pt>
                <c:pt idx="2855">
                  <c:v>1.536953107</c:v>
                </c:pt>
                <c:pt idx="2856">
                  <c:v>2.5708009999999999</c:v>
                </c:pt>
                <c:pt idx="2857">
                  <c:v>-1.010742</c:v>
                </c:pt>
                <c:pt idx="2858">
                  <c:v>0.19775390000000001</c:v>
                </c:pt>
                <c:pt idx="2859">
                  <c:v>3.479445471</c:v>
                </c:pt>
                <c:pt idx="2860">
                  <c:v>4.4165039999999998</c:v>
                </c:pt>
                <c:pt idx="2861">
                  <c:v>2.7294356030000002</c:v>
                </c:pt>
                <c:pt idx="2862">
                  <c:v>2.3141637099999999</c:v>
                </c:pt>
                <c:pt idx="2863">
                  <c:v>-1.07666</c:v>
                </c:pt>
                <c:pt idx="2864">
                  <c:v>-3.3595862999999997E-2</c:v>
                </c:pt>
                <c:pt idx="2865">
                  <c:v>6.9024573000000006E-2</c:v>
                </c:pt>
                <c:pt idx="2866">
                  <c:v>0.17733452999999999</c:v>
                </c:pt>
                <c:pt idx="2867">
                  <c:v>0.28235605499999999</c:v>
                </c:pt>
                <c:pt idx="2868">
                  <c:v>0.28564450000000002</c:v>
                </c:pt>
                <c:pt idx="2869">
                  <c:v>4.7680660000000001</c:v>
                </c:pt>
                <c:pt idx="2870">
                  <c:v>3.7904409910000001</c:v>
                </c:pt>
                <c:pt idx="2871">
                  <c:v>2.8123183799999998</c:v>
                </c:pt>
                <c:pt idx="2872">
                  <c:v>1.811310006</c:v>
                </c:pt>
                <c:pt idx="2873">
                  <c:v>-0.1757813</c:v>
                </c:pt>
                <c:pt idx="2874">
                  <c:v>0.18405355300000001</c:v>
                </c:pt>
                <c:pt idx="2875">
                  <c:v>0.42610030399999999</c:v>
                </c:pt>
                <c:pt idx="2876">
                  <c:v>0.54388840699999996</c:v>
                </c:pt>
                <c:pt idx="2877">
                  <c:v>0.66820697699999998</c:v>
                </c:pt>
                <c:pt idx="2878">
                  <c:v>0.90372326000000003</c:v>
                </c:pt>
                <c:pt idx="2879">
                  <c:v>1.02804183</c:v>
                </c:pt>
                <c:pt idx="2880">
                  <c:v>1.032715</c:v>
                </c:pt>
                <c:pt idx="2881">
                  <c:v>0.74498332899999997</c:v>
                </c:pt>
                <c:pt idx="2882">
                  <c:v>0.29647142900000001</c:v>
                </c:pt>
                <c:pt idx="2883">
                  <c:v>-5.2995550000000001E-3</c:v>
                </c:pt>
                <c:pt idx="2884">
                  <c:v>-1.3473254109999999</c:v>
                </c:pt>
                <c:pt idx="2885">
                  <c:v>-1.4941409999999999</c:v>
                </c:pt>
                <c:pt idx="2886">
                  <c:v>-1.0729068349999999</c:v>
                </c:pt>
                <c:pt idx="2887">
                  <c:v>-0.44668593499999998</c:v>
                </c:pt>
                <c:pt idx="2888">
                  <c:v>-0.2416992</c:v>
                </c:pt>
                <c:pt idx="2889">
                  <c:v>-0.27506227100000002</c:v>
                </c:pt>
                <c:pt idx="2890">
                  <c:v>-0.37167684099999998</c:v>
                </c:pt>
                <c:pt idx="2891">
                  <c:v>-0.40330259000000002</c:v>
                </c:pt>
                <c:pt idx="2892">
                  <c:v>-0.434928335</c:v>
                </c:pt>
                <c:pt idx="2893">
                  <c:v>-0.79101560000000004</c:v>
                </c:pt>
                <c:pt idx="2894">
                  <c:v>-0.88374910699999998</c:v>
                </c:pt>
                <c:pt idx="2895">
                  <c:v>-0.89910574899999995</c:v>
                </c:pt>
                <c:pt idx="2896">
                  <c:v>-0.91469672700000004</c:v>
                </c:pt>
                <c:pt idx="2897">
                  <c:v>-0.93066263699999996</c:v>
                </c:pt>
                <c:pt idx="2898">
                  <c:v>-0.94601928099999999</c:v>
                </c:pt>
                <c:pt idx="2899">
                  <c:v>-1.0398463440000001</c:v>
                </c:pt>
                <c:pt idx="2900">
                  <c:v>-1.0867598759999999</c:v>
                </c:pt>
                <c:pt idx="2901">
                  <c:v>-1.102108708</c:v>
                </c:pt>
                <c:pt idx="2902">
                  <c:v>-1.1183167629999999</c:v>
                </c:pt>
                <c:pt idx="2903">
                  <c:v>-1.1805869369999999</c:v>
                </c:pt>
                <c:pt idx="2904">
                  <c:v>-1.195935771</c:v>
                </c:pt>
                <c:pt idx="2905">
                  <c:v>-1.2275004679999999</c:v>
                </c:pt>
                <c:pt idx="2906">
                  <c:v>-1.2428493</c:v>
                </c:pt>
                <c:pt idx="2907">
                  <c:v>-1.259057356</c:v>
                </c:pt>
                <c:pt idx="2908">
                  <c:v>-1.2744139999999999</c:v>
                </c:pt>
                <c:pt idx="2909">
                  <c:v>-1.2299586309999999</c:v>
                </c:pt>
                <c:pt idx="2910">
                  <c:v>-1.1399619510000001</c:v>
                </c:pt>
                <c:pt idx="2911">
                  <c:v>-1.048539992</c:v>
                </c:pt>
                <c:pt idx="2912">
                  <c:v>0.17435600900000001</c:v>
                </c:pt>
                <c:pt idx="2913">
                  <c:v>0.1757813</c:v>
                </c:pt>
                <c:pt idx="2914">
                  <c:v>3.8516862409999999</c:v>
                </c:pt>
                <c:pt idx="2915">
                  <c:v>5.0805299149999996</c:v>
                </c:pt>
                <c:pt idx="2916">
                  <c:v>6.328125</c:v>
                </c:pt>
                <c:pt idx="2917">
                  <c:v>4.3019052819999999</c:v>
                </c:pt>
                <c:pt idx="2918">
                  <c:v>0.21972659999999999</c:v>
                </c:pt>
                <c:pt idx="2919">
                  <c:v>-0.19775390000000001</c:v>
                </c:pt>
                <c:pt idx="2920">
                  <c:v>4.3505859999999998</c:v>
                </c:pt>
                <c:pt idx="2921">
                  <c:v>2.7587687160000001</c:v>
                </c:pt>
                <c:pt idx="2922">
                  <c:v>2.3868103970000001</c:v>
                </c:pt>
                <c:pt idx="2923">
                  <c:v>-1.516113</c:v>
                </c:pt>
                <c:pt idx="2924">
                  <c:v>-1.6880383219999999</c:v>
                </c:pt>
                <c:pt idx="2925">
                  <c:v>-2.0416007409999999</c:v>
                </c:pt>
                <c:pt idx="2926">
                  <c:v>-3.618063963</c:v>
                </c:pt>
                <c:pt idx="2927">
                  <c:v>-3.971538894</c:v>
                </c:pt>
                <c:pt idx="2928">
                  <c:v>-3.9770509999999999</c:v>
                </c:pt>
                <c:pt idx="2929">
                  <c:v>-3.3201462140000002</c:v>
                </c:pt>
                <c:pt idx="2930">
                  <c:v>-2.6415551069999998</c:v>
                </c:pt>
                <c:pt idx="2931">
                  <c:v>-1.9577563680000001</c:v>
                </c:pt>
                <c:pt idx="2932">
                  <c:v>-1.2470336769999999</c:v>
                </c:pt>
                <c:pt idx="2933">
                  <c:v>0.1098633</c:v>
                </c:pt>
                <c:pt idx="2934">
                  <c:v>0.17600222300000001</c:v>
                </c:pt>
                <c:pt idx="2935">
                  <c:v>0.33890266000000002</c:v>
                </c:pt>
                <c:pt idx="2936">
                  <c:v>0.40553259200000003</c:v>
                </c:pt>
                <c:pt idx="2937">
                  <c:v>0.46987114600000002</c:v>
                </c:pt>
                <c:pt idx="2938">
                  <c:v>0.50383260699999999</c:v>
                </c:pt>
                <c:pt idx="2939">
                  <c:v>0.50537109999999996</c:v>
                </c:pt>
                <c:pt idx="2940">
                  <c:v>-0.31100867799999998</c:v>
                </c:pt>
                <c:pt idx="2941">
                  <c:v>-1.1403687309999999</c:v>
                </c:pt>
                <c:pt idx="2942">
                  <c:v>-1.4118509130000001</c:v>
                </c:pt>
                <c:pt idx="2943">
                  <c:v>-1.9697288180000001</c:v>
                </c:pt>
                <c:pt idx="2944">
                  <c:v>-2.2412109999999998</c:v>
                </c:pt>
                <c:pt idx="2945">
                  <c:v>-0.58078005499999996</c:v>
                </c:pt>
                <c:pt idx="2946">
                  <c:v>1.170864626</c:v>
                </c:pt>
                <c:pt idx="2947">
                  <c:v>4.4917263140000001</c:v>
                </c:pt>
                <c:pt idx="2948">
                  <c:v>4.5043949999999997</c:v>
                </c:pt>
                <c:pt idx="2949">
                  <c:v>-2.3291019999999998</c:v>
                </c:pt>
                <c:pt idx="2950">
                  <c:v>-2.0064006249999999</c:v>
                </c:pt>
                <c:pt idx="2951">
                  <c:v>-1.844277049</c:v>
                </c:pt>
                <c:pt idx="2952">
                  <c:v>-1.722119953</c:v>
                </c:pt>
                <c:pt idx="2953">
                  <c:v>-1.6399293420000001</c:v>
                </c:pt>
                <c:pt idx="2954">
                  <c:v>-1.599962857</c:v>
                </c:pt>
                <c:pt idx="2955">
                  <c:v>-1.4765243939999999</c:v>
                </c:pt>
                <c:pt idx="2956">
                  <c:v>-1.396571091</c:v>
                </c:pt>
                <c:pt idx="2957">
                  <c:v>-1.314400818</c:v>
                </c:pt>
                <c:pt idx="2958">
                  <c:v>-1.2744139999999999</c:v>
                </c:pt>
                <c:pt idx="2959">
                  <c:v>-1.3954197690000001</c:v>
                </c:pt>
                <c:pt idx="2960">
                  <c:v>-1.437225792</c:v>
                </c:pt>
                <c:pt idx="2961">
                  <c:v>-1.4768357400000001</c:v>
                </c:pt>
                <c:pt idx="2962">
                  <c:v>-1.5582315600000001</c:v>
                </c:pt>
                <c:pt idx="2963">
                  <c:v>-1.597841509</c:v>
                </c:pt>
                <c:pt idx="2964">
                  <c:v>-1.6770412539999999</c:v>
                </c:pt>
                <c:pt idx="2965">
                  <c:v>-1.7188472720000001</c:v>
                </c:pt>
                <c:pt idx="2966">
                  <c:v>-1.7989939530000001</c:v>
                </c:pt>
                <c:pt idx="2967">
                  <c:v>-1.919052787</c:v>
                </c:pt>
                <c:pt idx="2968">
                  <c:v>-2.000448607</c:v>
                </c:pt>
                <c:pt idx="2969">
                  <c:v>-2.121454376</c:v>
                </c:pt>
                <c:pt idx="2970">
                  <c:v>-2.2028703470000002</c:v>
                </c:pt>
                <c:pt idx="2971">
                  <c:v>-2.2412109999999998</c:v>
                </c:pt>
                <c:pt idx="2972">
                  <c:v>-2.1827873229999999</c:v>
                </c:pt>
                <c:pt idx="2973">
                  <c:v>-1.3403320000000001</c:v>
                </c:pt>
                <c:pt idx="2974">
                  <c:v>4.5922850000000004</c:v>
                </c:pt>
                <c:pt idx="2975">
                  <c:v>3.6912798439999999</c:v>
                </c:pt>
                <c:pt idx="2976">
                  <c:v>3.2531519059999998</c:v>
                </c:pt>
                <c:pt idx="2977">
                  <c:v>2.8148009649999999</c:v>
                </c:pt>
                <c:pt idx="2978">
                  <c:v>1.9140188119999999</c:v>
                </c:pt>
                <c:pt idx="2979">
                  <c:v>0.57488571700000002</c:v>
                </c:pt>
                <c:pt idx="2980">
                  <c:v>-0.75042348400000003</c:v>
                </c:pt>
                <c:pt idx="2981">
                  <c:v>-1.230469</c:v>
                </c:pt>
                <c:pt idx="2982">
                  <c:v>-1.1324139900000001</c:v>
                </c:pt>
                <c:pt idx="2983">
                  <c:v>-0.92648289800000005</c:v>
                </c:pt>
                <c:pt idx="2984">
                  <c:v>-0.81865876400000004</c:v>
                </c:pt>
                <c:pt idx="2985">
                  <c:v>-0.61439049300000004</c:v>
                </c:pt>
                <c:pt idx="2986">
                  <c:v>0.21972659999999999</c:v>
                </c:pt>
                <c:pt idx="2987">
                  <c:v>2.3713841100000002</c:v>
                </c:pt>
                <c:pt idx="2988">
                  <c:v>2.9932682709999998</c:v>
                </c:pt>
                <c:pt idx="2989">
                  <c:v>3.2958980000000002</c:v>
                </c:pt>
                <c:pt idx="2990">
                  <c:v>3.0641014819999999</c:v>
                </c:pt>
                <c:pt idx="2991">
                  <c:v>2.8194535850000002</c:v>
                </c:pt>
                <c:pt idx="2992">
                  <c:v>2.5877749890000001</c:v>
                </c:pt>
                <c:pt idx="2993">
                  <c:v>-3.8420189999999999E-3</c:v>
                </c:pt>
                <c:pt idx="2994">
                  <c:v>-1.186523</c:v>
                </c:pt>
                <c:pt idx="2995">
                  <c:v>-0.37355422399999999</c:v>
                </c:pt>
                <c:pt idx="2996">
                  <c:v>0.41748049999999998</c:v>
                </c:pt>
                <c:pt idx="2997">
                  <c:v>-7.604187123</c:v>
                </c:pt>
                <c:pt idx="2998">
                  <c:v>-7.6684570000000001</c:v>
                </c:pt>
                <c:pt idx="2999">
                  <c:v>-5.960083075</c:v>
                </c:pt>
                <c:pt idx="3000">
                  <c:v>-0.90066765100000001</c:v>
                </c:pt>
                <c:pt idx="3001">
                  <c:v>-0.83496090000000001</c:v>
                </c:pt>
                <c:pt idx="3002">
                  <c:v>-0.99124008100000005</c:v>
                </c:pt>
                <c:pt idx="3003">
                  <c:v>-1.1551040560000001</c:v>
                </c:pt>
                <c:pt idx="3004">
                  <c:v>-1.2354541960000001</c:v>
                </c:pt>
                <c:pt idx="3005">
                  <c:v>-1.396195015</c:v>
                </c:pt>
                <c:pt idx="3006">
                  <c:v>-1.480357827</c:v>
                </c:pt>
                <c:pt idx="3007">
                  <c:v>-1.5600590000000001</c:v>
                </c:pt>
                <c:pt idx="3008">
                  <c:v>0.74154553499999998</c:v>
                </c:pt>
                <c:pt idx="3009">
                  <c:v>3.0794420659999999</c:v>
                </c:pt>
                <c:pt idx="3010">
                  <c:v>5.4711910000000001</c:v>
                </c:pt>
                <c:pt idx="3011">
                  <c:v>5.1147442160000001</c:v>
                </c:pt>
                <c:pt idx="3012">
                  <c:v>4.7385351309999999</c:v>
                </c:pt>
                <c:pt idx="3013">
                  <c:v>4.3822696829999996</c:v>
                </c:pt>
                <c:pt idx="3014">
                  <c:v>4.0258228989999996</c:v>
                </c:pt>
                <c:pt idx="3015">
                  <c:v>2.936901582</c:v>
                </c:pt>
                <c:pt idx="3016">
                  <c:v>2.2042457560000002</c:v>
                </c:pt>
                <c:pt idx="3017">
                  <c:v>1.8479803079999999</c:v>
                </c:pt>
                <c:pt idx="3018">
                  <c:v>0.396991753</c:v>
                </c:pt>
                <c:pt idx="3019">
                  <c:v>-1.07666</c:v>
                </c:pt>
                <c:pt idx="3020">
                  <c:v>-0.72574761799999998</c:v>
                </c:pt>
                <c:pt idx="3021">
                  <c:v>0.19775390000000001</c:v>
                </c:pt>
                <c:pt idx="3022">
                  <c:v>5.7128909999999999</c:v>
                </c:pt>
                <c:pt idx="3023">
                  <c:v>0.72509769999999996</c:v>
                </c:pt>
                <c:pt idx="3024">
                  <c:v>0.18854080300000001</c:v>
                </c:pt>
                <c:pt idx="3025">
                  <c:v>-0.28564450000000002</c:v>
                </c:pt>
                <c:pt idx="3026">
                  <c:v>4.6754222350000001</c:v>
                </c:pt>
                <c:pt idx="3027">
                  <c:v>5.1937873960000003</c:v>
                </c:pt>
                <c:pt idx="3028">
                  <c:v>5.6846729250000001</c:v>
                </c:pt>
                <c:pt idx="3029">
                  <c:v>6.6941734110000004</c:v>
                </c:pt>
                <c:pt idx="3030">
                  <c:v>7.1850589999999999</c:v>
                </c:pt>
                <c:pt idx="3031">
                  <c:v>5.8432598249999996</c:v>
                </c:pt>
                <c:pt idx="3032">
                  <c:v>0.28564450000000002</c:v>
                </c:pt>
                <c:pt idx="3033">
                  <c:v>0.92285159999999999</c:v>
                </c:pt>
                <c:pt idx="3034">
                  <c:v>-6.1743160000000001</c:v>
                </c:pt>
                <c:pt idx="3035">
                  <c:v>-2.7130177610000001</c:v>
                </c:pt>
                <c:pt idx="3036">
                  <c:v>-1.737371464</c:v>
                </c:pt>
                <c:pt idx="3037">
                  <c:v>-0.73442397299999995</c:v>
                </c:pt>
                <c:pt idx="3038">
                  <c:v>-0.24672488200000001</c:v>
                </c:pt>
                <c:pt idx="3039">
                  <c:v>0.24122232399999999</c:v>
                </c:pt>
                <c:pt idx="3040">
                  <c:v>0.75622260799999996</c:v>
                </c:pt>
                <c:pt idx="3041">
                  <c:v>1.73584</c:v>
                </c:pt>
                <c:pt idx="3042">
                  <c:v>1.361883685</c:v>
                </c:pt>
                <c:pt idx="3043">
                  <c:v>1.232341219</c:v>
                </c:pt>
                <c:pt idx="3044">
                  <c:v>0.85738603499999999</c:v>
                </c:pt>
                <c:pt idx="3045">
                  <c:v>0.23701810400000001</c:v>
                </c:pt>
                <c:pt idx="3046">
                  <c:v>0.114280517</c:v>
                </c:pt>
                <c:pt idx="3047">
                  <c:v>-1.5261949E-2</c:v>
                </c:pt>
                <c:pt idx="3048">
                  <c:v>-0.26067468199999999</c:v>
                </c:pt>
                <c:pt idx="3049">
                  <c:v>-0.51289229400000003</c:v>
                </c:pt>
                <c:pt idx="3050">
                  <c:v>-0.63562987999999998</c:v>
                </c:pt>
                <c:pt idx="3051">
                  <c:v>-0.76904300000000003</c:v>
                </c:pt>
                <c:pt idx="3052">
                  <c:v>-0.53273932300000004</c:v>
                </c:pt>
                <c:pt idx="3053">
                  <c:v>-0.50359969800000004</c:v>
                </c:pt>
                <c:pt idx="3054">
                  <c:v>-0.47446007600000001</c:v>
                </c:pt>
                <c:pt idx="3055">
                  <c:v>-0.41458007600000002</c:v>
                </c:pt>
                <c:pt idx="3056">
                  <c:v>-0.354700073</c:v>
                </c:pt>
                <c:pt idx="3057">
                  <c:v>-0.29642082600000003</c:v>
                </c:pt>
                <c:pt idx="3058">
                  <c:v>-0.23654082600000001</c:v>
                </c:pt>
                <c:pt idx="3059">
                  <c:v>-0.20740120100000001</c:v>
                </c:pt>
                <c:pt idx="3060">
                  <c:v>-0.118381575</c:v>
                </c:pt>
                <c:pt idx="3061">
                  <c:v>-8.9256773999999997E-2</c:v>
                </c:pt>
                <c:pt idx="3062">
                  <c:v>-2.9361953999999999E-2</c:v>
                </c:pt>
                <c:pt idx="3063">
                  <c:v>0</c:v>
                </c:pt>
                <c:pt idx="3064">
                  <c:v>-0.43571460499999998</c:v>
                </c:pt>
                <c:pt idx="3065">
                  <c:v>-1.7066722620000001</c:v>
                </c:pt>
                <c:pt idx="3066">
                  <c:v>-2.109375</c:v>
                </c:pt>
                <c:pt idx="3067">
                  <c:v>-1.27806325</c:v>
                </c:pt>
                <c:pt idx="3068">
                  <c:v>0.29682176700000001</c:v>
                </c:pt>
                <c:pt idx="3069">
                  <c:v>2.703419137</c:v>
                </c:pt>
                <c:pt idx="3070">
                  <c:v>3.5343301880000002</c:v>
                </c:pt>
                <c:pt idx="3071">
                  <c:v>3.5595699999999999</c:v>
                </c:pt>
                <c:pt idx="3072">
                  <c:v>2.5563757260000002</c:v>
                </c:pt>
                <c:pt idx="3073">
                  <c:v>1.508842869</c:v>
                </c:pt>
                <c:pt idx="3074">
                  <c:v>0.99907815300000002</c:v>
                </c:pt>
                <c:pt idx="3075">
                  <c:v>0.46131001199999999</c:v>
                </c:pt>
                <c:pt idx="3076">
                  <c:v>-0.55821948099999996</c:v>
                </c:pt>
                <c:pt idx="3077">
                  <c:v>-1.6057523380000001</c:v>
                </c:pt>
                <c:pt idx="3078">
                  <c:v>-1.625977</c:v>
                </c:pt>
                <c:pt idx="3079">
                  <c:v>-1.648955833</c:v>
                </c:pt>
                <c:pt idx="3080">
                  <c:v>-1.6843056080000001</c:v>
                </c:pt>
                <c:pt idx="3081">
                  <c:v>-1.69658189</c:v>
                </c:pt>
                <c:pt idx="3082">
                  <c:v>-1.708213298</c:v>
                </c:pt>
                <c:pt idx="3083">
                  <c:v>-1.719838789</c:v>
                </c:pt>
                <c:pt idx="3084">
                  <c:v>-1.732115071</c:v>
                </c:pt>
                <c:pt idx="3085">
                  <c:v>-1.755371969</c:v>
                </c:pt>
                <c:pt idx="3086">
                  <c:v>-1.7911832139999999</c:v>
                </c:pt>
                <c:pt idx="3087">
                  <c:v>-1.814440112</c:v>
                </c:pt>
                <c:pt idx="3088">
                  <c:v>-1.8262549239999999</c:v>
                </c:pt>
                <c:pt idx="3089">
                  <c:v>-1.8499792079999999</c:v>
                </c:pt>
                <c:pt idx="3090">
                  <c:v>-1.8622495750000001</c:v>
                </c:pt>
                <c:pt idx="3091">
                  <c:v>-1.8738809809999999</c:v>
                </c:pt>
                <c:pt idx="3092">
                  <c:v>-1.8855123890000001</c:v>
                </c:pt>
                <c:pt idx="3093">
                  <c:v>-1.9094141609999999</c:v>
                </c:pt>
                <c:pt idx="3094">
                  <c:v>-1.9333159339999999</c:v>
                </c:pt>
                <c:pt idx="3095">
                  <c:v>-1.933594</c:v>
                </c:pt>
                <c:pt idx="3096">
                  <c:v>-3.8671880000000001</c:v>
                </c:pt>
                <c:pt idx="3097">
                  <c:v>-2.9414973689999999</c:v>
                </c:pt>
                <c:pt idx="3098">
                  <c:v>-2.0640104080000001</c:v>
                </c:pt>
                <c:pt idx="3099">
                  <c:v>-0.295646672</c:v>
                </c:pt>
                <c:pt idx="3100">
                  <c:v>1.4941409999999999</c:v>
                </c:pt>
                <c:pt idx="3101">
                  <c:v>-1.0985999999999999E-2</c:v>
                </c:pt>
                <c:pt idx="3102">
                  <c:v>-0.50342269100000003</c:v>
                </c:pt>
                <c:pt idx="3103">
                  <c:v>-1.516113</c:v>
                </c:pt>
                <c:pt idx="3104">
                  <c:v>-1.4934975130000001</c:v>
                </c:pt>
                <c:pt idx="3105">
                  <c:v>-1.4238326050000001</c:v>
                </c:pt>
                <c:pt idx="3106">
                  <c:v>-1.378590121</c:v>
                </c:pt>
                <c:pt idx="3107">
                  <c:v>-1.3320816280000001</c:v>
                </c:pt>
                <c:pt idx="3108">
                  <c:v>-1.2855846470000001</c:v>
                </c:pt>
                <c:pt idx="3109">
                  <c:v>-1.2629576490000001</c:v>
                </c:pt>
                <c:pt idx="3110">
                  <c:v>-1.1938336700000001</c:v>
                </c:pt>
                <c:pt idx="3111">
                  <c:v>-1.1473366890000001</c:v>
                </c:pt>
                <c:pt idx="3112">
                  <c:v>-1.1020826960000001</c:v>
                </c:pt>
                <c:pt idx="3113">
                  <c:v>-1.0782127100000001</c:v>
                </c:pt>
                <c:pt idx="3114">
                  <c:v>-1.0546880000000001</c:v>
                </c:pt>
                <c:pt idx="3115">
                  <c:v>-1.974343945</c:v>
                </c:pt>
                <c:pt idx="3116">
                  <c:v>-2.946607346</c:v>
                </c:pt>
                <c:pt idx="3117">
                  <c:v>-3.9422517620000002</c:v>
                </c:pt>
                <c:pt idx="3118">
                  <c:v>-4.899902</c:v>
                </c:pt>
                <c:pt idx="3119">
                  <c:v>-4.2672827670000002</c:v>
                </c:pt>
                <c:pt idx="3120">
                  <c:v>-3.5992496909999998</c:v>
                </c:pt>
                <c:pt idx="3121">
                  <c:v>-1.032715</c:v>
                </c:pt>
                <c:pt idx="3122">
                  <c:v>-3.7854765260000001</c:v>
                </c:pt>
                <c:pt idx="3123">
                  <c:v>-4.4604489999999997</c:v>
                </c:pt>
                <c:pt idx="3124">
                  <c:v>-0.41748049999999998</c:v>
                </c:pt>
                <c:pt idx="3125">
                  <c:v>-0.29750119600000002</c:v>
                </c:pt>
                <c:pt idx="3126">
                  <c:v>-0.27650279300000002</c:v>
                </c:pt>
                <c:pt idx="3127">
                  <c:v>-0.25660743899999999</c:v>
                </c:pt>
                <c:pt idx="3128">
                  <c:v>-0.19582844899999999</c:v>
                </c:pt>
                <c:pt idx="3129">
                  <c:v>-0.17594321600000001</c:v>
                </c:pt>
                <c:pt idx="3130">
                  <c:v>-0.1757813</c:v>
                </c:pt>
                <c:pt idx="3131">
                  <c:v>3.5126322829999999</c:v>
                </c:pt>
                <c:pt idx="3132">
                  <c:v>3.6254879999999998</c:v>
                </c:pt>
                <c:pt idx="3133">
                  <c:v>2.8420242579999999</c:v>
                </c:pt>
                <c:pt idx="3134">
                  <c:v>2.0525339260000002</c:v>
                </c:pt>
                <c:pt idx="3135">
                  <c:v>1.2626417510000001</c:v>
                </c:pt>
                <c:pt idx="3136">
                  <c:v>-5.9765629999999996</c:v>
                </c:pt>
                <c:pt idx="3137">
                  <c:v>-1.801758</c:v>
                </c:pt>
                <c:pt idx="3138">
                  <c:v>-1.788479618</c:v>
                </c:pt>
                <c:pt idx="3139">
                  <c:v>-1.76330575</c:v>
                </c:pt>
                <c:pt idx="3140">
                  <c:v>-1.737440433</c:v>
                </c:pt>
                <c:pt idx="3141">
                  <c:v>-1.724853499</c:v>
                </c:pt>
                <c:pt idx="3142">
                  <c:v>-1.712272968</c:v>
                </c:pt>
                <c:pt idx="3143">
                  <c:v>-1.6864012500000001</c:v>
                </c:pt>
                <c:pt idx="3144">
                  <c:v>-1.6605359340000001</c:v>
                </c:pt>
                <c:pt idx="3145">
                  <c:v>-1.6479490000000001</c:v>
                </c:pt>
                <c:pt idx="3146">
                  <c:v>-1.7183847370000001</c:v>
                </c:pt>
                <c:pt idx="3147">
                  <c:v>-1.792763428</c:v>
                </c:pt>
                <c:pt idx="3148">
                  <c:v>-2.0058270340000002</c:v>
                </c:pt>
                <c:pt idx="3149">
                  <c:v>-2.1506414619999998</c:v>
                </c:pt>
                <c:pt idx="3150">
                  <c:v>-2.2211130410000002</c:v>
                </c:pt>
                <c:pt idx="3151">
                  <c:v>-2.2915487689999998</c:v>
                </c:pt>
                <c:pt idx="3152">
                  <c:v>-2.9374426329999999</c:v>
                </c:pt>
                <c:pt idx="3153">
                  <c:v>-3.0117854909999999</c:v>
                </c:pt>
                <c:pt idx="3154">
                  <c:v>-3.2248490969999999</c:v>
                </c:pt>
                <c:pt idx="3155">
                  <c:v>-3.515625</c:v>
                </c:pt>
                <c:pt idx="3156">
                  <c:v>2.48291</c:v>
                </c:pt>
                <c:pt idx="3157">
                  <c:v>-0.373995835</c:v>
                </c:pt>
                <c:pt idx="3158">
                  <c:v>-0.545786726</c:v>
                </c:pt>
                <c:pt idx="3159">
                  <c:v>-0.55234233200000005</c:v>
                </c:pt>
                <c:pt idx="3160">
                  <c:v>-0.71102197099999997</c:v>
                </c:pt>
                <c:pt idx="3161">
                  <c:v>-0.87617319500000002</c:v>
                </c:pt>
                <c:pt idx="3162">
                  <c:v>-1.0505694969999999</c:v>
                </c:pt>
                <c:pt idx="3163">
                  <c:v>-1.5553522879999999</c:v>
                </c:pt>
                <c:pt idx="3164">
                  <c:v>-2.0601350790000001</c:v>
                </c:pt>
                <c:pt idx="3165">
                  <c:v>-2.0654300000000001</c:v>
                </c:pt>
                <c:pt idx="3166">
                  <c:v>1.3765774609999999</c:v>
                </c:pt>
                <c:pt idx="3167">
                  <c:v>1.40625</c:v>
                </c:pt>
                <c:pt idx="3168">
                  <c:v>0.20195649500000001</c:v>
                </c:pt>
                <c:pt idx="3169">
                  <c:v>-1.0074246469999999</c:v>
                </c:pt>
                <c:pt idx="3170">
                  <c:v>-1.595505296</c:v>
                </c:pt>
                <c:pt idx="3171">
                  <c:v>-2.8048865100000002</c:v>
                </c:pt>
                <c:pt idx="3172">
                  <c:v>-3.9813471370000002</c:v>
                </c:pt>
                <c:pt idx="3173">
                  <c:v>-5.7788089999999999</c:v>
                </c:pt>
                <c:pt idx="3174">
                  <c:v>-3.6048145300000001</c:v>
                </c:pt>
                <c:pt idx="3175">
                  <c:v>-2.5309978530000001</c:v>
                </c:pt>
                <c:pt idx="3176">
                  <c:v>-1.4733206889999999</c:v>
                </c:pt>
                <c:pt idx="3177">
                  <c:v>1.7578130000000001</c:v>
                </c:pt>
                <c:pt idx="3178">
                  <c:v>1.55886013</c:v>
                </c:pt>
                <c:pt idx="3179">
                  <c:v>1.491946244</c:v>
                </c:pt>
                <c:pt idx="3180">
                  <c:v>1.426821141</c:v>
                </c:pt>
                <c:pt idx="3181">
                  <c:v>1.3940101499999999</c:v>
                </c:pt>
                <c:pt idx="3182">
                  <c:v>1.2945337130000001</c:v>
                </c:pt>
                <c:pt idx="3183">
                  <c:v>1.227619826</c:v>
                </c:pt>
                <c:pt idx="3184">
                  <c:v>1.1950572749999999</c:v>
                </c:pt>
                <c:pt idx="3185">
                  <c:v>1.1606893789999999</c:v>
                </c:pt>
                <c:pt idx="3186">
                  <c:v>1.1281433890000001</c:v>
                </c:pt>
                <c:pt idx="3187">
                  <c:v>1.0955808419999999</c:v>
                </c:pt>
                <c:pt idx="3188">
                  <c:v>1.028666952</c:v>
                </c:pt>
                <c:pt idx="3189">
                  <c:v>0.99610440499999997</c:v>
                </c:pt>
                <c:pt idx="3190">
                  <c:v>0.96173650399999999</c:v>
                </c:pt>
                <c:pt idx="3191">
                  <c:v>0.92917395300000005</c:v>
                </c:pt>
                <c:pt idx="3192">
                  <c:v>0.49820877299999999</c:v>
                </c:pt>
                <c:pt idx="3193">
                  <c:v>0.43308367399999997</c:v>
                </c:pt>
                <c:pt idx="3194">
                  <c:v>0.36590478199999998</c:v>
                </c:pt>
                <c:pt idx="3195">
                  <c:v>0.30079624500000002</c:v>
                </c:pt>
                <c:pt idx="3196">
                  <c:v>0.23388235900000001</c:v>
                </c:pt>
                <c:pt idx="3197">
                  <c:v>0.13440592200000001</c:v>
                </c:pt>
                <c:pt idx="3198">
                  <c:v>6.7475470999999995E-2</c:v>
                </c:pt>
                <c:pt idx="3199">
                  <c:v>2.3669339999999998E-3</c:v>
                </c:pt>
                <c:pt idx="3200">
                  <c:v>-6.4546952000000005E-2</c:v>
                </c:pt>
                <c:pt idx="3201">
                  <c:v>-9.7887955999999998E-2</c:v>
                </c:pt>
                <c:pt idx="3202">
                  <c:v>-0.16299649199999999</c:v>
                </c:pt>
                <c:pt idx="3203">
                  <c:v>-0.22992694</c:v>
                </c:pt>
                <c:pt idx="3204">
                  <c:v>-0.26247292999999999</c:v>
                </c:pt>
                <c:pt idx="3205">
                  <c:v>-0.329403377</c:v>
                </c:pt>
                <c:pt idx="3206">
                  <c:v>-0.4614258</c:v>
                </c:pt>
                <c:pt idx="3207">
                  <c:v>-3.9990230000000002</c:v>
                </c:pt>
                <c:pt idx="3208">
                  <c:v>0</c:v>
                </c:pt>
                <c:pt idx="3209">
                  <c:v>-1.2524409999999999</c:v>
                </c:pt>
                <c:pt idx="3210">
                  <c:v>5.2257992519999998</c:v>
                </c:pt>
                <c:pt idx="3211">
                  <c:v>7.4639525549999997</c:v>
                </c:pt>
                <c:pt idx="3212">
                  <c:v>7.5146480000000002</c:v>
                </c:pt>
                <c:pt idx="3213">
                  <c:v>6.6113369280000001</c:v>
                </c:pt>
                <c:pt idx="3214">
                  <c:v>5.6863726349999997</c:v>
                </c:pt>
                <c:pt idx="3215">
                  <c:v>4.709629337</c:v>
                </c:pt>
                <c:pt idx="3216">
                  <c:v>3.7841943580000001</c:v>
                </c:pt>
                <c:pt idx="3217">
                  <c:v>-0.90087890000000004</c:v>
                </c:pt>
                <c:pt idx="3218">
                  <c:v>-1.2024792500000001</c:v>
                </c:pt>
                <c:pt idx="3219">
                  <c:v>-1.215936519</c:v>
                </c:pt>
                <c:pt idx="3220">
                  <c:v>-1.230469</c:v>
                </c:pt>
                <c:pt idx="3221">
                  <c:v>-1.179242358</c:v>
                </c:pt>
                <c:pt idx="3222">
                  <c:v>-1.071396786</c:v>
                </c:pt>
                <c:pt idx="3223">
                  <c:v>-0.96646091499999998</c:v>
                </c:pt>
                <c:pt idx="3224">
                  <c:v>-0.91397963599999998</c:v>
                </c:pt>
                <c:pt idx="3225">
                  <c:v>-0.85693359999999996</c:v>
                </c:pt>
                <c:pt idx="3226">
                  <c:v>-0.82408212199999997</c:v>
                </c:pt>
                <c:pt idx="3227">
                  <c:v>-0.79014307100000003</c:v>
                </c:pt>
                <c:pt idx="3228">
                  <c:v>-0.72040057000000002</c:v>
                </c:pt>
                <c:pt idx="3229">
                  <c:v>-0.58277996899999995</c:v>
                </c:pt>
                <c:pt idx="3230">
                  <c:v>-0.546147893</c:v>
                </c:pt>
                <c:pt idx="3231">
                  <c:v>-0.51303746800000005</c:v>
                </c:pt>
                <c:pt idx="3232">
                  <c:v>-0.41042622299999998</c:v>
                </c:pt>
                <c:pt idx="3233">
                  <c:v>-0.37353520000000001</c:v>
                </c:pt>
                <c:pt idx="3234">
                  <c:v>-0.90801637000000002</c:v>
                </c:pt>
                <c:pt idx="3235">
                  <c:v>-2.0421046710000001</c:v>
                </c:pt>
                <c:pt idx="3236">
                  <c:v>-3.7280785440000002</c:v>
                </c:pt>
                <c:pt idx="3237">
                  <c:v>-4.2799641160000004</c:v>
                </c:pt>
                <c:pt idx="3238">
                  <c:v>-5.4140524179999998</c:v>
                </c:pt>
                <c:pt idx="3239">
                  <c:v>-5.4272460000000002</c:v>
                </c:pt>
                <c:pt idx="3240">
                  <c:v>-4.9036556869999997</c:v>
                </c:pt>
                <c:pt idx="3241">
                  <c:v>-3.8013603869999999</c:v>
                </c:pt>
                <c:pt idx="3242">
                  <c:v>-3.2649463600000002</c:v>
                </c:pt>
                <c:pt idx="3243">
                  <c:v>-1.0900958970000001</c:v>
                </c:pt>
                <c:pt idx="3244">
                  <c:v>-0.55368193499999996</c:v>
                </c:pt>
                <c:pt idx="3245">
                  <c:v>-0.54931640000000004</c:v>
                </c:pt>
                <c:pt idx="3246">
                  <c:v>-8.6975147170000007</c:v>
                </c:pt>
                <c:pt idx="3247">
                  <c:v>-8.9428710000000002</c:v>
                </c:pt>
                <c:pt idx="3248">
                  <c:v>-7.8003746700000001</c:v>
                </c:pt>
                <c:pt idx="3249">
                  <c:v>-6.6104495820000002</c:v>
                </c:pt>
                <c:pt idx="3250">
                  <c:v>5.4052730000000002</c:v>
                </c:pt>
                <c:pt idx="3251">
                  <c:v>-1.0546880000000001</c:v>
                </c:pt>
                <c:pt idx="3252">
                  <c:v>-1.2946520050000001</c:v>
                </c:pt>
                <c:pt idx="3253">
                  <c:v>-1.3847848270000001</c:v>
                </c:pt>
                <c:pt idx="3254">
                  <c:v>-1.4159246190000001</c:v>
                </c:pt>
                <c:pt idx="3255">
                  <c:v>-1.4749326549999999</c:v>
                </c:pt>
                <c:pt idx="3256">
                  <c:v>-1.5060574410000001</c:v>
                </c:pt>
                <c:pt idx="3257">
                  <c:v>-1.535561459</c:v>
                </c:pt>
                <c:pt idx="3258">
                  <c:v>-1.5650654770000001</c:v>
                </c:pt>
                <c:pt idx="3259">
                  <c:v>-1.9555659999999999</c:v>
                </c:pt>
                <c:pt idx="3260">
                  <c:v>5.9765629999999996</c:v>
                </c:pt>
                <c:pt idx="3261">
                  <c:v>-1.186523</c:v>
                </c:pt>
                <c:pt idx="3262">
                  <c:v>-5.1416019999999998</c:v>
                </c:pt>
                <c:pt idx="3263">
                  <c:v>-4.2488539010000004</c:v>
                </c:pt>
                <c:pt idx="3264">
                  <c:v>-3.0480207720000001</c:v>
                </c:pt>
                <c:pt idx="3265">
                  <c:v>-2.7558378449999998</c:v>
                </c:pt>
                <c:pt idx="3266">
                  <c:v>-1.2744139999999999</c:v>
                </c:pt>
                <c:pt idx="3267">
                  <c:v>-0.95005835299999997</c:v>
                </c:pt>
                <c:pt idx="3268">
                  <c:v>-0.79233531499999998</c:v>
                </c:pt>
                <c:pt idx="3269">
                  <c:v>-0.63453199699999996</c:v>
                </c:pt>
                <c:pt idx="3270">
                  <c:v>-0.46797968699999998</c:v>
                </c:pt>
                <c:pt idx="3271">
                  <c:v>-0.31017636999999998</c:v>
                </c:pt>
                <c:pt idx="3272">
                  <c:v>1.4098997E-2</c:v>
                </c:pt>
                <c:pt idx="3273">
                  <c:v>0.8129883</c:v>
                </c:pt>
                <c:pt idx="3274">
                  <c:v>5.5824559970000003</c:v>
                </c:pt>
                <c:pt idx="3275">
                  <c:v>6.5158398179999999</c:v>
                </c:pt>
                <c:pt idx="3276">
                  <c:v>8.4338817559999999</c:v>
                </c:pt>
                <c:pt idx="3277">
                  <c:v>9.3672655769999995</c:v>
                </c:pt>
                <c:pt idx="3278">
                  <c:v>9.4042969999999997</c:v>
                </c:pt>
                <c:pt idx="3279">
                  <c:v>7.7616595630000003</c:v>
                </c:pt>
                <c:pt idx="3280">
                  <c:v>-1.032715</c:v>
                </c:pt>
                <c:pt idx="3281">
                  <c:v>-1.6479490000000001</c:v>
                </c:pt>
                <c:pt idx="3282">
                  <c:v>-0.915336645</c:v>
                </c:pt>
                <c:pt idx="3283">
                  <c:v>0.63997299699999999</c:v>
                </c:pt>
                <c:pt idx="3284">
                  <c:v>1.3968389269999999</c:v>
                </c:pt>
                <c:pt idx="3285">
                  <c:v>2.1533199999999999</c:v>
                </c:pt>
                <c:pt idx="3286">
                  <c:v>2.5268549999999999</c:v>
                </c:pt>
                <c:pt idx="3287">
                  <c:v>2.1976704570000001</c:v>
                </c:pt>
                <c:pt idx="3288">
                  <c:v>2.0219359130000001</c:v>
                </c:pt>
                <c:pt idx="3289">
                  <c:v>1.855352428</c:v>
                </c:pt>
                <c:pt idx="3290">
                  <c:v>1.6861422530000001</c:v>
                </c:pt>
                <c:pt idx="3291">
                  <c:v>1.519643514</c:v>
                </c:pt>
                <c:pt idx="3292">
                  <c:v>1.343824224</c:v>
                </c:pt>
                <c:pt idx="3293">
                  <c:v>1.010742</c:v>
                </c:pt>
                <c:pt idx="3294">
                  <c:v>-8.9868159999999992</c:v>
                </c:pt>
                <c:pt idx="3295">
                  <c:v>-7.6691113480000004</c:v>
                </c:pt>
                <c:pt idx="3296">
                  <c:v>-6.307783455</c:v>
                </c:pt>
                <c:pt idx="3297">
                  <c:v>-4.8709799609999997</c:v>
                </c:pt>
                <c:pt idx="3298">
                  <c:v>-4.8280489409999996</c:v>
                </c:pt>
                <c:pt idx="3299">
                  <c:v>-3.509651903</c:v>
                </c:pt>
                <c:pt idx="3300">
                  <c:v>-0.71221290199999998</c:v>
                </c:pt>
                <c:pt idx="3301">
                  <c:v>0.64911515600000003</c:v>
                </c:pt>
                <c:pt idx="3302">
                  <c:v>0.703125</c:v>
                </c:pt>
                <c:pt idx="3303">
                  <c:v>0.67202716100000004</c:v>
                </c:pt>
                <c:pt idx="3304">
                  <c:v>0.50620498899999999</c:v>
                </c:pt>
                <c:pt idx="3305">
                  <c:v>0.473805227</c:v>
                </c:pt>
                <c:pt idx="3306">
                  <c:v>0.44142194800000001</c:v>
                </c:pt>
                <c:pt idx="3307">
                  <c:v>0.40722586199999999</c:v>
                </c:pt>
                <c:pt idx="3308">
                  <c:v>0.30824673499999999</c:v>
                </c:pt>
                <c:pt idx="3309">
                  <c:v>0.27584697699999999</c:v>
                </c:pt>
                <c:pt idx="3310">
                  <c:v>-0.118784085</c:v>
                </c:pt>
                <c:pt idx="3311">
                  <c:v>-0.152980171</c:v>
                </c:pt>
                <c:pt idx="3312">
                  <c:v>-0.21776321200000001</c:v>
                </c:pt>
                <c:pt idx="3313">
                  <c:v>-0.251959294</c:v>
                </c:pt>
                <c:pt idx="3314">
                  <c:v>-0.284359056</c:v>
                </c:pt>
                <c:pt idx="3315">
                  <c:v>-0.28564450000000002</c:v>
                </c:pt>
                <c:pt idx="3316">
                  <c:v>-4.389680297</c:v>
                </c:pt>
                <c:pt idx="3317">
                  <c:v>-6.4819339999999999</c:v>
                </c:pt>
                <c:pt idx="3318">
                  <c:v>-4.5209493380000003</c:v>
                </c:pt>
                <c:pt idx="3319">
                  <c:v>-2.472257833</c:v>
                </c:pt>
                <c:pt idx="3320">
                  <c:v>-0.424073268</c:v>
                </c:pt>
                <c:pt idx="3321">
                  <c:v>2.6208269049999999</c:v>
                </c:pt>
                <c:pt idx="3322">
                  <c:v>4.6142580000000004</c:v>
                </c:pt>
                <c:pt idx="3323">
                  <c:v>2.3013876070000001</c:v>
                </c:pt>
                <c:pt idx="3324">
                  <c:v>0.108956019</c:v>
                </c:pt>
                <c:pt idx="3325">
                  <c:v>2.1972660000000001E-2</c:v>
                </c:pt>
                <c:pt idx="3326">
                  <c:v>0.53274416000000002</c:v>
                </c:pt>
                <c:pt idx="3327">
                  <c:v>0.80562028500000005</c:v>
                </c:pt>
                <c:pt idx="3328">
                  <c:v>1.0641621670000001</c:v>
                </c:pt>
                <c:pt idx="3329">
                  <c:v>1.322572584</c:v>
                </c:pt>
                <c:pt idx="3330">
                  <c:v>1.595448709</c:v>
                </c:pt>
                <c:pt idx="3331">
                  <c:v>1.8539905910000001</c:v>
                </c:pt>
                <c:pt idx="3332">
                  <c:v>2.3709428909999999</c:v>
                </c:pt>
                <c:pt idx="3333">
                  <c:v>2.3730470000000001</c:v>
                </c:pt>
                <c:pt idx="3334">
                  <c:v>-4.7726245250000003</c:v>
                </c:pt>
                <c:pt idx="3335">
                  <c:v>-4.9877929999999999</c:v>
                </c:pt>
                <c:pt idx="3336">
                  <c:v>-1.3655059759999999</c:v>
                </c:pt>
                <c:pt idx="3337">
                  <c:v>0.57717839400000004</c:v>
                </c:pt>
                <c:pt idx="3338">
                  <c:v>2.504883</c:v>
                </c:pt>
                <c:pt idx="3339">
                  <c:v>2.3269791190000002</c:v>
                </c:pt>
                <c:pt idx="3340">
                  <c:v>2.1282627540000001</c:v>
                </c:pt>
                <c:pt idx="3341">
                  <c:v>1.567941558</c:v>
                </c:pt>
                <c:pt idx="3342">
                  <c:v>1.3707457430000001</c:v>
                </c:pt>
                <c:pt idx="3343">
                  <c:v>1.1839086670000001</c:v>
                </c:pt>
                <c:pt idx="3344">
                  <c:v>0.99716659500000004</c:v>
                </c:pt>
                <c:pt idx="3345">
                  <c:v>0.613133704</c:v>
                </c:pt>
                <c:pt idx="3346">
                  <c:v>0.42639163200000002</c:v>
                </c:pt>
                <c:pt idx="3347">
                  <c:v>-0.34157912299999998</c:v>
                </c:pt>
                <c:pt idx="3348">
                  <c:v>-0.71819936900000003</c:v>
                </c:pt>
                <c:pt idx="3349">
                  <c:v>-1.296387</c:v>
                </c:pt>
                <c:pt idx="3350">
                  <c:v>1.008810505</c:v>
                </c:pt>
                <c:pt idx="3351">
                  <c:v>3.5815429999999999</c:v>
                </c:pt>
                <c:pt idx="3352">
                  <c:v>3.3276567350000001</c:v>
                </c:pt>
                <c:pt idx="3353">
                  <c:v>1.7454271830000001</c:v>
                </c:pt>
                <c:pt idx="3354">
                  <c:v>-1.1425780000000001</c:v>
                </c:pt>
                <c:pt idx="3355">
                  <c:v>-1.346481676</c:v>
                </c:pt>
                <c:pt idx="3356">
                  <c:v>-1.361934881</c:v>
                </c:pt>
                <c:pt idx="3357">
                  <c:v>-1.3937142229999999</c:v>
                </c:pt>
                <c:pt idx="3358">
                  <c:v>-1.4091674279999999</c:v>
                </c:pt>
                <c:pt idx="3359">
                  <c:v>-1.424628499</c:v>
                </c:pt>
                <c:pt idx="3360">
                  <c:v>-1.44094677</c:v>
                </c:pt>
                <c:pt idx="3361">
                  <c:v>-1.4563999759999999</c:v>
                </c:pt>
                <c:pt idx="3362">
                  <c:v>-1.4718610459999999</c:v>
                </c:pt>
                <c:pt idx="3363">
                  <c:v>-1.487565907</c:v>
                </c:pt>
                <c:pt idx="3364">
                  <c:v>-1.582031</c:v>
                </c:pt>
                <c:pt idx="3365">
                  <c:v>2.3730470000000001</c:v>
                </c:pt>
                <c:pt idx="3366">
                  <c:v>2.0284474709999998</c:v>
                </c:pt>
                <c:pt idx="3367">
                  <c:v>1.686630482</c:v>
                </c:pt>
                <c:pt idx="3368">
                  <c:v>0.81169724399999998</c:v>
                </c:pt>
                <c:pt idx="3369">
                  <c:v>0.64074526499999995</c:v>
                </c:pt>
                <c:pt idx="3370">
                  <c:v>0.11849831199999999</c:v>
                </c:pt>
                <c:pt idx="3371">
                  <c:v>-0.74695692000000002</c:v>
                </c:pt>
                <c:pt idx="3372">
                  <c:v>-0.92729995700000001</c:v>
                </c:pt>
                <c:pt idx="3373">
                  <c:v>-1.269203893</c:v>
                </c:pt>
                <c:pt idx="3374">
                  <c:v>-1.4414601739999999</c:v>
                </c:pt>
                <c:pt idx="3375">
                  <c:v>-1.625977</c:v>
                </c:pt>
                <c:pt idx="3376">
                  <c:v>-1.662536521</c:v>
                </c:pt>
                <c:pt idx="3377">
                  <c:v>-1.738076347</c:v>
                </c:pt>
                <c:pt idx="3378">
                  <c:v>-1.7770185279999999</c:v>
                </c:pt>
                <c:pt idx="3379">
                  <c:v>-1.891500534</c:v>
                </c:pt>
                <c:pt idx="3380">
                  <c:v>-1.9289749979999999</c:v>
                </c:pt>
                <c:pt idx="3381">
                  <c:v>-2.0434570000000001</c:v>
                </c:pt>
                <c:pt idx="3382">
                  <c:v>-2.1033918329999999</c:v>
                </c:pt>
                <c:pt idx="3383">
                  <c:v>-2.1601494020000001</c:v>
                </c:pt>
                <c:pt idx="3384">
                  <c:v>-2.2178312610000002</c:v>
                </c:pt>
                <c:pt idx="3385">
                  <c:v>-2.3345525380000001</c:v>
                </c:pt>
                <c:pt idx="3386">
                  <c:v>-2.3913101060000002</c:v>
                </c:pt>
                <c:pt idx="3387">
                  <c:v>-2.4480965499999998</c:v>
                </c:pt>
                <c:pt idx="3388">
                  <c:v>-2.504883</c:v>
                </c:pt>
                <c:pt idx="3389">
                  <c:v>-0.98876949999999997</c:v>
                </c:pt>
                <c:pt idx="3390">
                  <c:v>1.182359012</c:v>
                </c:pt>
                <c:pt idx="3391">
                  <c:v>2.4178673399999999</c:v>
                </c:pt>
                <c:pt idx="3392">
                  <c:v>2.7465820000000001</c:v>
                </c:pt>
                <c:pt idx="3393">
                  <c:v>2.5568471320000001</c:v>
                </c:pt>
                <c:pt idx="3394">
                  <c:v>2.362465276</c:v>
                </c:pt>
                <c:pt idx="3395">
                  <c:v>1.572776658</c:v>
                </c:pt>
                <c:pt idx="3396">
                  <c:v>1.3676177839999999</c:v>
                </c:pt>
                <c:pt idx="3397">
                  <c:v>-1.010742</c:v>
                </c:pt>
                <c:pt idx="3398">
                  <c:v>0.93461351500000001</c:v>
                </c:pt>
                <c:pt idx="3399">
                  <c:v>0.9448242</c:v>
                </c:pt>
                <c:pt idx="3400">
                  <c:v>-2.1341691209999998</c:v>
                </c:pt>
                <c:pt idx="3401">
                  <c:v>-4.2382172479999998</c:v>
                </c:pt>
                <c:pt idx="3402">
                  <c:v>-4.2626949999999999</c:v>
                </c:pt>
                <c:pt idx="3403">
                  <c:v>-3.212240354</c:v>
                </c:pt>
                <c:pt idx="3404">
                  <c:v>-2.676603133</c:v>
                </c:pt>
                <c:pt idx="3405">
                  <c:v>-1.5842384</c:v>
                </c:pt>
                <c:pt idx="3406">
                  <c:v>-1.052657017</c:v>
                </c:pt>
                <c:pt idx="3407">
                  <c:v>3.9707653000000002E-2</c:v>
                </c:pt>
                <c:pt idx="3408">
                  <c:v>0.57128909999999999</c:v>
                </c:pt>
                <c:pt idx="3409">
                  <c:v>0.43032052599999998</c:v>
                </c:pt>
                <c:pt idx="3410">
                  <c:v>2.2292938000000002E-2</c:v>
                </c:pt>
                <c:pt idx="3411">
                  <c:v>-0.111202595</c:v>
                </c:pt>
                <c:pt idx="3412">
                  <c:v>-0.38573463400000002</c:v>
                </c:pt>
                <c:pt idx="3413">
                  <c:v>-0.51923018300000001</c:v>
                </c:pt>
                <c:pt idx="3414">
                  <c:v>-0.65917970000000004</c:v>
                </c:pt>
                <c:pt idx="3415">
                  <c:v>-0.70115406400000002</c:v>
                </c:pt>
                <c:pt idx="3416">
                  <c:v>-0.74692221599999997</c:v>
                </c:pt>
                <c:pt idx="3417">
                  <c:v>-0.79165369799999996</c:v>
                </c:pt>
                <c:pt idx="3418">
                  <c:v>-0.83362805600000001</c:v>
                </c:pt>
                <c:pt idx="3419">
                  <c:v>-0.87939621300000004</c:v>
                </c:pt>
                <c:pt idx="3420">
                  <c:v>-0.96610205400000004</c:v>
                </c:pt>
                <c:pt idx="3421">
                  <c:v>-1.0094660049999999</c:v>
                </c:pt>
                <c:pt idx="3422">
                  <c:v>-1.0985760520000001</c:v>
                </c:pt>
                <c:pt idx="3423">
                  <c:v>-1.187686099</c:v>
                </c:pt>
                <c:pt idx="3424">
                  <c:v>-1.1887227730000001</c:v>
                </c:pt>
                <c:pt idx="3425">
                  <c:v>-1.231050049</c:v>
                </c:pt>
                <c:pt idx="3426">
                  <c:v>-1.2744139999999999</c:v>
                </c:pt>
                <c:pt idx="3427">
                  <c:v>-1.153908691</c:v>
                </c:pt>
                <c:pt idx="3428">
                  <c:v>-0.92725491800000004</c:v>
                </c:pt>
                <c:pt idx="3429">
                  <c:v>-0.69875608300000003</c:v>
                </c:pt>
                <c:pt idx="3430">
                  <c:v>-0.58096069800000005</c:v>
                </c:pt>
                <c:pt idx="3431">
                  <c:v>-0.46760499100000003</c:v>
                </c:pt>
                <c:pt idx="3432">
                  <c:v>-0.23466647900000001</c:v>
                </c:pt>
                <c:pt idx="3433">
                  <c:v>-1.6703270000000001E-3</c:v>
                </c:pt>
                <c:pt idx="3434">
                  <c:v>0.111627727</c:v>
                </c:pt>
                <c:pt idx="3435">
                  <c:v>0.224983447</c:v>
                </c:pt>
                <c:pt idx="3436">
                  <c:v>0.45792194600000002</c:v>
                </c:pt>
                <c:pt idx="3437">
                  <c:v>0.57306506000000001</c:v>
                </c:pt>
                <c:pt idx="3438">
                  <c:v>0.68642078100000004</c:v>
                </c:pt>
                <c:pt idx="3439">
                  <c:v>1.032715</c:v>
                </c:pt>
                <c:pt idx="3440">
                  <c:v>0.92079644999999999</c:v>
                </c:pt>
                <c:pt idx="3441">
                  <c:v>0.81186978200000004</c:v>
                </c:pt>
                <c:pt idx="3442">
                  <c:v>0.69995123199999998</c:v>
                </c:pt>
                <c:pt idx="3443">
                  <c:v>0.53356934499999997</c:v>
                </c:pt>
                <c:pt idx="3444">
                  <c:v>0.20036232800000001</c:v>
                </c:pt>
                <c:pt idx="3445">
                  <c:v>-2.0455188999999999E-2</c:v>
                </c:pt>
                <c:pt idx="3446">
                  <c:v>-0.13240144000000001</c:v>
                </c:pt>
                <c:pt idx="3447">
                  <c:v>-0.24130040699999999</c:v>
                </c:pt>
                <c:pt idx="3448">
                  <c:v>-0.29878332800000001</c:v>
                </c:pt>
                <c:pt idx="3449">
                  <c:v>-0.52048733000000003</c:v>
                </c:pt>
                <c:pt idx="3450">
                  <c:v>-0.57492296600000004</c:v>
                </c:pt>
                <c:pt idx="3451">
                  <c:v>-0.79576818400000005</c:v>
                </c:pt>
                <c:pt idx="3452">
                  <c:v>-0.85023152099999999</c:v>
                </c:pt>
                <c:pt idx="3453">
                  <c:v>-1.128531959</c:v>
                </c:pt>
                <c:pt idx="3454">
                  <c:v>-1.2408937520000001</c:v>
                </c:pt>
                <c:pt idx="3455">
                  <c:v>-1.461738969</c:v>
                </c:pt>
                <c:pt idx="3456">
                  <c:v>-1.628120856</c:v>
                </c:pt>
                <c:pt idx="3457">
                  <c:v>-1.682556486</c:v>
                </c:pt>
                <c:pt idx="3458">
                  <c:v>-1.7945027440000001</c:v>
                </c:pt>
                <c:pt idx="3459">
                  <c:v>-1.848938373</c:v>
                </c:pt>
                <c:pt idx="3460">
                  <c:v>-1.9608846310000001</c:v>
                </c:pt>
                <c:pt idx="3461">
                  <c:v>-2.125105713</c:v>
                </c:pt>
                <c:pt idx="3462">
                  <c:v>-2.2370242629999999</c:v>
                </c:pt>
                <c:pt idx="3463">
                  <c:v>-2.2914876</c:v>
                </c:pt>
                <c:pt idx="3464">
                  <c:v>-2.3489705139999999</c:v>
                </c:pt>
                <c:pt idx="3465">
                  <c:v>-2.6242513679999999</c:v>
                </c:pt>
                <c:pt idx="3466">
                  <c:v>-2.845096592</c:v>
                </c:pt>
                <c:pt idx="3467">
                  <c:v>-2.9003909999999999</c:v>
                </c:pt>
                <c:pt idx="3468">
                  <c:v>-1.742812689</c:v>
                </c:pt>
                <c:pt idx="3469">
                  <c:v>-1.720468916</c:v>
                </c:pt>
                <c:pt idx="3470">
                  <c:v>-1.1799220159999999</c:v>
                </c:pt>
                <c:pt idx="3471">
                  <c:v>-2.2343703999999999E-2</c:v>
                </c:pt>
                <c:pt idx="3472">
                  <c:v>0</c:v>
                </c:pt>
                <c:pt idx="3473">
                  <c:v>-1.1319987010000001</c:v>
                </c:pt>
                <c:pt idx="3474">
                  <c:v>-1.3552640730000001</c:v>
                </c:pt>
                <c:pt idx="3475">
                  <c:v>-1.3623050000000001</c:v>
                </c:pt>
                <c:pt idx="3476">
                  <c:v>4.6801760000000003</c:v>
                </c:pt>
                <c:pt idx="3477">
                  <c:v>3.9696725769999999</c:v>
                </c:pt>
                <c:pt idx="3478">
                  <c:v>2.6175237349999998</c:v>
                </c:pt>
                <c:pt idx="3479">
                  <c:v>1.9440185729999999</c:v>
                </c:pt>
                <c:pt idx="3480">
                  <c:v>0.56001006900000005</c:v>
                </c:pt>
                <c:pt idx="3481">
                  <c:v>-0.83496090000000001</c:v>
                </c:pt>
                <c:pt idx="3482">
                  <c:v>-6.4125508010000001</c:v>
                </c:pt>
                <c:pt idx="3483">
                  <c:v>-8.2468543010000008</c:v>
                </c:pt>
                <c:pt idx="3484">
                  <c:v>-8.3056640000000002</c:v>
                </c:pt>
                <c:pt idx="3485">
                  <c:v>-6.8485856500000004</c:v>
                </c:pt>
                <c:pt idx="3486">
                  <c:v>-5.3565797550000003</c:v>
                </c:pt>
                <c:pt idx="3487">
                  <c:v>-3.7810519870000001</c:v>
                </c:pt>
                <c:pt idx="3488">
                  <c:v>-3.757514059</c:v>
                </c:pt>
                <c:pt idx="3489">
                  <c:v>-2.2882870369999999</c:v>
                </c:pt>
                <c:pt idx="3490">
                  <c:v>-2.2412109999999998</c:v>
                </c:pt>
                <c:pt idx="3491">
                  <c:v>-2.1676589229999998</c:v>
                </c:pt>
                <c:pt idx="3492">
                  <c:v>-2.0108921309999999</c:v>
                </c:pt>
                <c:pt idx="3493">
                  <c:v>-1.9349050779999999</c:v>
                </c:pt>
                <c:pt idx="3494">
                  <c:v>-1.8589566630000001</c:v>
                </c:pt>
                <c:pt idx="3495">
                  <c:v>-1.626821219</c:v>
                </c:pt>
                <c:pt idx="3496">
                  <c:v>-1.314485809</c:v>
                </c:pt>
                <c:pt idx="3497">
                  <c:v>-0.15380859999999999</c:v>
                </c:pt>
                <c:pt idx="3498">
                  <c:v>-4.5483399999999996</c:v>
                </c:pt>
                <c:pt idx="3499">
                  <c:v>-2.3071290000000002</c:v>
                </c:pt>
                <c:pt idx="3500">
                  <c:v>-4.0869140000000002</c:v>
                </c:pt>
                <c:pt idx="3501">
                  <c:v>-8.9868159999999992</c:v>
                </c:pt>
                <c:pt idx="3502">
                  <c:v>0.21972659999999999</c:v>
                </c:pt>
                <c:pt idx="3503">
                  <c:v>-1.428223</c:v>
                </c:pt>
                <c:pt idx="3504">
                  <c:v>-1.0162252890000001</c:v>
                </c:pt>
                <c:pt idx="3505">
                  <c:v>-0.91264670299999995</c:v>
                </c:pt>
                <c:pt idx="3506">
                  <c:v>-0.81545169100000003</c:v>
                </c:pt>
                <c:pt idx="3507">
                  <c:v>-0.50543666700000001</c:v>
                </c:pt>
                <c:pt idx="3508">
                  <c:v>-0.40427766799999998</c:v>
                </c:pt>
                <c:pt idx="3509">
                  <c:v>-9.5086331999999996E-2</c:v>
                </c:pt>
                <c:pt idx="3510">
                  <c:v>0.21410500399999999</c:v>
                </c:pt>
                <c:pt idx="3511">
                  <c:v>0.32092684199999999</c:v>
                </c:pt>
                <c:pt idx="3512">
                  <c:v>0.52329632699999995</c:v>
                </c:pt>
                <c:pt idx="3513">
                  <c:v>0.73132866500000004</c:v>
                </c:pt>
                <c:pt idx="3514">
                  <c:v>0.93452183899999997</c:v>
                </c:pt>
                <c:pt idx="3515">
                  <c:v>1.1425026869999999</c:v>
                </c:pt>
                <c:pt idx="3516">
                  <c:v>1.350535013</c:v>
                </c:pt>
                <c:pt idx="3517">
                  <c:v>1.4516940229999999</c:v>
                </c:pt>
                <c:pt idx="3518">
                  <c:v>2.070900371</c:v>
                </c:pt>
                <c:pt idx="3519">
                  <c:v>2.2732698569999998</c:v>
                </c:pt>
                <c:pt idx="3520">
                  <c:v>2.3809153950000002</c:v>
                </c:pt>
                <c:pt idx="3521">
                  <c:v>2.583284881</c:v>
                </c:pt>
                <c:pt idx="3522">
                  <c:v>2.892476217</c:v>
                </c:pt>
                <c:pt idx="3523">
                  <c:v>2.9936352159999999</c:v>
                </c:pt>
                <c:pt idx="3524">
                  <c:v>3.302826552</c:v>
                </c:pt>
                <c:pt idx="3525">
                  <c:v>3.510858877</c:v>
                </c:pt>
                <c:pt idx="3526">
                  <c:v>3.7188397379999998</c:v>
                </c:pt>
                <c:pt idx="3527">
                  <c:v>3.823242</c:v>
                </c:pt>
                <c:pt idx="3528">
                  <c:v>3.2919564160000001</c:v>
                </c:pt>
                <c:pt idx="3529">
                  <c:v>-1.713867</c:v>
                </c:pt>
                <c:pt idx="3530">
                  <c:v>3.845215</c:v>
                </c:pt>
                <c:pt idx="3531">
                  <c:v>2.044802008</c:v>
                </c:pt>
                <c:pt idx="3532">
                  <c:v>1.054193776</c:v>
                </c:pt>
                <c:pt idx="3533">
                  <c:v>0.41748049999999998</c:v>
                </c:pt>
                <c:pt idx="3534">
                  <c:v>-0.371404489</c:v>
                </c:pt>
                <c:pt idx="3535">
                  <c:v>-0.50458301500000002</c:v>
                </c:pt>
                <c:pt idx="3536">
                  <c:v>-0.63416835999999999</c:v>
                </c:pt>
                <c:pt idx="3537">
                  <c:v>-0.76737985799999997</c:v>
                </c:pt>
                <c:pt idx="3538">
                  <c:v>-0.83215604499999996</c:v>
                </c:pt>
                <c:pt idx="3539">
                  <c:v>-1.032715</c:v>
                </c:pt>
                <c:pt idx="3540">
                  <c:v>2.580706583</c:v>
                </c:pt>
                <c:pt idx="3541">
                  <c:v>4.3665253999999996</c:v>
                </c:pt>
                <c:pt idx="3542">
                  <c:v>6.1523440000000003</c:v>
                </c:pt>
                <c:pt idx="3543">
                  <c:v>4.869907209</c:v>
                </c:pt>
                <c:pt idx="3544">
                  <c:v>1.032715</c:v>
                </c:pt>
                <c:pt idx="3545">
                  <c:v>-0.54931640000000004</c:v>
                </c:pt>
                <c:pt idx="3546">
                  <c:v>4.6801760000000003</c:v>
                </c:pt>
                <c:pt idx="3547">
                  <c:v>-0.37353520000000001</c:v>
                </c:pt>
                <c:pt idx="3548">
                  <c:v>-0.34745042300000001</c:v>
                </c:pt>
                <c:pt idx="3549">
                  <c:v>-0.33566898000000001</c:v>
                </c:pt>
                <c:pt idx="3550">
                  <c:v>-0.33283130599999999</c:v>
                </c:pt>
                <c:pt idx="3551">
                  <c:v>-0.329970347</c:v>
                </c:pt>
                <c:pt idx="3552">
                  <c:v>-0.32711084499999998</c:v>
                </c:pt>
                <c:pt idx="3553">
                  <c:v>-0.32123031000000002</c:v>
                </c:pt>
                <c:pt idx="3554">
                  <c:v>-0.31548656600000002</c:v>
                </c:pt>
                <c:pt idx="3555">
                  <c:v>-0.31242187700000001</c:v>
                </c:pt>
                <c:pt idx="3556">
                  <c:v>-0.30674652800000002</c:v>
                </c:pt>
                <c:pt idx="3557">
                  <c:v>-0.30086744900000001</c:v>
                </c:pt>
                <c:pt idx="3558">
                  <c:v>-0.292127411</c:v>
                </c:pt>
                <c:pt idx="3559">
                  <c:v>-0.28633855499999999</c:v>
                </c:pt>
                <c:pt idx="3560">
                  <c:v>-0.28347759700000003</c:v>
                </c:pt>
                <c:pt idx="3561">
                  <c:v>-0.27759851699999999</c:v>
                </c:pt>
                <c:pt idx="3562">
                  <c:v>-0.27183149000000001</c:v>
                </c:pt>
                <c:pt idx="3563">
                  <c:v>-0.268813368</c:v>
                </c:pt>
                <c:pt idx="3564">
                  <c:v>-0.263091452</c:v>
                </c:pt>
                <c:pt idx="3565">
                  <c:v>-0.22220711000000001</c:v>
                </c:pt>
                <c:pt idx="3566">
                  <c:v>-0.181503216</c:v>
                </c:pt>
                <c:pt idx="3567">
                  <c:v>-0.1757813</c:v>
                </c:pt>
                <c:pt idx="3568">
                  <c:v>-1.3428855930000001</c:v>
                </c:pt>
                <c:pt idx="3569">
                  <c:v>-1.9332325699999999</c:v>
                </c:pt>
                <c:pt idx="3570">
                  <c:v>-2.5237256970000002</c:v>
                </c:pt>
                <c:pt idx="3571">
                  <c:v>-3.0981450000000001</c:v>
                </c:pt>
                <c:pt idx="3572">
                  <c:v>-4.0093431300000004</c:v>
                </c:pt>
                <c:pt idx="3573">
                  <c:v>-4.0229561660000002</c:v>
                </c:pt>
                <c:pt idx="3574">
                  <c:v>-4.8722367240000004</c:v>
                </c:pt>
                <c:pt idx="3575">
                  <c:v>-4.899902</c:v>
                </c:pt>
                <c:pt idx="3576">
                  <c:v>-3.3053184259999999</c:v>
                </c:pt>
                <c:pt idx="3577">
                  <c:v>-1.723161371</c:v>
                </c:pt>
                <c:pt idx="3578">
                  <c:v>-1.6918949999999999</c:v>
                </c:pt>
                <c:pt idx="3579">
                  <c:v>-0.51574109099999998</c:v>
                </c:pt>
                <c:pt idx="3580">
                  <c:v>-0.44755925800000002</c:v>
                </c:pt>
                <c:pt idx="3581">
                  <c:v>-0.239268282</c:v>
                </c:pt>
                <c:pt idx="3582">
                  <c:v>-9.9159123000000002E-2</c:v>
                </c:pt>
                <c:pt idx="3583">
                  <c:v>-3.0977299E-2</c:v>
                </c:pt>
                <c:pt idx="3584">
                  <c:v>4.0984706000000003E-2</c:v>
                </c:pt>
                <c:pt idx="3585">
                  <c:v>0.109131852</c:v>
                </c:pt>
                <c:pt idx="3586">
                  <c:v>0.11131673</c:v>
                </c:pt>
                <c:pt idx="3587">
                  <c:v>0.177313685</c:v>
                </c:pt>
                <c:pt idx="3588">
                  <c:v>0.52734380000000003</c:v>
                </c:pt>
                <c:pt idx="3589">
                  <c:v>3.0322269999999998</c:v>
                </c:pt>
                <c:pt idx="3590">
                  <c:v>8.2836909999999992</c:v>
                </c:pt>
                <c:pt idx="3591">
                  <c:v>-0.72509769999999996</c:v>
                </c:pt>
                <c:pt idx="3592">
                  <c:v>-0.69371887099999996</c:v>
                </c:pt>
                <c:pt idx="3593">
                  <c:v>-0.61523439999999996</c:v>
                </c:pt>
                <c:pt idx="3594">
                  <c:v>1.1206050000000001</c:v>
                </c:pt>
                <c:pt idx="3595">
                  <c:v>0.51846339100000005</c:v>
                </c:pt>
                <c:pt idx="3596">
                  <c:v>0.440057965</c:v>
                </c:pt>
                <c:pt idx="3597">
                  <c:v>0.43945309999999999</c:v>
                </c:pt>
                <c:pt idx="3598">
                  <c:v>1.27958397</c:v>
                </c:pt>
                <c:pt idx="3599">
                  <c:v>2.1266082339999999</c:v>
                </c:pt>
                <c:pt idx="3600">
                  <c:v>2.1533199999999999</c:v>
                </c:pt>
                <c:pt idx="3601">
                  <c:v>1.594628905</c:v>
                </c:pt>
                <c:pt idx="3602">
                  <c:v>-0.92285159999999999</c:v>
                </c:pt>
                <c:pt idx="3603">
                  <c:v>8.7890629999999997E-2</c:v>
                </c:pt>
                <c:pt idx="3604">
                  <c:v>1.1686424689999999</c:v>
                </c:pt>
                <c:pt idx="3605">
                  <c:v>1.7049267349999999</c:v>
                </c:pt>
                <c:pt idx="3606">
                  <c:v>2.2412109999999998</c:v>
                </c:pt>
                <c:pt idx="3607">
                  <c:v>-0.43945309999999999</c:v>
                </c:pt>
                <c:pt idx="3608">
                  <c:v>5.4052730000000002</c:v>
                </c:pt>
                <c:pt idx="3609">
                  <c:v>1.5600590000000001</c:v>
                </c:pt>
                <c:pt idx="3610">
                  <c:v>-0.3515625</c:v>
                </c:pt>
                <c:pt idx="3611">
                  <c:v>3.6914060000000002</c:v>
                </c:pt>
                <c:pt idx="3612">
                  <c:v>1.07666</c:v>
                </c:pt>
                <c:pt idx="3613">
                  <c:v>5.0756839999999999</c:v>
                </c:pt>
                <c:pt idx="3614">
                  <c:v>-2.109375</c:v>
                </c:pt>
                <c:pt idx="3615">
                  <c:v>0.2416992</c:v>
                </c:pt>
                <c:pt idx="3616">
                  <c:v>-7.9760739999999997</c:v>
                </c:pt>
                <c:pt idx="3617">
                  <c:v>-7.0384922799999998</c:v>
                </c:pt>
                <c:pt idx="3618">
                  <c:v>-5.0959779210000002</c:v>
                </c:pt>
                <c:pt idx="3619">
                  <c:v>-4.1433754450000002</c:v>
                </c:pt>
                <c:pt idx="3620">
                  <c:v>-2.1858404459999998</c:v>
                </c:pt>
                <c:pt idx="3621">
                  <c:v>-1.1726706730000001</c:v>
                </c:pt>
                <c:pt idx="3622">
                  <c:v>-0.227820943</c:v>
                </c:pt>
                <c:pt idx="3623">
                  <c:v>0.72429703000000001</c:v>
                </c:pt>
                <c:pt idx="3624">
                  <c:v>0.74707029999999996</c:v>
                </c:pt>
                <c:pt idx="3625">
                  <c:v>0.57473563999999999</c:v>
                </c:pt>
                <c:pt idx="3626">
                  <c:v>0.40511932699999997</c:v>
                </c:pt>
                <c:pt idx="3627">
                  <c:v>0.23079984200000001</c:v>
                </c:pt>
                <c:pt idx="3628">
                  <c:v>-0.113179112</c:v>
                </c:pt>
                <c:pt idx="3629">
                  <c:v>-0.28749859799999999</c:v>
                </c:pt>
                <c:pt idx="3630">
                  <c:v>-0.45983325800000002</c:v>
                </c:pt>
                <c:pt idx="3631">
                  <c:v>-0.54466299200000001</c:v>
                </c:pt>
                <c:pt idx="3632">
                  <c:v>-0.71898247800000004</c:v>
                </c:pt>
                <c:pt idx="3633">
                  <c:v>-1.3214202660000001</c:v>
                </c:pt>
                <c:pt idx="3634">
                  <c:v>-1.40625</c:v>
                </c:pt>
                <c:pt idx="3635">
                  <c:v>1.98133077</c:v>
                </c:pt>
                <c:pt idx="3636">
                  <c:v>5.2954100000000004</c:v>
                </c:pt>
                <c:pt idx="3637">
                  <c:v>4.3955649489999997</c:v>
                </c:pt>
                <c:pt idx="3638">
                  <c:v>2.6584381549999998</c:v>
                </c:pt>
                <c:pt idx="3639">
                  <c:v>0.86540375700000005</c:v>
                </c:pt>
                <c:pt idx="3640">
                  <c:v>-6.4874390000000002E-3</c:v>
                </c:pt>
                <c:pt idx="3641">
                  <c:v>-1.7578130000000001</c:v>
                </c:pt>
                <c:pt idx="3642">
                  <c:v>-1.818878561</c:v>
                </c:pt>
                <c:pt idx="3643">
                  <c:v>-1.9956302429999999</c:v>
                </c:pt>
                <c:pt idx="3644">
                  <c:v>-2.172381933</c:v>
                </c:pt>
                <c:pt idx="3645">
                  <c:v>-2.2894512370000002</c:v>
                </c:pt>
                <c:pt idx="3646">
                  <c:v>-2.4051373649999999</c:v>
                </c:pt>
                <c:pt idx="3647">
                  <c:v>-2.4662029190000001</c:v>
                </c:pt>
                <c:pt idx="3648">
                  <c:v>-2.582801356</c:v>
                </c:pt>
                <c:pt idx="3649">
                  <c:v>-2.64065913</c:v>
                </c:pt>
                <c:pt idx="3650">
                  <c:v>-2.7017246909999999</c:v>
                </c:pt>
                <c:pt idx="3651">
                  <c:v>-2.7026370000000002</c:v>
                </c:pt>
                <c:pt idx="3652">
                  <c:v>-2.4560472139999998</c:v>
                </c:pt>
                <c:pt idx="3653">
                  <c:v>-2.336641942</c:v>
                </c:pt>
                <c:pt idx="3654">
                  <c:v>-2.2152609989999998</c:v>
                </c:pt>
                <c:pt idx="3655">
                  <c:v>-1.221307803</c:v>
                </c:pt>
                <c:pt idx="3656">
                  <c:v>-1.09801291</c:v>
                </c:pt>
                <c:pt idx="3657">
                  <c:v>-0.110789393</c:v>
                </c:pt>
                <c:pt idx="3658">
                  <c:v>-0.1098633</c:v>
                </c:pt>
                <c:pt idx="3659">
                  <c:v>-0.15368420299999999</c:v>
                </c:pt>
                <c:pt idx="3660">
                  <c:v>-0.175423264</c:v>
                </c:pt>
                <c:pt idx="3661">
                  <c:v>-0.220095595</c:v>
                </c:pt>
                <c:pt idx="3662">
                  <c:v>-0.26390543900000002</c:v>
                </c:pt>
                <c:pt idx="3663">
                  <c:v>-0.28564450000000002</c:v>
                </c:pt>
                <c:pt idx="3664">
                  <c:v>-3.836116971</c:v>
                </c:pt>
                <c:pt idx="3665">
                  <c:v>-3.88916</c:v>
                </c:pt>
                <c:pt idx="3666">
                  <c:v>-3.3749740749999999</c:v>
                </c:pt>
                <c:pt idx="3667">
                  <c:v>-2.8483949690000001</c:v>
                </c:pt>
                <c:pt idx="3668">
                  <c:v>-2.0402002050000001</c:v>
                </c:pt>
                <c:pt idx="3669">
                  <c:v>-1.2524409999999999</c:v>
                </c:pt>
                <c:pt idx="3670">
                  <c:v>-1.2706273269999999</c:v>
                </c:pt>
                <c:pt idx="3671">
                  <c:v>-1.2886576700000001</c:v>
                </c:pt>
                <c:pt idx="3672">
                  <c:v>-1.324874339</c:v>
                </c:pt>
                <c:pt idx="3673">
                  <c:v>-1.34391401</c:v>
                </c:pt>
                <c:pt idx="3674">
                  <c:v>-1.3619443520000001</c:v>
                </c:pt>
                <c:pt idx="3675">
                  <c:v>-1.656109592</c:v>
                </c:pt>
                <c:pt idx="3676">
                  <c:v>-1.673855485</c:v>
                </c:pt>
                <c:pt idx="3677">
                  <c:v>-1.6918949999999999</c:v>
                </c:pt>
                <c:pt idx="3678">
                  <c:v>-2.8945550940000002</c:v>
                </c:pt>
                <c:pt idx="3679">
                  <c:v>-3.516723362</c:v>
                </c:pt>
                <c:pt idx="3680">
                  <c:v>-4.0972152590000004</c:v>
                </c:pt>
                <c:pt idx="3681">
                  <c:v>-5.2954100000000004</c:v>
                </c:pt>
                <c:pt idx="3682">
                  <c:v>0.61523439999999996</c:v>
                </c:pt>
                <c:pt idx="3683">
                  <c:v>2.3950200000000001</c:v>
                </c:pt>
                <c:pt idx="3684">
                  <c:v>0.70679651300000002</c:v>
                </c:pt>
                <c:pt idx="3685">
                  <c:v>-0.995279091</c:v>
                </c:pt>
                <c:pt idx="3686">
                  <c:v>-1.07666</c:v>
                </c:pt>
                <c:pt idx="3687">
                  <c:v>-1.078110999</c:v>
                </c:pt>
                <c:pt idx="3688">
                  <c:v>-1.0795502779999999</c:v>
                </c:pt>
                <c:pt idx="3689">
                  <c:v>-1.0824639949999999</c:v>
                </c:pt>
                <c:pt idx="3690">
                  <c:v>-1.0868638690000001</c:v>
                </c:pt>
                <c:pt idx="3691">
                  <c:v>-1.0897658670000001</c:v>
                </c:pt>
                <c:pt idx="3692">
                  <c:v>-1.091285716</c:v>
                </c:pt>
                <c:pt idx="3693">
                  <c:v>-1.0941650080000001</c:v>
                </c:pt>
                <c:pt idx="3694">
                  <c:v>-1.095650432</c:v>
                </c:pt>
                <c:pt idx="3695">
                  <c:v>-1.097090444</c:v>
                </c:pt>
                <c:pt idx="3696">
                  <c:v>-1.098609561</c:v>
                </c:pt>
                <c:pt idx="3697">
                  <c:v>-1.098633</c:v>
                </c:pt>
                <c:pt idx="3698">
                  <c:v>-5.8463335499999998</c:v>
                </c:pt>
                <c:pt idx="3699">
                  <c:v>-5.9985350000000004</c:v>
                </c:pt>
                <c:pt idx="3700">
                  <c:v>-5.0273355070000001</c:v>
                </c:pt>
                <c:pt idx="3701">
                  <c:v>-4.0934897619999999</c:v>
                </c:pt>
                <c:pt idx="3702">
                  <c:v>-3.1519816770000002</c:v>
                </c:pt>
                <c:pt idx="3703">
                  <c:v>-2.2104737069999998</c:v>
                </c:pt>
                <c:pt idx="3704">
                  <c:v>-1.216766056</c:v>
                </c:pt>
                <c:pt idx="3705">
                  <c:v>0.703125</c:v>
                </c:pt>
                <c:pt idx="3706">
                  <c:v>0.65390037099999998</c:v>
                </c:pt>
                <c:pt idx="3707">
                  <c:v>0.549398257</c:v>
                </c:pt>
                <c:pt idx="3708">
                  <c:v>0.54776864599999997</c:v>
                </c:pt>
                <c:pt idx="3709">
                  <c:v>0.39404191</c:v>
                </c:pt>
                <c:pt idx="3710">
                  <c:v>0.343187664</c:v>
                </c:pt>
                <c:pt idx="3711">
                  <c:v>0.18661557000000001</c:v>
                </c:pt>
                <c:pt idx="3712">
                  <c:v>3.1259215999999999E-2</c:v>
                </c:pt>
                <c:pt idx="3713">
                  <c:v>-7.1225275000000005E-2</c:v>
                </c:pt>
                <c:pt idx="3714">
                  <c:v>-0.175753254</c:v>
                </c:pt>
                <c:pt idx="3715">
                  <c:v>-0.277435875</c:v>
                </c:pt>
                <c:pt idx="3716">
                  <c:v>-0.38356759299999998</c:v>
                </c:pt>
                <c:pt idx="3717">
                  <c:v>-0.43439597499999999</c:v>
                </c:pt>
                <c:pt idx="3718">
                  <c:v>-0.486853961</c:v>
                </c:pt>
                <c:pt idx="3719">
                  <c:v>-0.53931195300000001</c:v>
                </c:pt>
                <c:pt idx="3720">
                  <c:v>-0.90087890000000004</c:v>
                </c:pt>
                <c:pt idx="3721">
                  <c:v>-1.28399353</c:v>
                </c:pt>
                <c:pt idx="3722">
                  <c:v>-1.3617088150000001</c:v>
                </c:pt>
                <c:pt idx="3723">
                  <c:v>-1.3623050000000001</c:v>
                </c:pt>
                <c:pt idx="3724">
                  <c:v>3.0102540000000002</c:v>
                </c:pt>
                <c:pt idx="3725">
                  <c:v>2.9458543800000001</c:v>
                </c:pt>
                <c:pt idx="3726">
                  <c:v>2.6128677219999998</c:v>
                </c:pt>
                <c:pt idx="3727">
                  <c:v>2.4783411129999999</c:v>
                </c:pt>
                <c:pt idx="3728">
                  <c:v>2.2128841540000002</c:v>
                </c:pt>
                <c:pt idx="3729">
                  <c:v>2.078357537</c:v>
                </c:pt>
                <c:pt idx="3730">
                  <c:v>0.87890630000000003</c:v>
                </c:pt>
                <c:pt idx="3731">
                  <c:v>-4.2996182919999999</c:v>
                </c:pt>
                <c:pt idx="3732">
                  <c:v>-4.3286129999999998</c:v>
                </c:pt>
                <c:pt idx="3733">
                  <c:v>-3.8973059029999999</c:v>
                </c:pt>
                <c:pt idx="3734">
                  <c:v>-3.4792895399999999</c:v>
                </c:pt>
                <c:pt idx="3735">
                  <c:v>-3.0445525070000001</c:v>
                </c:pt>
                <c:pt idx="3736">
                  <c:v>-2.1917991620000001</c:v>
                </c:pt>
                <c:pt idx="3737">
                  <c:v>-1.3456911840000001</c:v>
                </c:pt>
                <c:pt idx="3738">
                  <c:v>-0.90087890000000004</c:v>
                </c:pt>
                <c:pt idx="3739">
                  <c:v>1.6410559149999999</c:v>
                </c:pt>
                <c:pt idx="3740">
                  <c:v>6.7236330000000004</c:v>
                </c:pt>
                <c:pt idx="3741">
                  <c:v>5.1467909079999998</c:v>
                </c:pt>
                <c:pt idx="3742">
                  <c:v>0.57128909999999999</c:v>
                </c:pt>
                <c:pt idx="3743">
                  <c:v>0.497789276</c:v>
                </c:pt>
                <c:pt idx="3744">
                  <c:v>-0.90087890000000004</c:v>
                </c:pt>
                <c:pt idx="3745">
                  <c:v>-6.3940429999999999</c:v>
                </c:pt>
                <c:pt idx="3746">
                  <c:v>-1.263446941</c:v>
                </c:pt>
                <c:pt idx="3747">
                  <c:v>-1.247492687</c:v>
                </c:pt>
                <c:pt idx="3748">
                  <c:v>-0.25214984800000001</c:v>
                </c:pt>
                <c:pt idx="3749">
                  <c:v>-0.21972659999999999</c:v>
                </c:pt>
                <c:pt idx="3750">
                  <c:v>-0.26415949399999999</c:v>
                </c:pt>
                <c:pt idx="3751">
                  <c:v>-0.31260838499999999</c:v>
                </c:pt>
                <c:pt idx="3752">
                  <c:v>-0.49764814800000001</c:v>
                </c:pt>
                <c:pt idx="3753">
                  <c:v>-0.68668056200000005</c:v>
                </c:pt>
                <c:pt idx="3754">
                  <c:v>-0.73258442800000001</c:v>
                </c:pt>
                <c:pt idx="3755">
                  <c:v>-0.87172031900000002</c:v>
                </c:pt>
                <c:pt idx="3756">
                  <c:v>-0.96604973500000002</c:v>
                </c:pt>
                <c:pt idx="3757">
                  <c:v>-0.96679689999999996</c:v>
                </c:pt>
                <c:pt idx="3758">
                  <c:v>-1.444747502</c:v>
                </c:pt>
                <c:pt idx="3759">
                  <c:v>-1.961250454</c:v>
                </c:pt>
                <c:pt idx="3760">
                  <c:v>-2.4431551539999998</c:v>
                </c:pt>
                <c:pt idx="3761">
                  <c:v>-2.9443359999999998</c:v>
                </c:pt>
                <c:pt idx="3762">
                  <c:v>1.6918949999999999</c:v>
                </c:pt>
                <c:pt idx="3763">
                  <c:v>1.608858463</c:v>
                </c:pt>
                <c:pt idx="3764">
                  <c:v>1.5234983419999999</c:v>
                </c:pt>
                <c:pt idx="3765">
                  <c:v>1.4819906380000001</c:v>
                </c:pt>
                <c:pt idx="3766">
                  <c:v>1.396630512</c:v>
                </c:pt>
                <c:pt idx="3767">
                  <c:v>1.3551228070000001</c:v>
                </c:pt>
                <c:pt idx="3768">
                  <c:v>1.1425780000000001</c:v>
                </c:pt>
                <c:pt idx="3769">
                  <c:v>-1.032715</c:v>
                </c:pt>
                <c:pt idx="3770">
                  <c:v>-1.0336710760000001</c:v>
                </c:pt>
                <c:pt idx="3771">
                  <c:v>-1.036538827</c:v>
                </c:pt>
                <c:pt idx="3772">
                  <c:v>-1.048959202</c:v>
                </c:pt>
                <c:pt idx="3773">
                  <c:v>-1.0518346119999999</c:v>
                </c:pt>
                <c:pt idx="3774">
                  <c:v>-1.0528055300000001</c:v>
                </c:pt>
                <c:pt idx="3775">
                  <c:v>-1.0537467650000001</c:v>
                </c:pt>
                <c:pt idx="3776">
                  <c:v>-1.0546880000000001</c:v>
                </c:pt>
                <c:pt idx="3777">
                  <c:v>0.23202394000000001</c:v>
                </c:pt>
                <c:pt idx="3778">
                  <c:v>0.67545979300000003</c:v>
                </c:pt>
                <c:pt idx="3779">
                  <c:v>2.8125</c:v>
                </c:pt>
                <c:pt idx="3780">
                  <c:v>-2.7026370000000002</c:v>
                </c:pt>
                <c:pt idx="3781">
                  <c:v>-1.636909768</c:v>
                </c:pt>
                <c:pt idx="3782">
                  <c:v>-0.57128909999999999</c:v>
                </c:pt>
                <c:pt idx="3783">
                  <c:v>-0.83225178399999999</c:v>
                </c:pt>
                <c:pt idx="3784">
                  <c:v>-1.086991799</c:v>
                </c:pt>
                <c:pt idx="3785">
                  <c:v>-1.3418614740000001</c:v>
                </c:pt>
                <c:pt idx="3786">
                  <c:v>-1.5986757119999999</c:v>
                </c:pt>
                <c:pt idx="3787">
                  <c:v>-1.8676759999999999</c:v>
                </c:pt>
                <c:pt idx="3788">
                  <c:v>-1.8340340159999999</c:v>
                </c:pt>
                <c:pt idx="3789">
                  <c:v>-1.7664973559999999</c:v>
                </c:pt>
                <c:pt idx="3790">
                  <c:v>-1.700274702</c:v>
                </c:pt>
                <c:pt idx="3791">
                  <c:v>-1.3623050000000001</c:v>
                </c:pt>
                <c:pt idx="3792">
                  <c:v>0.69146959100000005</c:v>
                </c:pt>
                <c:pt idx="3793">
                  <c:v>0.89928466699999998</c:v>
                </c:pt>
                <c:pt idx="3794">
                  <c:v>0.90087890000000004</c:v>
                </c:pt>
                <c:pt idx="3795">
                  <c:v>0.87916596999999996</c:v>
                </c:pt>
                <c:pt idx="3796">
                  <c:v>0.84991138499999996</c:v>
                </c:pt>
                <c:pt idx="3797">
                  <c:v>0.82791275799999997</c:v>
                </c:pt>
                <c:pt idx="3798">
                  <c:v>0.65917970000000004</c:v>
                </c:pt>
                <c:pt idx="3799">
                  <c:v>1.322997977</c:v>
                </c:pt>
                <c:pt idx="3800">
                  <c:v>1.5600590000000001</c:v>
                </c:pt>
                <c:pt idx="3801">
                  <c:v>-1.0546880000000001</c:v>
                </c:pt>
                <c:pt idx="3802">
                  <c:v>-0.52812896200000004</c:v>
                </c:pt>
                <c:pt idx="3803">
                  <c:v>1.5652897990000001</c:v>
                </c:pt>
                <c:pt idx="3804">
                  <c:v>2.087402</c:v>
                </c:pt>
                <c:pt idx="3805">
                  <c:v>2.0118108239999999</c:v>
                </c:pt>
                <c:pt idx="3806">
                  <c:v>1.618736693</c:v>
                </c:pt>
                <c:pt idx="3807">
                  <c:v>-0.33202356900000002</c:v>
                </c:pt>
                <c:pt idx="3808">
                  <c:v>-0.41308387899999999</c:v>
                </c:pt>
                <c:pt idx="3809">
                  <c:v>-0.413669852</c:v>
                </c:pt>
                <c:pt idx="3810">
                  <c:v>-0.56907124899999995</c:v>
                </c:pt>
                <c:pt idx="3811">
                  <c:v>-0.72263658399999997</c:v>
                </c:pt>
                <c:pt idx="3812">
                  <c:v>-0.72509769999999996</c:v>
                </c:pt>
                <c:pt idx="3813">
                  <c:v>-1.3388706939999999</c:v>
                </c:pt>
                <c:pt idx="3814">
                  <c:v>-1.541912556</c:v>
                </c:pt>
                <c:pt idx="3815">
                  <c:v>-1.756211567</c:v>
                </c:pt>
                <c:pt idx="3816">
                  <c:v>-2.163844428</c:v>
                </c:pt>
                <c:pt idx="3817">
                  <c:v>-2.5810820080000001</c:v>
                </c:pt>
                <c:pt idx="3818">
                  <c:v>-2.790527</c:v>
                </c:pt>
                <c:pt idx="3819">
                  <c:v>-2.091677953</c:v>
                </c:pt>
                <c:pt idx="3820">
                  <c:v>-1.409492918</c:v>
                </c:pt>
                <c:pt idx="3821">
                  <c:v>-0.72696082200000001</c:v>
                </c:pt>
                <c:pt idx="3822">
                  <c:v>0.68115230000000004</c:v>
                </c:pt>
                <c:pt idx="3823">
                  <c:v>0.49007177699999999</c:v>
                </c:pt>
                <c:pt idx="3824">
                  <c:v>0.100267527</c:v>
                </c:pt>
                <c:pt idx="3825">
                  <c:v>-0.37821770300000002</c:v>
                </c:pt>
                <c:pt idx="3826">
                  <c:v>-0.69002190500000005</c:v>
                </c:pt>
                <c:pt idx="3827">
                  <c:v>-0.88267027200000003</c:v>
                </c:pt>
                <c:pt idx="3828">
                  <c:v>-1.075220632</c:v>
                </c:pt>
                <c:pt idx="3829">
                  <c:v>-1.2785499060000001</c:v>
                </c:pt>
                <c:pt idx="3830">
                  <c:v>-1.4711982729999999</c:v>
                </c:pt>
                <c:pt idx="3831">
                  <c:v>-1.663748633</c:v>
                </c:pt>
                <c:pt idx="3832">
                  <c:v>-1.6699219999999999</c:v>
                </c:pt>
                <c:pt idx="3833">
                  <c:v>-1.4854212369999999</c:v>
                </c:pt>
                <c:pt idx="3834">
                  <c:v>-1.3942839899999999</c:v>
                </c:pt>
                <c:pt idx="3835">
                  <c:v>-1.2973028200000001</c:v>
                </c:pt>
                <c:pt idx="3836">
                  <c:v>-1.1157240239999999</c:v>
                </c:pt>
                <c:pt idx="3837">
                  <c:v>-1.0245404</c:v>
                </c:pt>
                <c:pt idx="3838">
                  <c:v>-0.92830131599999999</c:v>
                </c:pt>
                <c:pt idx="3839">
                  <c:v>-0.74523834899999997</c:v>
                </c:pt>
                <c:pt idx="3840">
                  <c:v>-0.46667838299999997</c:v>
                </c:pt>
                <c:pt idx="3841">
                  <c:v>-0.28217763099999998</c:v>
                </c:pt>
                <c:pt idx="3842">
                  <c:v>0</c:v>
                </c:pt>
                <c:pt idx="3843">
                  <c:v>6.1801666999999998E-2</c:v>
                </c:pt>
                <c:pt idx="3844">
                  <c:v>9.2468522999999997E-2</c:v>
                </c:pt>
                <c:pt idx="3845">
                  <c:v>0.124835627</c:v>
                </c:pt>
                <c:pt idx="3846">
                  <c:v>0.15548688199999999</c:v>
                </c:pt>
                <c:pt idx="3847">
                  <c:v>0.18615373900000001</c:v>
                </c:pt>
                <c:pt idx="3848">
                  <c:v>0.24967125400000001</c:v>
                </c:pt>
                <c:pt idx="3849">
                  <c:v>0.280322509</c:v>
                </c:pt>
                <c:pt idx="3850">
                  <c:v>0.343356465</c:v>
                </c:pt>
                <c:pt idx="3851">
                  <c:v>0.40564169100000003</c:v>
                </c:pt>
                <c:pt idx="3852">
                  <c:v>0.43630854800000002</c:v>
                </c:pt>
                <c:pt idx="3853">
                  <c:v>0.49957648500000001</c:v>
                </c:pt>
                <c:pt idx="3854">
                  <c:v>0.52999376300000001</c:v>
                </c:pt>
                <c:pt idx="3855">
                  <c:v>0.56064501799999999</c:v>
                </c:pt>
                <c:pt idx="3856">
                  <c:v>0.59301212199999997</c:v>
                </c:pt>
                <c:pt idx="3857">
                  <c:v>0.5932617</c:v>
                </c:pt>
                <c:pt idx="3858">
                  <c:v>0.30567977200000002</c:v>
                </c:pt>
                <c:pt idx="3859">
                  <c:v>7.6670339999999997E-3</c:v>
                </c:pt>
                <c:pt idx="3860">
                  <c:v>-0.13667486500000001</c:v>
                </c:pt>
                <c:pt idx="3861">
                  <c:v>-0.28109019899999999</c:v>
                </c:pt>
                <c:pt idx="3862">
                  <c:v>-0.28564450000000002</c:v>
                </c:pt>
                <c:pt idx="3863">
                  <c:v>5.7557627480000004</c:v>
                </c:pt>
                <c:pt idx="3864">
                  <c:v>5.8007809999999997</c:v>
                </c:pt>
                <c:pt idx="3865">
                  <c:v>5.3351495990000002</c:v>
                </c:pt>
                <c:pt idx="3866">
                  <c:v>1.032715</c:v>
                </c:pt>
                <c:pt idx="3867">
                  <c:v>-3.5815429999999999</c:v>
                </c:pt>
                <c:pt idx="3868">
                  <c:v>-3.4026954150000002</c:v>
                </c:pt>
                <c:pt idx="3869">
                  <c:v>-3.3131523500000002</c:v>
                </c:pt>
                <c:pt idx="3870">
                  <c:v>-3.253143889</c:v>
                </c:pt>
                <c:pt idx="3871">
                  <c:v>-3.194775409</c:v>
                </c:pt>
                <c:pt idx="3872">
                  <c:v>-3.1652258980000001</c:v>
                </c:pt>
                <c:pt idx="3873">
                  <c:v>-3.1640630000000001</c:v>
                </c:pt>
                <c:pt idx="3874">
                  <c:v>-2.2465906879999999</c:v>
                </c:pt>
                <c:pt idx="3875">
                  <c:v>-1.9254444529999999</c:v>
                </c:pt>
                <c:pt idx="3876">
                  <c:v>-1.621322787</c:v>
                </c:pt>
                <c:pt idx="3877">
                  <c:v>0.54931640000000004</c:v>
                </c:pt>
                <c:pt idx="3878">
                  <c:v>0.46536687199999999</c:v>
                </c:pt>
                <c:pt idx="3879">
                  <c:v>0.44143864900000002</c:v>
                </c:pt>
                <c:pt idx="3880">
                  <c:v>0.41788196500000002</c:v>
                </c:pt>
                <c:pt idx="3881">
                  <c:v>0.405351558</c:v>
                </c:pt>
                <c:pt idx="3882">
                  <c:v>0.39366610000000002</c:v>
                </c:pt>
                <c:pt idx="3883">
                  <c:v>0.369456228</c:v>
                </c:pt>
                <c:pt idx="3884">
                  <c:v>0.345899544</c:v>
                </c:pt>
                <c:pt idx="3885">
                  <c:v>0.33402232500000001</c:v>
                </c:pt>
                <c:pt idx="3886">
                  <c:v>0.32159379100000002</c:v>
                </c:pt>
                <c:pt idx="3887">
                  <c:v>0.30981245400000001</c:v>
                </c:pt>
                <c:pt idx="3888">
                  <c:v>0.20221036000000001</c:v>
                </c:pt>
                <c:pt idx="3889">
                  <c:v>0.189775834</c:v>
                </c:pt>
                <c:pt idx="3890">
                  <c:v>0.17800048900000001</c:v>
                </c:pt>
                <c:pt idx="3891">
                  <c:v>0.15425204200000001</c:v>
                </c:pt>
                <c:pt idx="3892">
                  <c:v>0.14182351000000001</c:v>
                </c:pt>
                <c:pt idx="3893">
                  <c:v>9.4332609999999997E-2</c:v>
                </c:pt>
                <c:pt idx="3894">
                  <c:v>8.1898084999999995E-2</c:v>
                </c:pt>
                <c:pt idx="3895">
                  <c:v>7.0116745999999994E-2</c:v>
                </c:pt>
                <c:pt idx="3896">
                  <c:v>5.8341400000000002E-2</c:v>
                </c:pt>
                <c:pt idx="3897">
                  <c:v>2.2350189999999999E-2</c:v>
                </c:pt>
                <c:pt idx="3898">
                  <c:v>2.1972660000000001E-2</c:v>
                </c:pt>
                <c:pt idx="3899">
                  <c:v>-1.336944125</c:v>
                </c:pt>
                <c:pt idx="3900">
                  <c:v>-2.6647922340000001</c:v>
                </c:pt>
                <c:pt idx="3901">
                  <c:v>-3.9919648259999998</c:v>
                </c:pt>
                <c:pt idx="3902">
                  <c:v>-5.3306194519999996</c:v>
                </c:pt>
                <c:pt idx="3903">
                  <c:v>-5.3833010000000003</c:v>
                </c:pt>
                <c:pt idx="3904">
                  <c:v>-3.5160927040000001</c:v>
                </c:pt>
                <c:pt idx="3905">
                  <c:v>-1.6769486330000001</c:v>
                </c:pt>
                <c:pt idx="3906">
                  <c:v>-1.6479490000000001</c:v>
                </c:pt>
                <c:pt idx="3907">
                  <c:v>-1.636354128</c:v>
                </c:pt>
                <c:pt idx="3908">
                  <c:v>-1.623920349</c:v>
                </c:pt>
                <c:pt idx="3909">
                  <c:v>-1.5879313020000001</c:v>
                </c:pt>
                <c:pt idx="3910">
                  <c:v>-1.5404492489999999</c:v>
                </c:pt>
                <c:pt idx="3911">
                  <c:v>-1.504460202</c:v>
                </c:pt>
                <c:pt idx="3912">
                  <c:v>-1.492583698</c:v>
                </c:pt>
                <c:pt idx="3913">
                  <c:v>-1.252626757</c:v>
                </c:pt>
                <c:pt idx="3914">
                  <c:v>-1.2524409999999999</c:v>
                </c:pt>
                <c:pt idx="3915">
                  <c:v>-4.5904292089999998</c:v>
                </c:pt>
                <c:pt idx="3916">
                  <c:v>-8.1699249439999999</c:v>
                </c:pt>
                <c:pt idx="3917">
                  <c:v>-8.1958009999999994</c:v>
                </c:pt>
                <c:pt idx="3918">
                  <c:v>0</c:v>
                </c:pt>
                <c:pt idx="3919">
                  <c:v>-6.1743160000000001</c:v>
                </c:pt>
                <c:pt idx="3920">
                  <c:v>0.39550780000000002</c:v>
                </c:pt>
                <c:pt idx="3921">
                  <c:v>0.57128909999999999</c:v>
                </c:pt>
                <c:pt idx="3922">
                  <c:v>0.90208076400000003</c:v>
                </c:pt>
                <c:pt idx="3923">
                  <c:v>0.98528501599999996</c:v>
                </c:pt>
                <c:pt idx="3924">
                  <c:v>1.1477668379999999</c:v>
                </c:pt>
                <c:pt idx="3925">
                  <c:v>1.2315910859999999</c:v>
                </c:pt>
                <c:pt idx="3926">
                  <c:v>1.3128113370000001</c:v>
                </c:pt>
                <c:pt idx="3927">
                  <c:v>1.479839836</c:v>
                </c:pt>
                <c:pt idx="3928">
                  <c:v>2.3071290000000002</c:v>
                </c:pt>
                <c:pt idx="3929">
                  <c:v>-0.45928092799999998</c:v>
                </c:pt>
                <c:pt idx="3930">
                  <c:v>-0.4614258</c:v>
                </c:pt>
                <c:pt idx="3931">
                  <c:v>-0.86136680399999999</c:v>
                </c:pt>
                <c:pt idx="3932">
                  <c:v>-0.97544182599999996</c:v>
                </c:pt>
                <c:pt idx="3933">
                  <c:v>-1.00352139</c:v>
                </c:pt>
                <c:pt idx="3934">
                  <c:v>-1.003964152</c:v>
                </c:pt>
                <c:pt idx="3935">
                  <c:v>-1.032715</c:v>
                </c:pt>
                <c:pt idx="3936">
                  <c:v>-1.6755419090000001</c:v>
                </c:pt>
                <c:pt idx="3937">
                  <c:v>-2.33102418</c:v>
                </c:pt>
                <c:pt idx="3938">
                  <c:v>-2.96898369</c:v>
                </c:pt>
                <c:pt idx="3939">
                  <c:v>-3.2980227929999999</c:v>
                </c:pt>
                <c:pt idx="3940">
                  <c:v>-3.9535050639999998</c:v>
                </c:pt>
                <c:pt idx="3941">
                  <c:v>-4.2724848189999998</c:v>
                </c:pt>
                <c:pt idx="3942">
                  <c:v>-4.5913022989999996</c:v>
                </c:pt>
                <c:pt idx="3943">
                  <c:v>-5.5709562740000003</c:v>
                </c:pt>
                <c:pt idx="3944">
                  <c:v>-6.2238425709999996</c:v>
                </c:pt>
                <c:pt idx="3945">
                  <c:v>-6.5478519999999998</c:v>
                </c:pt>
                <c:pt idx="3946">
                  <c:v>-0.92285159999999999</c:v>
                </c:pt>
                <c:pt idx="3947">
                  <c:v>-2.087402</c:v>
                </c:pt>
                <c:pt idx="3948">
                  <c:v>5.4272460000000002</c:v>
                </c:pt>
                <c:pt idx="3949">
                  <c:v>0.32958979999999999</c:v>
                </c:pt>
                <c:pt idx="3950">
                  <c:v>-0.37151996599999998</c:v>
                </c:pt>
                <c:pt idx="3951">
                  <c:v>-0.37353520000000001</c:v>
                </c:pt>
                <c:pt idx="3952">
                  <c:v>1.2885074489999999</c:v>
                </c:pt>
                <c:pt idx="3953">
                  <c:v>2.8864331070000002</c:v>
                </c:pt>
                <c:pt idx="3954">
                  <c:v>4.6142580000000004</c:v>
                </c:pt>
                <c:pt idx="3955">
                  <c:v>3.9953132280000001</c:v>
                </c:pt>
                <c:pt idx="3956">
                  <c:v>-2.2631839999999999</c:v>
                </c:pt>
                <c:pt idx="3957">
                  <c:v>-2.0329583869999999</c:v>
                </c:pt>
                <c:pt idx="3958">
                  <c:v>-2.011701956</c:v>
                </c:pt>
                <c:pt idx="3959">
                  <c:v>-1.9914307819999999</c:v>
                </c:pt>
                <c:pt idx="3960">
                  <c:v>-1.928479039</c:v>
                </c:pt>
                <c:pt idx="3961">
                  <c:v>-1.886616026</c:v>
                </c:pt>
                <c:pt idx="3962">
                  <c:v>-1.864866964</c:v>
                </c:pt>
                <c:pt idx="3963">
                  <c:v>-1.8442708649999999</c:v>
                </c:pt>
                <c:pt idx="3964">
                  <c:v>-1.8236642830000001</c:v>
                </c:pt>
                <c:pt idx="3965">
                  <c:v>-1.801758</c:v>
                </c:pt>
                <c:pt idx="3966">
                  <c:v>1.820154222</c:v>
                </c:pt>
                <c:pt idx="3967">
                  <c:v>5.4717847580000001</c:v>
                </c:pt>
                <c:pt idx="3968">
                  <c:v>5.5590820000000001</c:v>
                </c:pt>
                <c:pt idx="3969">
                  <c:v>1.8965630840000001</c:v>
                </c:pt>
                <c:pt idx="3970">
                  <c:v>0.67900147300000002</c:v>
                </c:pt>
                <c:pt idx="3971">
                  <c:v>-0.59633445299999999</c:v>
                </c:pt>
                <c:pt idx="3972">
                  <c:v>-1.8046767050000001</c:v>
                </c:pt>
                <c:pt idx="3973">
                  <c:v>-1.8237300000000001</c:v>
                </c:pt>
                <c:pt idx="3974">
                  <c:v>-1.6619450849999999</c:v>
                </c:pt>
                <c:pt idx="3975">
                  <c:v>-1.2586780639999999</c:v>
                </c:pt>
                <c:pt idx="3976">
                  <c:v>-1.0975009010000001</c:v>
                </c:pt>
                <c:pt idx="3977">
                  <c:v>-0.93377116999999998</c:v>
                </c:pt>
                <c:pt idx="3978">
                  <c:v>-0.851602419</c:v>
                </c:pt>
                <c:pt idx="3979">
                  <c:v>-0.773242282</c:v>
                </c:pt>
                <c:pt idx="3980">
                  <c:v>-0.68916923799999996</c:v>
                </c:pt>
                <c:pt idx="3981">
                  <c:v>-0.52734380000000003</c:v>
                </c:pt>
                <c:pt idx="3982">
                  <c:v>-0.350686371</c:v>
                </c:pt>
                <c:pt idx="3983">
                  <c:v>-0.33274460099999997</c:v>
                </c:pt>
                <c:pt idx="3984">
                  <c:v>-0.31563445200000001</c:v>
                </c:pt>
                <c:pt idx="3985">
                  <c:v>-0.297276871</c:v>
                </c:pt>
                <c:pt idx="3986">
                  <c:v>-0.26249920900000001</c:v>
                </c:pt>
                <c:pt idx="3987">
                  <c:v>-0.226748372</c:v>
                </c:pt>
                <c:pt idx="3988">
                  <c:v>-0.20936396600000001</c:v>
                </c:pt>
                <c:pt idx="3989">
                  <c:v>-0.138419658</c:v>
                </c:pt>
                <c:pt idx="3990">
                  <c:v>-0.121035251</c:v>
                </c:pt>
                <c:pt idx="3991">
                  <c:v>-5.0232496000000001E-2</c:v>
                </c:pt>
                <c:pt idx="3992">
                  <c:v>-1.4481661E-2</c:v>
                </c:pt>
                <c:pt idx="3993">
                  <c:v>3.8237772000000003E-2</c:v>
                </c:pt>
                <c:pt idx="3994">
                  <c:v>5.6595353000000001E-2</c:v>
                </c:pt>
                <c:pt idx="3995">
                  <c:v>7.3979760000000006E-2</c:v>
                </c:pt>
                <c:pt idx="3996">
                  <c:v>0.1098633</c:v>
                </c:pt>
                <c:pt idx="3997">
                  <c:v>-4.8591306860000003</c:v>
                </c:pt>
                <c:pt idx="3998">
                  <c:v>-4.899902</c:v>
                </c:pt>
                <c:pt idx="3999">
                  <c:v>-4.7293654040000002</c:v>
                </c:pt>
                <c:pt idx="4000">
                  <c:v>-4.5478969969999996</c:v>
                </c:pt>
                <c:pt idx="4001">
                  <c:v>-0.52734380000000003</c:v>
                </c:pt>
                <c:pt idx="4002">
                  <c:v>-0.59077488099999997</c:v>
                </c:pt>
                <c:pt idx="4003">
                  <c:v>-0.62689780799999995</c:v>
                </c:pt>
                <c:pt idx="4004">
                  <c:v>-0.63578946599999997</c:v>
                </c:pt>
                <c:pt idx="4005">
                  <c:v>-0.65406123599999999</c:v>
                </c:pt>
                <c:pt idx="4006">
                  <c:v>-0.67212495999999999</c:v>
                </c:pt>
                <c:pt idx="4007">
                  <c:v>-0.68115230000000004</c:v>
                </c:pt>
                <c:pt idx="4008">
                  <c:v>-1.106925962</c:v>
                </c:pt>
                <c:pt idx="4009">
                  <c:v>-1.1480982749999999</c:v>
                </c:pt>
                <c:pt idx="4010">
                  <c:v>-1.1922722880000001</c:v>
                </c:pt>
                <c:pt idx="4011">
                  <c:v>-1.233125274</c:v>
                </c:pt>
                <c:pt idx="4012">
                  <c:v>-1.3191315530000001</c:v>
                </c:pt>
                <c:pt idx="4013">
                  <c:v>-1.360985106</c:v>
                </c:pt>
                <c:pt idx="4014">
                  <c:v>-1.3623050000000001</c:v>
                </c:pt>
                <c:pt idx="4015">
                  <c:v>-1.376208114</c:v>
                </c:pt>
                <c:pt idx="4016">
                  <c:v>-1.383079285</c:v>
                </c:pt>
                <c:pt idx="4017">
                  <c:v>-1.39719909</c:v>
                </c:pt>
                <c:pt idx="4018">
                  <c:v>-1.410993857</c:v>
                </c:pt>
                <c:pt idx="4019">
                  <c:v>-1.4251171570000001</c:v>
                </c:pt>
                <c:pt idx="4020">
                  <c:v>-1.4392369599999999</c:v>
                </c:pt>
                <c:pt idx="4021">
                  <c:v>-1.446108132</c:v>
                </c:pt>
                <c:pt idx="4022">
                  <c:v>-1.4602279359999999</c:v>
                </c:pt>
                <c:pt idx="4023">
                  <c:v>-1.4739667839999999</c:v>
                </c:pt>
                <c:pt idx="4024">
                  <c:v>-1.481002221</c:v>
                </c:pt>
                <c:pt idx="4025">
                  <c:v>-1.4878698969999999</c:v>
                </c:pt>
                <c:pt idx="4026">
                  <c:v>-1.502101541</c:v>
                </c:pt>
                <c:pt idx="4027">
                  <c:v>-1.5090251379999999</c:v>
                </c:pt>
                <c:pt idx="4028">
                  <c:v>-1.51589631</c:v>
                </c:pt>
                <c:pt idx="4029">
                  <c:v>-1.516113</c:v>
                </c:pt>
                <c:pt idx="4030">
                  <c:v>3.2988364899999998</c:v>
                </c:pt>
                <c:pt idx="4031">
                  <c:v>8.0037020670000008</c:v>
                </c:pt>
                <c:pt idx="4032">
                  <c:v>8.0419920000000005</c:v>
                </c:pt>
                <c:pt idx="4033">
                  <c:v>7.2077331259999999</c:v>
                </c:pt>
                <c:pt idx="4034">
                  <c:v>5.5058450969999999</c:v>
                </c:pt>
                <c:pt idx="4035">
                  <c:v>4.6181080919999999</c:v>
                </c:pt>
                <c:pt idx="4036">
                  <c:v>3.7774318990000002</c:v>
                </c:pt>
                <c:pt idx="4037">
                  <c:v>-0.52734380000000003</c:v>
                </c:pt>
                <c:pt idx="4038">
                  <c:v>4.196777</c:v>
                </c:pt>
                <c:pt idx="4039">
                  <c:v>0.9448242</c:v>
                </c:pt>
                <c:pt idx="4040">
                  <c:v>7.2290039999999998</c:v>
                </c:pt>
                <c:pt idx="4041">
                  <c:v>-1.1645509999999999</c:v>
                </c:pt>
                <c:pt idx="4042">
                  <c:v>-0.30761719999999998</c:v>
                </c:pt>
                <c:pt idx="4043">
                  <c:v>-3.853869295</c:v>
                </c:pt>
                <c:pt idx="4044">
                  <c:v>-7.4267580000000004</c:v>
                </c:pt>
                <c:pt idx="4045">
                  <c:v>1.779785</c:v>
                </c:pt>
                <c:pt idx="4046">
                  <c:v>1.631009532</c:v>
                </c:pt>
                <c:pt idx="4047">
                  <c:v>1.4703166320000001</c:v>
                </c:pt>
                <c:pt idx="4048">
                  <c:v>1.3215411640000001</c:v>
                </c:pt>
                <c:pt idx="4049">
                  <c:v>1.010919509</c:v>
                </c:pt>
                <c:pt idx="4050">
                  <c:v>0.85860725900000001</c:v>
                </c:pt>
                <c:pt idx="4051">
                  <c:v>0.707448297</c:v>
                </c:pt>
                <c:pt idx="4052">
                  <c:v>0.244514392</c:v>
                </c:pt>
                <c:pt idx="4053">
                  <c:v>9.3355430000000003E-2</c:v>
                </c:pt>
                <c:pt idx="4054">
                  <c:v>-6.6184163000000004E-2</c:v>
                </c:pt>
                <c:pt idx="4055">
                  <c:v>-0.217343125</c:v>
                </c:pt>
                <c:pt idx="4056">
                  <c:v>-0.21972659999999999</c:v>
                </c:pt>
                <c:pt idx="4057">
                  <c:v>0.46318583800000002</c:v>
                </c:pt>
                <c:pt idx="4058">
                  <c:v>0.79808374800000004</c:v>
                </c:pt>
                <c:pt idx="4059">
                  <c:v>1.132811367</c:v>
                </c:pt>
                <c:pt idx="4060">
                  <c:v>1.478270663</c:v>
                </c:pt>
                <c:pt idx="4061">
                  <c:v>1.8131686140000001</c:v>
                </c:pt>
                <c:pt idx="4062">
                  <c:v>1.8237300000000001</c:v>
                </c:pt>
                <c:pt idx="4063">
                  <c:v>1.5180787920000001</c:v>
                </c:pt>
                <c:pt idx="4064">
                  <c:v>1.2197158530000001</c:v>
                </c:pt>
                <c:pt idx="4065">
                  <c:v>0.62040868900000001</c:v>
                </c:pt>
                <c:pt idx="4066">
                  <c:v>0.30534347899999997</c:v>
                </c:pt>
                <c:pt idx="4067">
                  <c:v>4.5511170000000004E-3</c:v>
                </c:pt>
                <c:pt idx="4068">
                  <c:v>-0.29396368499999997</c:v>
                </c:pt>
                <c:pt idx="4069">
                  <c:v>-1.511405981</c:v>
                </c:pt>
                <c:pt idx="4070">
                  <c:v>-1.516113</c:v>
                </c:pt>
                <c:pt idx="4071">
                  <c:v>-1.0918613429999999</c:v>
                </c:pt>
                <c:pt idx="4072">
                  <c:v>-0.95226656499999995</c:v>
                </c:pt>
                <c:pt idx="4073">
                  <c:v>-0.80493231799999998</c:v>
                </c:pt>
                <c:pt idx="4074">
                  <c:v>-0.66540853899999997</c:v>
                </c:pt>
                <c:pt idx="4075">
                  <c:v>-0.52581377699999998</c:v>
                </c:pt>
                <c:pt idx="4076">
                  <c:v>-0.38515392399999998</c:v>
                </c:pt>
                <c:pt idx="4077">
                  <c:v>-9.8295898000000007E-2</c:v>
                </c:pt>
                <c:pt idx="4078">
                  <c:v>4.1298863999999998E-2</c:v>
                </c:pt>
                <c:pt idx="4079">
                  <c:v>4.5701143E-2</c:v>
                </c:pt>
                <c:pt idx="4080">
                  <c:v>0.32822790600000001</c:v>
                </c:pt>
                <c:pt idx="4081">
                  <c:v>0.46775166899999998</c:v>
                </c:pt>
                <c:pt idx="4082">
                  <c:v>0.61508593199999995</c:v>
                </c:pt>
                <c:pt idx="4083">
                  <c:v>0.90087890000000004</c:v>
                </c:pt>
                <c:pt idx="4084">
                  <c:v>0.25209299800000001</c:v>
                </c:pt>
                <c:pt idx="4085">
                  <c:v>-9.3094392999999998E-2</c:v>
                </c:pt>
                <c:pt idx="4086">
                  <c:v>-0.75485602399999996</c:v>
                </c:pt>
                <c:pt idx="4087">
                  <c:v>-4.4165039999999998</c:v>
                </c:pt>
                <c:pt idx="4088">
                  <c:v>-3.1458758470000001</c:v>
                </c:pt>
                <c:pt idx="4089">
                  <c:v>-2.5232363910000002</c:v>
                </c:pt>
                <c:pt idx="4090">
                  <c:v>-1.2380324519999999</c:v>
                </c:pt>
                <c:pt idx="4091">
                  <c:v>-0.61507607900000005</c:v>
                </c:pt>
                <c:pt idx="4092">
                  <c:v>1.2633225E-2</c:v>
                </c:pt>
                <c:pt idx="4093">
                  <c:v>1.282944536</c:v>
                </c:pt>
                <c:pt idx="4094">
                  <c:v>2.5532558480000001</c:v>
                </c:pt>
                <c:pt idx="4095">
                  <c:v>3.186035</c:v>
                </c:pt>
                <c:pt idx="4096">
                  <c:v>1.6559935800000001</c:v>
                </c:pt>
                <c:pt idx="4097">
                  <c:v>-1.5756753100000001</c:v>
                </c:pt>
                <c:pt idx="4098">
                  <c:v>-3.1302291310000001</c:v>
                </c:pt>
                <c:pt idx="4099">
                  <c:v>-3.14209</c:v>
                </c:pt>
                <c:pt idx="4100">
                  <c:v>-2.91610814</c:v>
                </c:pt>
                <c:pt idx="4101">
                  <c:v>-2.8057279240000002</c:v>
                </c:pt>
                <c:pt idx="4102">
                  <c:v>-2.5789038899999999</c:v>
                </c:pt>
                <c:pt idx="4103">
                  <c:v>-2.2451806040000002</c:v>
                </c:pt>
                <c:pt idx="4104">
                  <c:v>-2.0192548850000001</c:v>
                </c:pt>
                <c:pt idx="4105">
                  <c:v>-1.9062358779999999</c:v>
                </c:pt>
                <c:pt idx="4106">
                  <c:v>-1.5716704180000001</c:v>
                </c:pt>
                <c:pt idx="4107">
                  <c:v>-1.461290215</c:v>
                </c:pt>
                <c:pt idx="4108">
                  <c:v>-1.3447902439999999</c:v>
                </c:pt>
                <c:pt idx="4109">
                  <c:v>-1.234466168</c:v>
                </c:pt>
                <c:pt idx="4110">
                  <c:v>-1.1214471610000001</c:v>
                </c:pt>
                <c:pt idx="4111">
                  <c:v>-1.1206050000000001</c:v>
                </c:pt>
                <c:pt idx="4112">
                  <c:v>3.88916</c:v>
                </c:pt>
                <c:pt idx="4113">
                  <c:v>2.1447925250000002</c:v>
                </c:pt>
                <c:pt idx="4114">
                  <c:v>-1.3040610509999999</c:v>
                </c:pt>
                <c:pt idx="4115">
                  <c:v>-3.0761720000000001</c:v>
                </c:pt>
                <c:pt idx="4116">
                  <c:v>-2.492351728</c:v>
                </c:pt>
                <c:pt idx="4117">
                  <c:v>-1.894270168</c:v>
                </c:pt>
                <c:pt idx="4118">
                  <c:v>-1.3101527369999999</c:v>
                </c:pt>
                <c:pt idx="4119">
                  <c:v>-0.69840420700000005</c:v>
                </c:pt>
                <c:pt idx="4120">
                  <c:v>-0.123794301</c:v>
                </c:pt>
                <c:pt idx="4121">
                  <c:v>0.460323129</c:v>
                </c:pt>
                <c:pt idx="4122">
                  <c:v>2.2587273250000002</c:v>
                </c:pt>
                <c:pt idx="4123">
                  <c:v>2.2631839999999999</c:v>
                </c:pt>
                <c:pt idx="4124">
                  <c:v>2.0736454339999999</c:v>
                </c:pt>
                <c:pt idx="4125">
                  <c:v>1.677916328</c:v>
                </c:pt>
                <c:pt idx="4126">
                  <c:v>1.4853412130000001</c:v>
                </c:pt>
                <c:pt idx="4127">
                  <c:v>-0.28564450000000002</c:v>
                </c:pt>
                <c:pt idx="4128">
                  <c:v>2.504883</c:v>
                </c:pt>
                <c:pt idx="4129">
                  <c:v>1.7210337410000001</c:v>
                </c:pt>
                <c:pt idx="4130">
                  <c:v>-1.672380881</c:v>
                </c:pt>
                <c:pt idx="4131">
                  <c:v>-2.0214840000000001</c:v>
                </c:pt>
                <c:pt idx="4132">
                  <c:v>-1.74374151</c:v>
                </c:pt>
                <c:pt idx="4133">
                  <c:v>-1.6885399299999999</c:v>
                </c:pt>
                <c:pt idx="4134">
                  <c:v>-1.6054045159999999</c:v>
                </c:pt>
                <c:pt idx="4135">
                  <c:v>-1.605196367</c:v>
                </c:pt>
                <c:pt idx="4136">
                  <c:v>-1.495001357</c:v>
                </c:pt>
                <c:pt idx="4137">
                  <c:v>-1.4941409999999999</c:v>
                </c:pt>
                <c:pt idx="4138">
                  <c:v>-5.9985350000000004</c:v>
                </c:pt>
                <c:pt idx="4139">
                  <c:v>-2.9779513350000002</c:v>
                </c:pt>
                <c:pt idx="4140">
                  <c:v>-1.497273004</c:v>
                </c:pt>
                <c:pt idx="4141">
                  <c:v>-1.4501949999999999</c:v>
                </c:pt>
                <c:pt idx="4142">
                  <c:v>-8.9648439999999994</c:v>
                </c:pt>
                <c:pt idx="4143">
                  <c:v>-1.230469</c:v>
                </c:pt>
                <c:pt idx="4144">
                  <c:v>0.410582004</c:v>
                </c:pt>
                <c:pt idx="4145">
                  <c:v>1.218264504</c:v>
                </c:pt>
                <c:pt idx="4146">
                  <c:v>5.2954100000000004</c:v>
                </c:pt>
                <c:pt idx="4147">
                  <c:v>-0.51213973800000001</c:v>
                </c:pt>
                <c:pt idx="4148">
                  <c:v>-2.7246090000000001</c:v>
                </c:pt>
                <c:pt idx="4149">
                  <c:v>-2.3308071E-2</c:v>
                </c:pt>
                <c:pt idx="4150">
                  <c:v>0.41103812000000001</c:v>
                </c:pt>
                <c:pt idx="4151">
                  <c:v>0.85257097199999998</c:v>
                </c:pt>
                <c:pt idx="4152">
                  <c:v>1.3183590000000001</c:v>
                </c:pt>
                <c:pt idx="4153">
                  <c:v>-0.4614258</c:v>
                </c:pt>
                <c:pt idx="4154">
                  <c:v>-0.232404581</c:v>
                </c:pt>
                <c:pt idx="4155">
                  <c:v>-1.0384974999999999E-2</c:v>
                </c:pt>
                <c:pt idx="4156">
                  <c:v>0.43884897299999998</c:v>
                </c:pt>
                <c:pt idx="4157">
                  <c:v>0.67317790200000005</c:v>
                </c:pt>
                <c:pt idx="4158">
                  <c:v>1.1206050000000001</c:v>
                </c:pt>
                <c:pt idx="4159">
                  <c:v>1.0687658579999999</c:v>
                </c:pt>
                <c:pt idx="4160">
                  <c:v>1.041422426</c:v>
                </c:pt>
                <c:pt idx="4161">
                  <c:v>1.015502854</c:v>
                </c:pt>
                <c:pt idx="4162">
                  <c:v>0.98958328200000001</c:v>
                </c:pt>
                <c:pt idx="4163">
                  <c:v>0.85775734599999998</c:v>
                </c:pt>
                <c:pt idx="4164">
                  <c:v>0.83018978499999996</c:v>
                </c:pt>
                <c:pt idx="4165">
                  <c:v>0.80469209799999997</c:v>
                </c:pt>
                <c:pt idx="4166">
                  <c:v>0.77733547999999997</c:v>
                </c:pt>
                <c:pt idx="4167">
                  <c:v>0.75142909400000002</c:v>
                </c:pt>
                <c:pt idx="4168">
                  <c:v>0.72550952099999999</c:v>
                </c:pt>
                <c:pt idx="4169">
                  <c:v>0.69877254899999997</c:v>
                </c:pt>
                <c:pt idx="4170">
                  <c:v>0.67326167699999995</c:v>
                </c:pt>
                <c:pt idx="4171">
                  <c:v>0.594079103</c:v>
                </c:pt>
                <c:pt idx="4172">
                  <c:v>0.5932617</c:v>
                </c:pt>
                <c:pt idx="4173">
                  <c:v>3.6474609999999998</c:v>
                </c:pt>
                <c:pt idx="4174">
                  <c:v>-1.5718990580000001</c:v>
                </c:pt>
                <c:pt idx="4175">
                  <c:v>-2.716261598</c:v>
                </c:pt>
                <c:pt idx="4176">
                  <c:v>-3.3178709999999998</c:v>
                </c:pt>
                <c:pt idx="4177">
                  <c:v>-2.9193645579999998</c:v>
                </c:pt>
                <c:pt idx="4178">
                  <c:v>-2.5290651799999999</c:v>
                </c:pt>
                <c:pt idx="4179">
                  <c:v>-2.3906700609999998</c:v>
                </c:pt>
                <c:pt idx="4180">
                  <c:v>-2.1284407789999999</c:v>
                </c:pt>
                <c:pt idx="4181">
                  <c:v>-1.9983189210000001</c:v>
                </c:pt>
                <c:pt idx="4182">
                  <c:v>-1.9952743610000001</c:v>
                </c:pt>
                <c:pt idx="4183">
                  <c:v>-1.73092712</c:v>
                </c:pt>
                <c:pt idx="4184">
                  <c:v>-1.463469138</c:v>
                </c:pt>
                <c:pt idx="4185">
                  <c:v>-1.0701252000000001</c:v>
                </c:pt>
                <c:pt idx="4186">
                  <c:v>0.78321769900000004</c:v>
                </c:pt>
                <c:pt idx="4187">
                  <c:v>1.05166848</c:v>
                </c:pt>
                <c:pt idx="4188">
                  <c:v>1.1817903219999999</c:v>
                </c:pt>
                <c:pt idx="4189">
                  <c:v>1.314956741</c:v>
                </c:pt>
                <c:pt idx="4190">
                  <c:v>1.4450785989999999</c:v>
                </c:pt>
                <c:pt idx="4191">
                  <c:v>1.5803629610000001</c:v>
                </c:pt>
                <c:pt idx="4192">
                  <c:v>1.8457030000000001</c:v>
                </c:pt>
                <c:pt idx="4193">
                  <c:v>1.677547525</c:v>
                </c:pt>
                <c:pt idx="4194">
                  <c:v>1.511378801</c:v>
                </c:pt>
                <c:pt idx="4195">
                  <c:v>1.423665723</c:v>
                </c:pt>
                <c:pt idx="4196">
                  <c:v>0.74707029999999996</c:v>
                </c:pt>
                <c:pt idx="4197">
                  <c:v>-0.52734380000000003</c:v>
                </c:pt>
                <c:pt idx="4198">
                  <c:v>5.2294919999999996</c:v>
                </c:pt>
                <c:pt idx="4199">
                  <c:v>1.1645509999999999</c:v>
                </c:pt>
                <c:pt idx="4200">
                  <c:v>1.1645509999999999</c:v>
                </c:pt>
                <c:pt idx="4201">
                  <c:v>-0.41073685700000001</c:v>
                </c:pt>
                <c:pt idx="4202">
                  <c:v>-0.87890630000000003</c:v>
                </c:pt>
                <c:pt idx="4203">
                  <c:v>5.2294919999999996</c:v>
                </c:pt>
                <c:pt idx="4204">
                  <c:v>-8.8330079999999995</c:v>
                </c:pt>
                <c:pt idx="4205">
                  <c:v>24.279789999999998</c:v>
                </c:pt>
                <c:pt idx="4206">
                  <c:v>116.9385</c:v>
                </c:pt>
                <c:pt idx="4207">
                  <c:v>106.2158</c:v>
                </c:pt>
                <c:pt idx="4208">
                  <c:v>47.570799999999998</c:v>
                </c:pt>
                <c:pt idx="4209">
                  <c:v>86.374510000000001</c:v>
                </c:pt>
                <c:pt idx="4210">
                  <c:v>107.0288</c:v>
                </c:pt>
                <c:pt idx="4211">
                  <c:v>103.9746</c:v>
                </c:pt>
                <c:pt idx="4212">
                  <c:v>54.492190000000001</c:v>
                </c:pt>
                <c:pt idx="4213">
                  <c:v>37.881068069999998</c:v>
                </c:pt>
                <c:pt idx="4214">
                  <c:v>26.674800000000001</c:v>
                </c:pt>
                <c:pt idx="4215">
                  <c:v>7.3168949999999997</c:v>
                </c:pt>
                <c:pt idx="4216">
                  <c:v>4.0694755999999996</c:v>
                </c:pt>
                <c:pt idx="4217">
                  <c:v>1.230469</c:v>
                </c:pt>
                <c:pt idx="4218">
                  <c:v>1.229974761</c:v>
                </c:pt>
                <c:pt idx="4219">
                  <c:v>1.2298938100000001</c:v>
                </c:pt>
                <c:pt idx="4220">
                  <c:v>1.226843677</c:v>
                </c:pt>
                <c:pt idx="4221">
                  <c:v>1.2213237109999999</c:v>
                </c:pt>
                <c:pt idx="4222">
                  <c:v>1.217452236</c:v>
                </c:pt>
                <c:pt idx="4223">
                  <c:v>1.2162980240000001</c:v>
                </c:pt>
                <c:pt idx="4224">
                  <c:v>1.216215754</c:v>
                </c:pt>
                <c:pt idx="4225">
                  <c:v>1.2059991409999999</c:v>
                </c:pt>
                <c:pt idx="4226">
                  <c:v>1.2058352590000001</c:v>
                </c:pt>
                <c:pt idx="4227">
                  <c:v>1.2032799830000001</c:v>
                </c:pt>
                <c:pt idx="4228">
                  <c:v>1.2031161020000001</c:v>
                </c:pt>
                <c:pt idx="4229">
                  <c:v>1.2030325550000001</c:v>
                </c:pt>
                <c:pt idx="4230">
                  <c:v>1.199655937</c:v>
                </c:pt>
                <c:pt idx="4231">
                  <c:v>1.1992439690000001</c:v>
                </c:pt>
                <c:pt idx="4232">
                  <c:v>1.1952054000000001</c:v>
                </c:pt>
                <c:pt idx="4233">
                  <c:v>1.194628274</c:v>
                </c:pt>
                <c:pt idx="4234">
                  <c:v>1.188779968</c:v>
                </c:pt>
                <c:pt idx="4235">
                  <c:v>1.1838332970000001</c:v>
                </c:pt>
                <c:pt idx="4236">
                  <c:v>1.1835890819999999</c:v>
                </c:pt>
                <c:pt idx="4237">
                  <c:v>1.1819412499999999</c:v>
                </c:pt>
                <c:pt idx="4238">
                  <c:v>1.181117354</c:v>
                </c:pt>
                <c:pt idx="4239">
                  <c:v>1.179056275</c:v>
                </c:pt>
                <c:pt idx="4240">
                  <c:v>1.1771616730000001</c:v>
                </c:pt>
                <c:pt idx="4241">
                  <c:v>1.1702406839999999</c:v>
                </c:pt>
                <c:pt idx="4242">
                  <c:v>1.1655440370000001</c:v>
                </c:pt>
                <c:pt idx="4243">
                  <c:v>1.1590338630000001</c:v>
                </c:pt>
                <c:pt idx="4244">
                  <c:v>1.1535932419999999</c:v>
                </c:pt>
                <c:pt idx="4245">
                  <c:v>1.1525262430000001</c:v>
                </c:pt>
                <c:pt idx="4246">
                  <c:v>1.152445827</c:v>
                </c:pt>
                <c:pt idx="4247">
                  <c:v>1.152198193</c:v>
                </c:pt>
                <c:pt idx="4248">
                  <c:v>1.1505504010000001</c:v>
                </c:pt>
                <c:pt idx="4249">
                  <c:v>1.1503027669999999</c:v>
                </c:pt>
                <c:pt idx="4250">
                  <c:v>1.143544052</c:v>
                </c:pt>
                <c:pt idx="4251">
                  <c:v>1.142390129</c:v>
                </c:pt>
                <c:pt idx="4252">
                  <c:v>1.1391758679999999</c:v>
                </c:pt>
                <c:pt idx="4253">
                  <c:v>1.1381871429999999</c:v>
                </c:pt>
                <c:pt idx="4254">
                  <c:v>1.13398387</c:v>
                </c:pt>
                <c:pt idx="4255">
                  <c:v>1.131764472</c:v>
                </c:pt>
                <c:pt idx="4256">
                  <c:v>1.131347353</c:v>
                </c:pt>
                <c:pt idx="4257">
                  <c:v>1.1258326190000001</c:v>
                </c:pt>
                <c:pt idx="4258">
                  <c:v>1.1209711019999999</c:v>
                </c:pt>
                <c:pt idx="4259">
                  <c:v>1.120310428</c:v>
                </c:pt>
                <c:pt idx="4260">
                  <c:v>1.118829648</c:v>
                </c:pt>
                <c:pt idx="4261">
                  <c:v>1.118661895</c:v>
                </c:pt>
                <c:pt idx="4262">
                  <c:v>1.1185802840000001</c:v>
                </c:pt>
                <c:pt idx="4263">
                  <c:v>1.1164394479999999</c:v>
                </c:pt>
                <c:pt idx="4264">
                  <c:v>1.1163571779999999</c:v>
                </c:pt>
                <c:pt idx="4265">
                  <c:v>1.109511868</c:v>
                </c:pt>
                <c:pt idx="4266">
                  <c:v>1.1049867229999999</c:v>
                </c:pt>
                <c:pt idx="4267">
                  <c:v>1.10095005</c:v>
                </c:pt>
                <c:pt idx="4268">
                  <c:v>1.098636393</c:v>
                </c:pt>
                <c:pt idx="4269">
                  <c:v>1.094770027</c:v>
                </c:pt>
                <c:pt idx="4270">
                  <c:v>1.0815045169999999</c:v>
                </c:pt>
                <c:pt idx="4271">
                  <c:v>1.0789505180000001</c:v>
                </c:pt>
                <c:pt idx="4272">
                  <c:v>1.067908732</c:v>
                </c:pt>
                <c:pt idx="4273">
                  <c:v>1.0665077089999999</c:v>
                </c:pt>
                <c:pt idx="4274">
                  <c:v>1.0631246649999999</c:v>
                </c:pt>
                <c:pt idx="4275">
                  <c:v>1.057192771</c:v>
                </c:pt>
                <c:pt idx="4276">
                  <c:v>1.057032762</c:v>
                </c:pt>
                <c:pt idx="4277">
                  <c:v>1.0568669449999999</c:v>
                </c:pt>
                <c:pt idx="4278">
                  <c:v>1.0493701479999999</c:v>
                </c:pt>
                <c:pt idx="4279">
                  <c:v>1.049206885</c:v>
                </c:pt>
                <c:pt idx="4280">
                  <c:v>1.043521801</c:v>
                </c:pt>
                <c:pt idx="4281">
                  <c:v>1.0414555729999999</c:v>
                </c:pt>
                <c:pt idx="4282">
                  <c:v>1.038407377</c:v>
                </c:pt>
                <c:pt idx="4283">
                  <c:v>1.0336284600000001</c:v>
                </c:pt>
                <c:pt idx="4284">
                  <c:v>1.0327274019999999</c:v>
                </c:pt>
                <c:pt idx="4285">
                  <c:v>1.0135249310000001</c:v>
                </c:pt>
                <c:pt idx="4286">
                  <c:v>1.0084985849999999</c:v>
                </c:pt>
                <c:pt idx="4287">
                  <c:v>1.0049599819999999</c:v>
                </c:pt>
                <c:pt idx="4288">
                  <c:v>1.0038025559999999</c:v>
                </c:pt>
                <c:pt idx="4289">
                  <c:v>1.003390588</c:v>
                </c:pt>
                <c:pt idx="4290">
                  <c:v>0.99424467999999999</c:v>
                </c:pt>
                <c:pt idx="4291">
                  <c:v>0.993420784</c:v>
                </c:pt>
                <c:pt idx="4292">
                  <c:v>0.99326139400000002</c:v>
                </c:pt>
                <c:pt idx="4293">
                  <c:v>0.984851963</c:v>
                </c:pt>
                <c:pt idx="4294">
                  <c:v>0.98155633799999997</c:v>
                </c:pt>
                <c:pt idx="4295">
                  <c:v>0.97479988900000003</c:v>
                </c:pt>
                <c:pt idx="4296">
                  <c:v>0.97265785900000001</c:v>
                </c:pt>
                <c:pt idx="4297">
                  <c:v>0.97241492100000004</c:v>
                </c:pt>
                <c:pt idx="4298">
                  <c:v>0.97232816</c:v>
                </c:pt>
                <c:pt idx="4299">
                  <c:v>0.96640013899999999</c:v>
                </c:pt>
                <c:pt idx="4300">
                  <c:v>0.964583317</c:v>
                </c:pt>
                <c:pt idx="4301">
                  <c:v>0.95996951699999999</c:v>
                </c:pt>
                <c:pt idx="4302">
                  <c:v>0.95832172500000001</c:v>
                </c:pt>
                <c:pt idx="4303">
                  <c:v>0.95477863100000004</c:v>
                </c:pt>
                <c:pt idx="4304">
                  <c:v>0.95264109100000005</c:v>
                </c:pt>
                <c:pt idx="4305">
                  <c:v>0.95098880900000005</c:v>
                </c:pt>
                <c:pt idx="4306">
                  <c:v>0.94950551599999999</c:v>
                </c:pt>
                <c:pt idx="4307">
                  <c:v>0.94192966199999995</c:v>
                </c:pt>
                <c:pt idx="4308">
                  <c:v>0.92693025900000003</c:v>
                </c:pt>
                <c:pt idx="4309">
                  <c:v>0.92610636300000004</c:v>
                </c:pt>
                <c:pt idx="4310">
                  <c:v>0.92116290499999998</c:v>
                </c:pt>
                <c:pt idx="4311">
                  <c:v>0.914653885</c:v>
                </c:pt>
                <c:pt idx="4312">
                  <c:v>0.91448872699999995</c:v>
                </c:pt>
                <c:pt idx="4313">
                  <c:v>0.90880360199999999</c:v>
                </c:pt>
                <c:pt idx="4314">
                  <c:v>0.90872133200000005</c:v>
                </c:pt>
                <c:pt idx="4315">
                  <c:v>0.90789743599999995</c:v>
                </c:pt>
                <c:pt idx="4316">
                  <c:v>0.89636268799999996</c:v>
                </c:pt>
                <c:pt idx="4317">
                  <c:v>0.89545652200000003</c:v>
                </c:pt>
                <c:pt idx="4318">
                  <c:v>0.89471489599999998</c:v>
                </c:pt>
                <c:pt idx="4319">
                  <c:v>0.88598091599999995</c:v>
                </c:pt>
                <c:pt idx="4320">
                  <c:v>0.88433312500000005</c:v>
                </c:pt>
                <c:pt idx="4321">
                  <c:v>0.87823475500000003</c:v>
                </c:pt>
                <c:pt idx="4322">
                  <c:v>0.87271482899999997</c:v>
                </c:pt>
                <c:pt idx="4323">
                  <c:v>0.86538318999999997</c:v>
                </c:pt>
                <c:pt idx="4324">
                  <c:v>0.86315695400000003</c:v>
                </c:pt>
                <c:pt idx="4325">
                  <c:v>0.85953290800000004</c:v>
                </c:pt>
                <c:pt idx="4326">
                  <c:v>0.85607274300000002</c:v>
                </c:pt>
                <c:pt idx="4327">
                  <c:v>0.85557854499999997</c:v>
                </c:pt>
                <c:pt idx="4328">
                  <c:v>0.84684460699999997</c:v>
                </c:pt>
                <c:pt idx="4329">
                  <c:v>0.83514469999999996</c:v>
                </c:pt>
                <c:pt idx="4330">
                  <c:v>0.83407399400000004</c:v>
                </c:pt>
                <c:pt idx="4331">
                  <c:v>0.83333236799999999</c:v>
                </c:pt>
                <c:pt idx="4332">
                  <c:v>0.82879956099999996</c:v>
                </c:pt>
                <c:pt idx="4333">
                  <c:v>0.82435161899999998</c:v>
                </c:pt>
                <c:pt idx="4334">
                  <c:v>0.81949043200000005</c:v>
                </c:pt>
                <c:pt idx="4335">
                  <c:v>0.81396918799999995</c:v>
                </c:pt>
                <c:pt idx="4336">
                  <c:v>0.81380530699999998</c:v>
                </c:pt>
                <c:pt idx="4337">
                  <c:v>0.81372175999999996</c:v>
                </c:pt>
                <c:pt idx="4338">
                  <c:v>0.80853215099999998</c:v>
                </c:pt>
                <c:pt idx="4339">
                  <c:v>0.80746144500000006</c:v>
                </c:pt>
                <c:pt idx="4340">
                  <c:v>0.80737855700000005</c:v>
                </c:pt>
                <c:pt idx="4341">
                  <c:v>0.80573072400000001</c:v>
                </c:pt>
                <c:pt idx="4342">
                  <c:v>0.79848007799999998</c:v>
                </c:pt>
                <c:pt idx="4343">
                  <c:v>0.79773906999999999</c:v>
                </c:pt>
                <c:pt idx="4344">
                  <c:v>0.797491642</c:v>
                </c:pt>
                <c:pt idx="4345">
                  <c:v>0.79304242300000005</c:v>
                </c:pt>
                <c:pt idx="4346">
                  <c:v>0.79114716200000001</c:v>
                </c:pt>
                <c:pt idx="4347">
                  <c:v>0.79032260700000001</c:v>
                </c:pt>
                <c:pt idx="4348">
                  <c:v>0.77755137600000002</c:v>
                </c:pt>
                <c:pt idx="4349">
                  <c:v>0.77549289300000002</c:v>
                </c:pt>
                <c:pt idx="4350">
                  <c:v>0.77532835300000003</c:v>
                </c:pt>
                <c:pt idx="4351">
                  <c:v>0.76585274699999994</c:v>
                </c:pt>
                <c:pt idx="4352">
                  <c:v>0.764863034</c:v>
                </c:pt>
                <c:pt idx="4353">
                  <c:v>0.76206160700000003</c:v>
                </c:pt>
                <c:pt idx="4354">
                  <c:v>0.76082574300000005</c:v>
                </c:pt>
                <c:pt idx="4355">
                  <c:v>0.76041509200000001</c:v>
                </c:pt>
                <c:pt idx="4356">
                  <c:v>0.75629553100000002</c:v>
                </c:pt>
                <c:pt idx="4357">
                  <c:v>0.75209373999999996</c:v>
                </c:pt>
                <c:pt idx="4358">
                  <c:v>0.75077300999999996</c:v>
                </c:pt>
                <c:pt idx="4359">
                  <c:v>0.74418048400000003</c:v>
                </c:pt>
                <c:pt idx="4360">
                  <c:v>0.73866311299999998</c:v>
                </c:pt>
                <c:pt idx="4361">
                  <c:v>0.72671643699999999</c:v>
                </c:pt>
                <c:pt idx="4362">
                  <c:v>0.72589122299999997</c:v>
                </c:pt>
                <c:pt idx="4363">
                  <c:v>0.72531603300000003</c:v>
                </c:pt>
                <c:pt idx="4364">
                  <c:v>0.72523054899999995</c:v>
                </c:pt>
                <c:pt idx="4365">
                  <c:v>0.72152423300000001</c:v>
                </c:pt>
                <c:pt idx="4366">
                  <c:v>0.71435457999999996</c:v>
                </c:pt>
                <c:pt idx="4367">
                  <c:v>0.71320415800000003</c:v>
                </c:pt>
                <c:pt idx="4368">
                  <c:v>0.71295673000000004</c:v>
                </c:pt>
                <c:pt idx="4369">
                  <c:v>0.71262641299999996</c:v>
                </c:pt>
                <c:pt idx="4370">
                  <c:v>0.71032050199999996</c:v>
                </c:pt>
                <c:pt idx="4371">
                  <c:v>0.70949528799999995</c:v>
                </c:pt>
                <c:pt idx="4372">
                  <c:v>0.70776522600000003</c:v>
                </c:pt>
                <c:pt idx="4373">
                  <c:v>0.69828962000000006</c:v>
                </c:pt>
                <c:pt idx="4374">
                  <c:v>0.69606338300000004</c:v>
                </c:pt>
                <c:pt idx="4375">
                  <c:v>0.68889500800000003</c:v>
                </c:pt>
                <c:pt idx="4376">
                  <c:v>0.68420091400000005</c:v>
                </c:pt>
                <c:pt idx="4377">
                  <c:v>0.67975165400000004</c:v>
                </c:pt>
                <c:pt idx="4378">
                  <c:v>0.67629149</c:v>
                </c:pt>
                <c:pt idx="4379">
                  <c:v>0.67604406100000003</c:v>
                </c:pt>
                <c:pt idx="4380">
                  <c:v>0.67225419799999997</c:v>
                </c:pt>
                <c:pt idx="4381">
                  <c:v>0.66664878900000002</c:v>
                </c:pt>
                <c:pt idx="4382">
                  <c:v>0.66343733000000005</c:v>
                </c:pt>
                <c:pt idx="4383">
                  <c:v>0.65758836600000004</c:v>
                </c:pt>
                <c:pt idx="4384">
                  <c:v>0.65346559000000004</c:v>
                </c:pt>
                <c:pt idx="4385">
                  <c:v>0.64786599099999997</c:v>
                </c:pt>
                <c:pt idx="4386">
                  <c:v>0.64596817500000003</c:v>
                </c:pt>
                <c:pt idx="4387">
                  <c:v>0.64160118499999996</c:v>
                </c:pt>
                <c:pt idx="4388">
                  <c:v>0.63105808699999999</c:v>
                </c:pt>
                <c:pt idx="4389">
                  <c:v>0.63031646100000005</c:v>
                </c:pt>
                <c:pt idx="4390">
                  <c:v>0.62479521699999996</c:v>
                </c:pt>
                <c:pt idx="4391">
                  <c:v>0.62404716500000001</c:v>
                </c:pt>
                <c:pt idx="4392">
                  <c:v>0.62092374299999997</c:v>
                </c:pt>
                <c:pt idx="4393">
                  <c:v>0.62083825999999998</c:v>
                </c:pt>
                <c:pt idx="4394">
                  <c:v>0.61927529199999998</c:v>
                </c:pt>
                <c:pt idx="4395">
                  <c:v>0.61902786399999998</c:v>
                </c:pt>
                <c:pt idx="4396">
                  <c:v>0.61704905600000004</c:v>
                </c:pt>
                <c:pt idx="4397">
                  <c:v>0.60576239499999995</c:v>
                </c:pt>
                <c:pt idx="4398">
                  <c:v>0.60436203200000005</c:v>
                </c:pt>
                <c:pt idx="4399">
                  <c:v>0.60205352499999998</c:v>
                </c:pt>
                <c:pt idx="4400">
                  <c:v>0.59472254499999999</c:v>
                </c:pt>
                <c:pt idx="4401">
                  <c:v>0.58887292099999999</c:v>
                </c:pt>
                <c:pt idx="4402">
                  <c:v>0.581209647</c:v>
                </c:pt>
                <c:pt idx="4403">
                  <c:v>0.57972701400000004</c:v>
                </c:pt>
                <c:pt idx="4404">
                  <c:v>0.57664602499999995</c:v>
                </c:pt>
                <c:pt idx="4405">
                  <c:v>0.57486389000000004</c:v>
                </c:pt>
                <c:pt idx="4406">
                  <c:v>0.56876230699999997</c:v>
                </c:pt>
                <c:pt idx="4407">
                  <c:v>0.56860229799999995</c:v>
                </c:pt>
                <c:pt idx="4408">
                  <c:v>0.56588507700000001</c:v>
                </c:pt>
                <c:pt idx="4409">
                  <c:v>0.56538890200000003</c:v>
                </c:pt>
                <c:pt idx="4410">
                  <c:v>0.56143388100000002</c:v>
                </c:pt>
                <c:pt idx="4411">
                  <c:v>0.55706693200000001</c:v>
                </c:pt>
                <c:pt idx="4412">
                  <c:v>0.55533682900000003</c:v>
                </c:pt>
                <c:pt idx="4413">
                  <c:v>0.55014594299999997</c:v>
                </c:pt>
                <c:pt idx="4414">
                  <c:v>0.546275128</c:v>
                </c:pt>
                <c:pt idx="4415">
                  <c:v>0.54157782200000004</c:v>
                </c:pt>
                <c:pt idx="4416">
                  <c:v>0.54149682899999996</c:v>
                </c:pt>
                <c:pt idx="4417">
                  <c:v>0.54025902800000003</c:v>
                </c:pt>
                <c:pt idx="4418">
                  <c:v>0.534569454</c:v>
                </c:pt>
                <c:pt idx="4419">
                  <c:v>0.53177185900000001</c:v>
                </c:pt>
                <c:pt idx="4420">
                  <c:v>0.53135605900000005</c:v>
                </c:pt>
                <c:pt idx="4421">
                  <c:v>0.52856105799999997</c:v>
                </c:pt>
                <c:pt idx="4422">
                  <c:v>0.52773588500000002</c:v>
                </c:pt>
                <c:pt idx="4423">
                  <c:v>0.52724102900000003</c:v>
                </c:pt>
                <c:pt idx="4424">
                  <c:v>0.51974357199999999</c:v>
                </c:pt>
                <c:pt idx="4425">
                  <c:v>0.51669471700000003</c:v>
                </c:pt>
                <c:pt idx="4426">
                  <c:v>0.51175253600000004</c:v>
                </c:pt>
                <c:pt idx="4427">
                  <c:v>0.51133929099999997</c:v>
                </c:pt>
                <c:pt idx="4428">
                  <c:v>0.50449612300000002</c:v>
                </c:pt>
                <c:pt idx="4429">
                  <c:v>0.50277178700000003</c:v>
                </c:pt>
                <c:pt idx="4430">
                  <c:v>0.49667473499999998</c:v>
                </c:pt>
                <c:pt idx="4431">
                  <c:v>0.49477885599999999</c:v>
                </c:pt>
                <c:pt idx="4432">
                  <c:v>0.49041124800000002</c:v>
                </c:pt>
                <c:pt idx="4433">
                  <c:v>0.48340737099999997</c:v>
                </c:pt>
                <c:pt idx="4434">
                  <c:v>0.48323834100000002</c:v>
                </c:pt>
                <c:pt idx="4435">
                  <c:v>0.48307895000000001</c:v>
                </c:pt>
                <c:pt idx="4436">
                  <c:v>0.47269655999999999</c:v>
                </c:pt>
                <c:pt idx="4437">
                  <c:v>0.47228071900000002</c:v>
                </c:pt>
                <c:pt idx="4438">
                  <c:v>0.47112712499999998</c:v>
                </c:pt>
                <c:pt idx="4439">
                  <c:v>0.47087969699999999</c:v>
                </c:pt>
                <c:pt idx="4440">
                  <c:v>0.46791377000000001</c:v>
                </c:pt>
                <c:pt idx="4441">
                  <c:v>0.46783150000000001</c:v>
                </c:pt>
                <c:pt idx="4442">
                  <c:v>0.46330001100000001</c:v>
                </c:pt>
                <c:pt idx="4443">
                  <c:v>0.46214637600000003</c:v>
                </c:pt>
                <c:pt idx="4444">
                  <c:v>0.45967917899999999</c:v>
                </c:pt>
                <c:pt idx="4445">
                  <c:v>0.45950948899999999</c:v>
                </c:pt>
                <c:pt idx="4446">
                  <c:v>0.45531284799999999</c:v>
                </c:pt>
                <c:pt idx="4447">
                  <c:v>0.45300046900000002</c:v>
                </c:pt>
                <c:pt idx="4448">
                  <c:v>0.448963218</c:v>
                </c:pt>
                <c:pt idx="4449">
                  <c:v>0.44863352000000001</c:v>
                </c:pt>
                <c:pt idx="4450">
                  <c:v>0.44855125000000001</c:v>
                </c:pt>
                <c:pt idx="4451">
                  <c:v>0.43397279599999999</c:v>
                </c:pt>
                <c:pt idx="4452">
                  <c:v>0.433803147</c:v>
                </c:pt>
                <c:pt idx="4453">
                  <c:v>0.43034298199999999</c:v>
                </c:pt>
                <c:pt idx="4454">
                  <c:v>0.42432815899999998</c:v>
                </c:pt>
                <c:pt idx="4455">
                  <c:v>0.42276646899999998</c:v>
                </c:pt>
                <c:pt idx="4456">
                  <c:v>0.42252031800000001</c:v>
                </c:pt>
                <c:pt idx="4457">
                  <c:v>0.42235066900000001</c:v>
                </c:pt>
                <c:pt idx="4458">
                  <c:v>0.41856080600000001</c:v>
                </c:pt>
                <c:pt idx="4459">
                  <c:v>0.41650104599999999</c:v>
                </c:pt>
                <c:pt idx="4460">
                  <c:v>0.416418116</c:v>
                </c:pt>
                <c:pt idx="4461">
                  <c:v>0.41592391899999998</c:v>
                </c:pt>
                <c:pt idx="4462">
                  <c:v>0.41567715</c:v>
                </c:pt>
                <c:pt idx="4463">
                  <c:v>0.41229859600000002</c:v>
                </c:pt>
                <c:pt idx="4464">
                  <c:v>0.405134669</c:v>
                </c:pt>
                <c:pt idx="4465">
                  <c:v>0.40076384799999998</c:v>
                </c:pt>
                <c:pt idx="4466">
                  <c:v>0.38815777600000001</c:v>
                </c:pt>
                <c:pt idx="4467">
                  <c:v>0.386101888</c:v>
                </c:pt>
                <c:pt idx="4468">
                  <c:v>0.37579913199999998</c:v>
                </c:pt>
                <c:pt idx="4469">
                  <c:v>0.36879978600000002</c:v>
                </c:pt>
                <c:pt idx="4470">
                  <c:v>0.36187496600000002</c:v>
                </c:pt>
                <c:pt idx="4471">
                  <c:v>0.34869176699999999</c:v>
                </c:pt>
                <c:pt idx="4472">
                  <c:v>0.34745590300000001</c:v>
                </c:pt>
                <c:pt idx="4473">
                  <c:v>0.34729136300000002</c:v>
                </c:pt>
                <c:pt idx="4474">
                  <c:v>0.34564352999999998</c:v>
                </c:pt>
                <c:pt idx="4475">
                  <c:v>0.34119431099999997</c:v>
                </c:pt>
                <c:pt idx="4476">
                  <c:v>0.34053491400000002</c:v>
                </c:pt>
                <c:pt idx="4477">
                  <c:v>0.33979328800000003</c:v>
                </c:pt>
                <c:pt idx="4478">
                  <c:v>0.33031830099999998</c:v>
                </c:pt>
                <c:pt idx="4479">
                  <c:v>0.32413897899999999</c:v>
                </c:pt>
                <c:pt idx="4480">
                  <c:v>0.32100789400000002</c:v>
                </c:pt>
                <c:pt idx="4481">
                  <c:v>0.32076108399999997</c:v>
                </c:pt>
                <c:pt idx="4482">
                  <c:v>0.31927779099999998</c:v>
                </c:pt>
                <c:pt idx="4483">
                  <c:v>0.31268654200000001</c:v>
                </c:pt>
                <c:pt idx="4484">
                  <c:v>0.308072124</c:v>
                </c:pt>
                <c:pt idx="4485">
                  <c:v>0.30560039500000002</c:v>
                </c:pt>
                <c:pt idx="4486">
                  <c:v>0.30214023000000001</c:v>
                </c:pt>
                <c:pt idx="4487">
                  <c:v>0.29324175099999999</c:v>
                </c:pt>
                <c:pt idx="4488">
                  <c:v>0.29044032400000003</c:v>
                </c:pt>
                <c:pt idx="4489">
                  <c:v>0.28829829299999998</c:v>
                </c:pt>
                <c:pt idx="4490">
                  <c:v>0.28722630999999998</c:v>
                </c:pt>
                <c:pt idx="4491">
                  <c:v>0.27775070400000001</c:v>
                </c:pt>
                <c:pt idx="4492">
                  <c:v>0.27107846200000002</c:v>
                </c:pt>
                <c:pt idx="4493">
                  <c:v>0.26127254</c:v>
                </c:pt>
                <c:pt idx="4494">
                  <c:v>0.25896662799999998</c:v>
                </c:pt>
                <c:pt idx="4495">
                  <c:v>0.25632908199999999</c:v>
                </c:pt>
                <c:pt idx="4496">
                  <c:v>0.25344604399999998</c:v>
                </c:pt>
                <c:pt idx="4497">
                  <c:v>0.25270503599999999</c:v>
                </c:pt>
                <c:pt idx="4498">
                  <c:v>0.25006814900000002</c:v>
                </c:pt>
                <c:pt idx="4499">
                  <c:v>0.24907905399999999</c:v>
                </c:pt>
                <c:pt idx="4500">
                  <c:v>0.24685475400000001</c:v>
                </c:pt>
                <c:pt idx="4501">
                  <c:v>0.246607985</c:v>
                </c:pt>
                <c:pt idx="4502">
                  <c:v>0.24430075500000001</c:v>
                </c:pt>
                <c:pt idx="4503">
                  <c:v>0.240098964</c:v>
                </c:pt>
                <c:pt idx="4504">
                  <c:v>0.23927375000000001</c:v>
                </c:pt>
                <c:pt idx="4505">
                  <c:v>0.232847</c:v>
                </c:pt>
                <c:pt idx="4506">
                  <c:v>0.231115661</c:v>
                </c:pt>
                <c:pt idx="4507">
                  <c:v>0.23087078699999999</c:v>
                </c:pt>
                <c:pt idx="4508">
                  <c:v>0.22567862399999999</c:v>
                </c:pt>
                <c:pt idx="4509">
                  <c:v>0.22493761600000001</c:v>
                </c:pt>
                <c:pt idx="4510">
                  <c:v>0.224032068</c:v>
                </c:pt>
                <c:pt idx="4511">
                  <c:v>0.219582849</c:v>
                </c:pt>
                <c:pt idx="4512">
                  <c:v>0.21949930200000001</c:v>
                </c:pt>
                <c:pt idx="4513">
                  <c:v>0.21389451100000001</c:v>
                </c:pt>
                <c:pt idx="4514">
                  <c:v>0.211422782</c:v>
                </c:pt>
                <c:pt idx="4515">
                  <c:v>0.20796583099999999</c:v>
                </c:pt>
                <c:pt idx="4516">
                  <c:v>0.207882284</c:v>
                </c:pt>
                <c:pt idx="4517">
                  <c:v>0.201485891</c:v>
                </c:pt>
                <c:pt idx="4518">
                  <c:v>0.20021777399999999</c:v>
                </c:pt>
                <c:pt idx="4519">
                  <c:v>0.19535654499999999</c:v>
                </c:pt>
                <c:pt idx="4520">
                  <c:v>0.19395873599999999</c:v>
                </c:pt>
                <c:pt idx="4521">
                  <c:v>0.19354615</c:v>
                </c:pt>
                <c:pt idx="4522">
                  <c:v>0.19337905499999999</c:v>
                </c:pt>
                <c:pt idx="4523">
                  <c:v>0.191237025</c:v>
                </c:pt>
                <c:pt idx="4524">
                  <c:v>0.19090860400000001</c:v>
                </c:pt>
                <c:pt idx="4525">
                  <c:v>0.18876851</c:v>
                </c:pt>
                <c:pt idx="4526">
                  <c:v>0.17575046899999999</c:v>
                </c:pt>
                <c:pt idx="4527">
                  <c:v>0.175584034</c:v>
                </c:pt>
                <c:pt idx="4528">
                  <c:v>0.170971551</c:v>
                </c:pt>
                <c:pt idx="4529">
                  <c:v>0.170886068</c:v>
                </c:pt>
                <c:pt idx="4530">
                  <c:v>0.161163693</c:v>
                </c:pt>
                <c:pt idx="4531">
                  <c:v>0.15918937499999999</c:v>
                </c:pt>
                <c:pt idx="4532">
                  <c:v>0.150373166</c:v>
                </c:pt>
                <c:pt idx="4533">
                  <c:v>0.14468676499999999</c:v>
                </c:pt>
                <c:pt idx="4534">
                  <c:v>0.140733679</c:v>
                </c:pt>
                <c:pt idx="4535">
                  <c:v>0.13636479400000001</c:v>
                </c:pt>
                <c:pt idx="4536">
                  <c:v>0.13438792199999999</c:v>
                </c:pt>
                <c:pt idx="4537">
                  <c:v>0.132080692</c:v>
                </c:pt>
                <c:pt idx="4538">
                  <c:v>0.127878243</c:v>
                </c:pt>
                <c:pt idx="4539">
                  <c:v>0.12746821</c:v>
                </c:pt>
                <c:pt idx="4540">
                  <c:v>0.123594182</c:v>
                </c:pt>
                <c:pt idx="4541">
                  <c:v>0.121533763</c:v>
                </c:pt>
                <c:pt idx="4542">
                  <c:v>8.9731645999999998E-2</c:v>
                </c:pt>
                <c:pt idx="4543">
                  <c:v>8.2810039000000002E-2</c:v>
                </c:pt>
                <c:pt idx="4544">
                  <c:v>8.2644881000000003E-2</c:v>
                </c:pt>
                <c:pt idx="4545">
                  <c:v>8.2479064000000005E-2</c:v>
                </c:pt>
                <c:pt idx="4546">
                  <c:v>8.2398071000000003E-2</c:v>
                </c:pt>
                <c:pt idx="4547">
                  <c:v>8.0585080000000003E-2</c:v>
                </c:pt>
                <c:pt idx="4548">
                  <c:v>8.0419262000000005E-2</c:v>
                </c:pt>
                <c:pt idx="4549">
                  <c:v>8.0336374000000002E-2</c:v>
                </c:pt>
                <c:pt idx="4550">
                  <c:v>6.8802944000000005E-2</c:v>
                </c:pt>
                <c:pt idx="4551">
                  <c:v>6.5917970000000006E-2</c:v>
                </c:pt>
                <c:pt idx="4552">
                  <c:v>6.5911837000000001E-2</c:v>
                </c:pt>
                <c:pt idx="4553">
                  <c:v>6.5811808999999999E-2</c:v>
                </c:pt>
                <c:pt idx="4554">
                  <c:v>6.5776454999999998E-2</c:v>
                </c:pt>
                <c:pt idx="4555">
                  <c:v>6.577181E-2</c:v>
                </c:pt>
                <c:pt idx="4556">
                  <c:v>6.5730286999999998E-2</c:v>
                </c:pt>
                <c:pt idx="4557">
                  <c:v>6.5651705000000005E-2</c:v>
                </c:pt>
                <c:pt idx="4558">
                  <c:v>6.5645645000000002E-2</c:v>
                </c:pt>
                <c:pt idx="4559">
                  <c:v>6.5604108999999994E-2</c:v>
                </c:pt>
                <c:pt idx="4560">
                  <c:v>6.5601038E-2</c:v>
                </c:pt>
                <c:pt idx="4561">
                  <c:v>6.5568755000000006E-2</c:v>
                </c:pt>
                <c:pt idx="4562">
                  <c:v>6.5473334999999994E-2</c:v>
                </c:pt>
                <c:pt idx="4563">
                  <c:v>6.5364090999999999E-2</c:v>
                </c:pt>
                <c:pt idx="4564">
                  <c:v>6.5353350000000004E-2</c:v>
                </c:pt>
                <c:pt idx="4565">
                  <c:v>6.5313327000000004E-2</c:v>
                </c:pt>
                <c:pt idx="4566">
                  <c:v>6.5279472000000005E-2</c:v>
                </c:pt>
                <c:pt idx="4567">
                  <c:v>6.5247165999999995E-2</c:v>
                </c:pt>
                <c:pt idx="4568">
                  <c:v>6.5241010000000002E-2</c:v>
                </c:pt>
                <c:pt idx="4569">
                  <c:v>6.5239474000000006E-2</c:v>
                </c:pt>
                <c:pt idx="4570">
                  <c:v>6.5207166999999996E-2</c:v>
                </c:pt>
                <c:pt idx="4571">
                  <c:v>6.5197937999999997E-2</c:v>
                </c:pt>
                <c:pt idx="4572">
                  <c:v>6.5122572000000004E-2</c:v>
                </c:pt>
                <c:pt idx="4573">
                  <c:v>6.5036285999999999E-2</c:v>
                </c:pt>
                <c:pt idx="4574">
                  <c:v>6.4957920000000002E-2</c:v>
                </c:pt>
                <c:pt idx="4575">
                  <c:v>6.4928685E-2</c:v>
                </c:pt>
                <c:pt idx="4576">
                  <c:v>6.4776394000000001E-2</c:v>
                </c:pt>
                <c:pt idx="4577">
                  <c:v>6.4607132999999997E-2</c:v>
                </c:pt>
                <c:pt idx="4578">
                  <c:v>6.4580971000000001E-2</c:v>
                </c:pt>
                <c:pt idx="4579">
                  <c:v>6.4577897999999995E-2</c:v>
                </c:pt>
                <c:pt idx="4580">
                  <c:v>6.4550200000000002E-2</c:v>
                </c:pt>
                <c:pt idx="4581">
                  <c:v>6.4465581999999994E-2</c:v>
                </c:pt>
                <c:pt idx="4582">
                  <c:v>6.4411732999999999E-2</c:v>
                </c:pt>
                <c:pt idx="4583">
                  <c:v>6.4337904000000001E-2</c:v>
                </c:pt>
                <c:pt idx="4584">
                  <c:v>6.4228550999999995E-2</c:v>
                </c:pt>
                <c:pt idx="4585">
                  <c:v>6.4160949999999994E-2</c:v>
                </c:pt>
                <c:pt idx="4586">
                  <c:v>6.4154794000000001E-2</c:v>
                </c:pt>
                <c:pt idx="4587">
                  <c:v>6.3954786E-2</c:v>
                </c:pt>
                <c:pt idx="4588">
                  <c:v>6.3853150999999997E-2</c:v>
                </c:pt>
                <c:pt idx="4589">
                  <c:v>6.3766995000000007E-2</c:v>
                </c:pt>
                <c:pt idx="4590">
                  <c:v>6.3639293999999999E-2</c:v>
                </c:pt>
                <c:pt idx="4591">
                  <c:v>6.3613132000000003E-2</c:v>
                </c:pt>
                <c:pt idx="4592">
                  <c:v>6.3477749999999999E-2</c:v>
                </c:pt>
                <c:pt idx="4593">
                  <c:v>6.3463995999999995E-2</c:v>
                </c:pt>
                <c:pt idx="4594">
                  <c:v>6.3411588000000005E-2</c:v>
                </c:pt>
                <c:pt idx="4595">
                  <c:v>6.3368505000000006E-2</c:v>
                </c:pt>
                <c:pt idx="4596">
                  <c:v>6.3367065E-2</c:v>
                </c:pt>
                <c:pt idx="4597">
                  <c:v>6.3254651999999995E-2</c:v>
                </c:pt>
                <c:pt idx="4598">
                  <c:v>6.3253212000000003E-2</c:v>
                </c:pt>
                <c:pt idx="4599">
                  <c:v>6.3166960999999994E-2</c:v>
                </c:pt>
                <c:pt idx="4600">
                  <c:v>6.2963869000000006E-2</c:v>
                </c:pt>
                <c:pt idx="4601">
                  <c:v>6.2886944E-2</c:v>
                </c:pt>
                <c:pt idx="4602">
                  <c:v>6.2837799999999999E-2</c:v>
                </c:pt>
                <c:pt idx="4603">
                  <c:v>6.2713086000000001E-2</c:v>
                </c:pt>
                <c:pt idx="4604">
                  <c:v>6.2608463000000003E-2</c:v>
                </c:pt>
                <c:pt idx="4605">
                  <c:v>6.2417684000000001E-2</c:v>
                </c:pt>
                <c:pt idx="4606">
                  <c:v>6.2416134999999998E-2</c:v>
                </c:pt>
                <c:pt idx="4607">
                  <c:v>6.2371528000000002E-2</c:v>
                </c:pt>
                <c:pt idx="4608">
                  <c:v>6.2359227000000003E-2</c:v>
                </c:pt>
                <c:pt idx="4609">
                  <c:v>6.2353071000000003E-2</c:v>
                </c:pt>
                <c:pt idx="4610">
                  <c:v>6.2240754000000002E-2</c:v>
                </c:pt>
                <c:pt idx="4611">
                  <c:v>6.2234598000000002E-2</c:v>
                </c:pt>
                <c:pt idx="4612">
                  <c:v>6.2134594000000001E-2</c:v>
                </c:pt>
                <c:pt idx="4613">
                  <c:v>6.2020740999999997E-2</c:v>
                </c:pt>
                <c:pt idx="4614">
                  <c:v>6.192843E-2</c:v>
                </c:pt>
                <c:pt idx="4615">
                  <c:v>6.1789963000000003E-2</c:v>
                </c:pt>
                <c:pt idx="4616">
                  <c:v>6.1471482000000001E-2</c:v>
                </c:pt>
                <c:pt idx="4617">
                  <c:v>6.1386863999999999E-2</c:v>
                </c:pt>
                <c:pt idx="4618">
                  <c:v>6.1311473999999998E-2</c:v>
                </c:pt>
                <c:pt idx="4619">
                  <c:v>6.1308401999999998E-2</c:v>
                </c:pt>
                <c:pt idx="4620">
                  <c:v>6.1268390999999998E-2</c:v>
                </c:pt>
                <c:pt idx="4621">
                  <c:v>6.1114485000000003E-2</c:v>
                </c:pt>
                <c:pt idx="4622">
                  <c:v>6.1105241999999997E-2</c:v>
                </c:pt>
                <c:pt idx="4623">
                  <c:v>6.0971432999999998E-2</c:v>
                </c:pt>
                <c:pt idx="4624">
                  <c:v>6.0968403999999997E-2</c:v>
                </c:pt>
                <c:pt idx="4625">
                  <c:v>6.0965302999999998E-2</c:v>
                </c:pt>
                <c:pt idx="4626">
                  <c:v>6.0931433E-2</c:v>
                </c:pt>
                <c:pt idx="4627">
                  <c:v>6.0892937000000001E-2</c:v>
                </c:pt>
                <c:pt idx="4628">
                  <c:v>6.0889947E-2</c:v>
                </c:pt>
                <c:pt idx="4629">
                  <c:v>6.0888313999999999E-2</c:v>
                </c:pt>
                <c:pt idx="4630">
                  <c:v>6.0734510999999998E-2</c:v>
                </c:pt>
                <c:pt idx="4631">
                  <c:v>6.0645261999999998E-2</c:v>
                </c:pt>
                <c:pt idx="4632">
                  <c:v>6.0636031E-2</c:v>
                </c:pt>
                <c:pt idx="4633">
                  <c:v>6.0634494999999997E-2</c:v>
                </c:pt>
                <c:pt idx="4634">
                  <c:v>6.0582171999999997E-2</c:v>
                </c:pt>
                <c:pt idx="4635">
                  <c:v>6.0580624E-2</c:v>
                </c:pt>
                <c:pt idx="4636">
                  <c:v>6.0417600000000002E-2</c:v>
                </c:pt>
                <c:pt idx="4637">
                  <c:v>6.0276074999999998E-2</c:v>
                </c:pt>
                <c:pt idx="4638">
                  <c:v>5.9900639999999998E-2</c:v>
                </c:pt>
                <c:pt idx="4639">
                  <c:v>5.9872941999999998E-2</c:v>
                </c:pt>
                <c:pt idx="4640">
                  <c:v>5.9849864000000003E-2</c:v>
                </c:pt>
                <c:pt idx="4641">
                  <c:v>5.9848327999999999E-2</c:v>
                </c:pt>
                <c:pt idx="4642">
                  <c:v>5.9811401E-2</c:v>
                </c:pt>
                <c:pt idx="4643">
                  <c:v>5.9808328000000001E-2</c:v>
                </c:pt>
                <c:pt idx="4644">
                  <c:v>5.9622157000000002E-2</c:v>
                </c:pt>
                <c:pt idx="4645">
                  <c:v>5.9612928000000003E-2</c:v>
                </c:pt>
                <c:pt idx="4646">
                  <c:v>5.955908E-2</c:v>
                </c:pt>
                <c:pt idx="4647">
                  <c:v>5.9556007000000001E-2</c:v>
                </c:pt>
                <c:pt idx="4648">
                  <c:v>5.9552923000000001E-2</c:v>
                </c:pt>
                <c:pt idx="4649">
                  <c:v>5.9514483999999999E-2</c:v>
                </c:pt>
                <c:pt idx="4650">
                  <c:v>5.9499099E-2</c:v>
                </c:pt>
                <c:pt idx="4651">
                  <c:v>5.9423684999999997E-2</c:v>
                </c:pt>
                <c:pt idx="4652">
                  <c:v>5.9366752000000002E-2</c:v>
                </c:pt>
                <c:pt idx="4653">
                  <c:v>5.9349830999999999E-2</c:v>
                </c:pt>
                <c:pt idx="4654">
                  <c:v>5.9346458999999997E-2</c:v>
                </c:pt>
                <c:pt idx="4655">
                  <c:v>5.9329741999999998E-2</c:v>
                </c:pt>
                <c:pt idx="4656">
                  <c:v>5.9328206000000001E-2</c:v>
                </c:pt>
                <c:pt idx="4657">
                  <c:v>5.9303688E-2</c:v>
                </c:pt>
                <c:pt idx="4658">
                  <c:v>5.9238966999999997E-2</c:v>
                </c:pt>
                <c:pt idx="4659">
                  <c:v>5.9237526999999998E-2</c:v>
                </c:pt>
                <c:pt idx="4660">
                  <c:v>5.9222045000000001E-2</c:v>
                </c:pt>
                <c:pt idx="4661">
                  <c:v>5.9077518000000002E-2</c:v>
                </c:pt>
                <c:pt idx="4662">
                  <c:v>5.8905196999999999E-2</c:v>
                </c:pt>
                <c:pt idx="4663">
                  <c:v>5.8857505999999997E-2</c:v>
                </c:pt>
                <c:pt idx="4664">
                  <c:v>5.8835963999999998E-2</c:v>
                </c:pt>
                <c:pt idx="4665">
                  <c:v>5.8832891999999998E-2</c:v>
                </c:pt>
                <c:pt idx="4666">
                  <c:v>5.8775850999999997E-2</c:v>
                </c:pt>
                <c:pt idx="4667">
                  <c:v>5.8768158000000001E-2</c:v>
                </c:pt>
                <c:pt idx="4668">
                  <c:v>5.8675955000000002E-2</c:v>
                </c:pt>
                <c:pt idx="4669">
                  <c:v>5.8672883000000002E-2</c:v>
                </c:pt>
                <c:pt idx="4670">
                  <c:v>5.8635859999999998E-2</c:v>
                </c:pt>
                <c:pt idx="4671">
                  <c:v>5.8597397000000002E-2</c:v>
                </c:pt>
                <c:pt idx="4672">
                  <c:v>5.8458929999999999E-2</c:v>
                </c:pt>
                <c:pt idx="4673">
                  <c:v>5.8395853999999997E-2</c:v>
                </c:pt>
                <c:pt idx="4674">
                  <c:v>5.8280453000000003E-2</c:v>
                </c:pt>
                <c:pt idx="4675">
                  <c:v>5.8252766999999997E-2</c:v>
                </c:pt>
                <c:pt idx="4676">
                  <c:v>5.8014283999999999E-2</c:v>
                </c:pt>
                <c:pt idx="4677">
                  <c:v>5.7983609999999998E-2</c:v>
                </c:pt>
                <c:pt idx="4678">
                  <c:v>5.7980442E-2</c:v>
                </c:pt>
                <c:pt idx="4679">
                  <c:v>5.7940442000000002E-2</c:v>
                </c:pt>
                <c:pt idx="4680">
                  <c:v>5.7925140999999999E-2</c:v>
                </c:pt>
                <c:pt idx="4681">
                  <c:v>5.7874281E-2</c:v>
                </c:pt>
                <c:pt idx="4682">
                  <c:v>5.7871292999999997E-2</c:v>
                </c:pt>
                <c:pt idx="4683">
                  <c:v>5.7786578999999998E-2</c:v>
                </c:pt>
                <c:pt idx="4684">
                  <c:v>5.7726586000000003E-2</c:v>
                </c:pt>
                <c:pt idx="4685">
                  <c:v>5.7692731999999997E-2</c:v>
                </c:pt>
                <c:pt idx="4686">
                  <c:v>5.7674273999999998E-2</c:v>
                </c:pt>
                <c:pt idx="4687">
                  <c:v>5.7580414000000003E-2</c:v>
                </c:pt>
                <c:pt idx="4688">
                  <c:v>5.7565028999999997E-2</c:v>
                </c:pt>
                <c:pt idx="4689">
                  <c:v>5.7563493E-2</c:v>
                </c:pt>
                <c:pt idx="4690">
                  <c:v>5.7534259999999997E-2</c:v>
                </c:pt>
                <c:pt idx="4691">
                  <c:v>5.7412713999999997E-2</c:v>
                </c:pt>
                <c:pt idx="4692">
                  <c:v>5.7378870999999998E-2</c:v>
                </c:pt>
                <c:pt idx="4693">
                  <c:v>5.7371179000000001E-2</c:v>
                </c:pt>
                <c:pt idx="4694">
                  <c:v>5.7335787999999999E-2</c:v>
                </c:pt>
                <c:pt idx="4695">
                  <c:v>5.7268174999999998E-2</c:v>
                </c:pt>
                <c:pt idx="4696">
                  <c:v>5.7226555999999998E-2</c:v>
                </c:pt>
                <c:pt idx="4697">
                  <c:v>5.7192700999999999E-2</c:v>
                </c:pt>
                <c:pt idx="4698">
                  <c:v>5.7166623E-2</c:v>
                </c:pt>
                <c:pt idx="4699">
                  <c:v>5.7057318000000003E-2</c:v>
                </c:pt>
                <c:pt idx="4700">
                  <c:v>5.7038849000000003E-2</c:v>
                </c:pt>
                <c:pt idx="4701">
                  <c:v>5.7009615E-2</c:v>
                </c:pt>
                <c:pt idx="4702">
                  <c:v>5.6966543000000001E-2</c:v>
                </c:pt>
                <c:pt idx="4703">
                  <c:v>5.6955765999999998E-2</c:v>
                </c:pt>
                <c:pt idx="4704">
                  <c:v>5.6937308999999998E-2</c:v>
                </c:pt>
                <c:pt idx="4705">
                  <c:v>5.6932689000000002E-2</c:v>
                </c:pt>
                <c:pt idx="4706">
                  <c:v>5.6723453E-2</c:v>
                </c:pt>
                <c:pt idx="4707">
                  <c:v>5.6612672000000003E-2</c:v>
                </c:pt>
                <c:pt idx="4708">
                  <c:v>5.6606515000000003E-2</c:v>
                </c:pt>
                <c:pt idx="4709">
                  <c:v>5.6580366E-2</c:v>
                </c:pt>
                <c:pt idx="4710">
                  <c:v>5.6523444999999999E-2</c:v>
                </c:pt>
                <c:pt idx="4711">
                  <c:v>5.6404971999999998E-2</c:v>
                </c:pt>
                <c:pt idx="4712">
                  <c:v>5.6380357999999998E-2</c:v>
                </c:pt>
                <c:pt idx="4713">
                  <c:v>5.6275734000000001E-2</c:v>
                </c:pt>
                <c:pt idx="4714">
                  <c:v>5.6014186000000001E-2</c:v>
                </c:pt>
                <c:pt idx="4715">
                  <c:v>5.5984950999999998E-2</c:v>
                </c:pt>
                <c:pt idx="4716">
                  <c:v>5.5966481999999998E-2</c:v>
                </c:pt>
                <c:pt idx="4717">
                  <c:v>5.5960336999999999E-2</c:v>
                </c:pt>
                <c:pt idx="4718">
                  <c:v>5.5761866E-2</c:v>
                </c:pt>
                <c:pt idx="4719">
                  <c:v>5.5738775999999997E-2</c:v>
                </c:pt>
                <c:pt idx="4720">
                  <c:v>5.5671078999999998E-2</c:v>
                </c:pt>
                <c:pt idx="4721">
                  <c:v>5.5517228000000002E-2</c:v>
                </c:pt>
                <c:pt idx="4722">
                  <c:v>5.5494149999999999E-2</c:v>
                </c:pt>
                <c:pt idx="4723">
                  <c:v>5.5297190000000003E-2</c:v>
                </c:pt>
                <c:pt idx="4724">
                  <c:v>5.5229529999999999E-2</c:v>
                </c:pt>
                <c:pt idx="4725">
                  <c:v>5.5169524999999997E-2</c:v>
                </c:pt>
                <c:pt idx="4726">
                  <c:v>5.5160283999999997E-2</c:v>
                </c:pt>
                <c:pt idx="4727">
                  <c:v>5.5155676000000001E-2</c:v>
                </c:pt>
                <c:pt idx="4728">
                  <c:v>5.5034130000000001E-2</c:v>
                </c:pt>
                <c:pt idx="4729">
                  <c:v>5.4964896999999999E-2</c:v>
                </c:pt>
                <c:pt idx="4730">
                  <c:v>5.4844888000000001E-2</c:v>
                </c:pt>
                <c:pt idx="4731">
                  <c:v>5.4811045000000003E-2</c:v>
                </c:pt>
                <c:pt idx="4732">
                  <c:v>5.4761804999999997E-2</c:v>
                </c:pt>
                <c:pt idx="4733">
                  <c:v>5.461411E-2</c:v>
                </c:pt>
                <c:pt idx="4734">
                  <c:v>5.4520250999999999E-2</c:v>
                </c:pt>
                <c:pt idx="4735">
                  <c:v>5.4506414000000003E-2</c:v>
                </c:pt>
                <c:pt idx="4736">
                  <c:v>5.4438680000000003E-2</c:v>
                </c:pt>
                <c:pt idx="4737">
                  <c:v>5.4355634E-2</c:v>
                </c:pt>
                <c:pt idx="4738">
                  <c:v>5.4220240000000003E-2</c:v>
                </c:pt>
                <c:pt idx="4739">
                  <c:v>5.4174083999999997E-2</c:v>
                </c:pt>
                <c:pt idx="4740">
                  <c:v>5.4151006000000002E-2</c:v>
                </c:pt>
                <c:pt idx="4741">
                  <c:v>5.4078688999999999E-2</c:v>
                </c:pt>
                <c:pt idx="4742">
                  <c:v>5.3989388999999999E-2</c:v>
                </c:pt>
                <c:pt idx="4743">
                  <c:v>5.3981744999999998E-2</c:v>
                </c:pt>
                <c:pt idx="4744">
                  <c:v>5.3874012999999998E-2</c:v>
                </c:pt>
                <c:pt idx="4745">
                  <c:v>5.3850935000000003E-2</c:v>
                </c:pt>
                <c:pt idx="4746">
                  <c:v>5.3717111999999997E-2</c:v>
                </c:pt>
                <c:pt idx="4747">
                  <c:v>5.3715600000000002E-2</c:v>
                </c:pt>
                <c:pt idx="4748">
                  <c:v>5.3627837999999997E-2</c:v>
                </c:pt>
                <c:pt idx="4749">
                  <c:v>5.3530438999999999E-2</c:v>
                </c:pt>
                <c:pt idx="4750">
                  <c:v>5.3392500000000002E-2</c:v>
                </c:pt>
                <c:pt idx="4751">
                  <c:v>5.3383211E-2</c:v>
                </c:pt>
                <c:pt idx="4752">
                  <c:v>5.3278646999999998E-2</c:v>
                </c:pt>
                <c:pt idx="4753">
                  <c:v>5.3250899999999997E-2</c:v>
                </c:pt>
                <c:pt idx="4754">
                  <c:v>5.3244743999999997E-2</c:v>
                </c:pt>
                <c:pt idx="4755">
                  <c:v>5.3240124E-2</c:v>
                </c:pt>
                <c:pt idx="4756">
                  <c:v>5.3217045999999997E-2</c:v>
                </c:pt>
                <c:pt idx="4757">
                  <c:v>5.3198588999999998E-2</c:v>
                </c:pt>
                <c:pt idx="4758">
                  <c:v>5.3055501999999997E-2</c:v>
                </c:pt>
                <c:pt idx="4759">
                  <c:v>5.3044795999999998E-2</c:v>
                </c:pt>
                <c:pt idx="4760">
                  <c:v>5.2946304999999999E-2</c:v>
                </c:pt>
                <c:pt idx="4761">
                  <c:v>5.2910915000000003E-2</c:v>
                </c:pt>
                <c:pt idx="4762">
                  <c:v>5.2818603999999998E-2</c:v>
                </c:pt>
                <c:pt idx="4763">
                  <c:v>5.2815494999999997E-2</c:v>
                </c:pt>
                <c:pt idx="4764">
                  <c:v>5.2692388999999999E-2</c:v>
                </c:pt>
                <c:pt idx="4765">
                  <c:v>5.2640102000000001E-2</c:v>
                </c:pt>
                <c:pt idx="4766">
                  <c:v>5.2538573999999998E-2</c:v>
                </c:pt>
                <c:pt idx="4767">
                  <c:v>5.2512400000000001E-2</c:v>
                </c:pt>
                <c:pt idx="4768">
                  <c:v>5.2432412999999997E-2</c:v>
                </c:pt>
                <c:pt idx="4769">
                  <c:v>5.2417039999999998E-2</c:v>
                </c:pt>
                <c:pt idx="4770">
                  <c:v>5.2386233999999997E-2</c:v>
                </c:pt>
                <c:pt idx="4771">
                  <c:v>5.2344711000000002E-2</c:v>
                </c:pt>
                <c:pt idx="4772">
                  <c:v>5.2321620999999999E-2</c:v>
                </c:pt>
                <c:pt idx="4773">
                  <c:v>5.2126209999999999E-2</c:v>
                </c:pt>
                <c:pt idx="4774">
                  <c:v>5.1921630000000003E-2</c:v>
                </c:pt>
                <c:pt idx="4775">
                  <c:v>5.1895443999999999E-2</c:v>
                </c:pt>
                <c:pt idx="4776">
                  <c:v>5.1752332999999998E-2</c:v>
                </c:pt>
                <c:pt idx="4777">
                  <c:v>5.1704664999999997E-2</c:v>
                </c:pt>
                <c:pt idx="4778">
                  <c:v>5.1701484999999998E-2</c:v>
                </c:pt>
                <c:pt idx="4779">
                  <c:v>5.1498489000000001E-2</c:v>
                </c:pt>
                <c:pt idx="4780">
                  <c:v>5.1392329E-2</c:v>
                </c:pt>
                <c:pt idx="4781">
                  <c:v>5.1352354000000003E-2</c:v>
                </c:pt>
                <c:pt idx="4782">
                  <c:v>5.1349234000000001E-2</c:v>
                </c:pt>
                <c:pt idx="4783">
                  <c:v>5.1316951E-2</c:v>
                </c:pt>
                <c:pt idx="4784">
                  <c:v>5.1315415000000003E-2</c:v>
                </c:pt>
                <c:pt idx="4785">
                  <c:v>5.1306078999999997E-2</c:v>
                </c:pt>
                <c:pt idx="4786">
                  <c:v>5.1121576000000002E-2</c:v>
                </c:pt>
                <c:pt idx="4787">
                  <c:v>5.1118468E-2</c:v>
                </c:pt>
                <c:pt idx="4788">
                  <c:v>5.1106071000000003E-2</c:v>
                </c:pt>
                <c:pt idx="4789">
                  <c:v>5.1101546999999997E-2</c:v>
                </c:pt>
                <c:pt idx="4790">
                  <c:v>5.1078469000000001E-2</c:v>
                </c:pt>
                <c:pt idx="4791">
                  <c:v>5.0962984000000003E-2</c:v>
                </c:pt>
                <c:pt idx="4792">
                  <c:v>5.0926068999999997E-2</c:v>
                </c:pt>
                <c:pt idx="4793">
                  <c:v>5.0910768000000002E-2</c:v>
                </c:pt>
                <c:pt idx="4794">
                  <c:v>5.0852300000000003E-2</c:v>
                </c:pt>
                <c:pt idx="4795">
                  <c:v>5.0832306000000001E-2</c:v>
                </c:pt>
                <c:pt idx="4796">
                  <c:v>5.0806143999999998E-2</c:v>
                </c:pt>
                <c:pt idx="4797">
                  <c:v>5.0783066000000002E-2</c:v>
                </c:pt>
                <c:pt idx="4798">
                  <c:v>5.0753831999999999E-2</c:v>
                </c:pt>
                <c:pt idx="4799">
                  <c:v>5.0738446E-2</c:v>
                </c:pt>
                <c:pt idx="4800">
                  <c:v>5.0673738000000003E-2</c:v>
                </c:pt>
                <c:pt idx="4801">
                  <c:v>5.0666045E-2</c:v>
                </c:pt>
                <c:pt idx="4802">
                  <c:v>5.0607589000000001E-2</c:v>
                </c:pt>
                <c:pt idx="4803">
                  <c:v>5.0564576999999999E-2</c:v>
                </c:pt>
                <c:pt idx="4804">
                  <c:v>5.0452188000000002E-2</c:v>
                </c:pt>
                <c:pt idx="4805">
                  <c:v>5.0430659000000003E-2</c:v>
                </c:pt>
                <c:pt idx="4806">
                  <c:v>5.0275259000000003E-2</c:v>
                </c:pt>
                <c:pt idx="4807">
                  <c:v>5.0163038E-2</c:v>
                </c:pt>
                <c:pt idx="4808">
                  <c:v>5.0161501999999997E-2</c:v>
                </c:pt>
                <c:pt idx="4809">
                  <c:v>5.0144581000000001E-2</c:v>
                </c:pt>
                <c:pt idx="4810">
                  <c:v>4.9982939999999997E-2</c:v>
                </c:pt>
                <c:pt idx="4811">
                  <c:v>4.9858395E-2</c:v>
                </c:pt>
                <c:pt idx="4812">
                  <c:v>4.9769083999999998E-2</c:v>
                </c:pt>
                <c:pt idx="4813">
                  <c:v>4.9749174E-2</c:v>
                </c:pt>
                <c:pt idx="4814">
                  <c:v>4.9745994000000002E-2</c:v>
                </c:pt>
                <c:pt idx="4815">
                  <c:v>4.9721380000000003E-2</c:v>
                </c:pt>
                <c:pt idx="4816">
                  <c:v>4.9507295E-2</c:v>
                </c:pt>
                <c:pt idx="4817">
                  <c:v>4.9481061999999999E-2</c:v>
                </c:pt>
                <c:pt idx="4818">
                  <c:v>4.9239507000000002E-2</c:v>
                </c:pt>
                <c:pt idx="4819">
                  <c:v>4.9013326000000003E-2</c:v>
                </c:pt>
                <c:pt idx="4820">
                  <c:v>4.8787179999999999E-2</c:v>
                </c:pt>
                <c:pt idx="4821">
                  <c:v>4.8759482E-2</c:v>
                </c:pt>
                <c:pt idx="4822">
                  <c:v>4.8687175999999999E-2</c:v>
                </c:pt>
                <c:pt idx="4823">
                  <c:v>4.8641021E-2</c:v>
                </c:pt>
                <c:pt idx="4824">
                  <c:v>4.8570251000000002E-2</c:v>
                </c:pt>
                <c:pt idx="4825">
                  <c:v>4.8362539000000003E-2</c:v>
                </c:pt>
                <c:pt idx="4826">
                  <c:v>4.8322516000000003E-2</c:v>
                </c:pt>
                <c:pt idx="4827">
                  <c:v>4.8316382999999997E-2</c:v>
                </c:pt>
                <c:pt idx="4828">
                  <c:v>4.8188681999999997E-2</c:v>
                </c:pt>
                <c:pt idx="4829">
                  <c:v>4.8162532000000001E-2</c:v>
                </c:pt>
                <c:pt idx="4830">
                  <c:v>4.8145586999999997E-2</c:v>
                </c:pt>
                <c:pt idx="4831">
                  <c:v>4.8071757E-2</c:v>
                </c:pt>
                <c:pt idx="4832">
                  <c:v>4.8019445000000001E-2</c:v>
                </c:pt>
                <c:pt idx="4833">
                  <c:v>4.8008679999999998E-2</c:v>
                </c:pt>
                <c:pt idx="4834">
                  <c:v>4.7999426999999997E-2</c:v>
                </c:pt>
                <c:pt idx="4835">
                  <c:v>4.7939447000000003E-2</c:v>
                </c:pt>
                <c:pt idx="4836">
                  <c:v>4.7830141999999999E-2</c:v>
                </c:pt>
                <c:pt idx="4837">
                  <c:v>4.7694819999999999E-2</c:v>
                </c:pt>
                <c:pt idx="4838">
                  <c:v>4.7550173000000001E-2</c:v>
                </c:pt>
                <c:pt idx="4839">
                  <c:v>4.7524034E-2</c:v>
                </c:pt>
                <c:pt idx="4840">
                  <c:v>4.731631E-2</c:v>
                </c:pt>
                <c:pt idx="4841">
                  <c:v>4.7285564000000002E-2</c:v>
                </c:pt>
                <c:pt idx="4842">
                  <c:v>4.7219403E-2</c:v>
                </c:pt>
                <c:pt idx="4843">
                  <c:v>4.7139405000000002E-2</c:v>
                </c:pt>
                <c:pt idx="4844">
                  <c:v>4.7112125999999997E-2</c:v>
                </c:pt>
                <c:pt idx="4845">
                  <c:v>4.7019370999999997E-2</c:v>
                </c:pt>
                <c:pt idx="4846">
                  <c:v>4.6985516999999997E-2</c:v>
                </c:pt>
                <c:pt idx="4847">
                  <c:v>4.6847062000000002E-2</c:v>
                </c:pt>
                <c:pt idx="4848">
                  <c:v>4.6831689000000003E-2</c:v>
                </c:pt>
                <c:pt idx="4849">
                  <c:v>4.6825964999999997E-2</c:v>
                </c:pt>
                <c:pt idx="4850">
                  <c:v>4.6654687E-2</c:v>
                </c:pt>
                <c:pt idx="4851">
                  <c:v>4.6634753000000001E-2</c:v>
                </c:pt>
                <c:pt idx="4852">
                  <c:v>4.6548539E-2</c:v>
                </c:pt>
                <c:pt idx="4853">
                  <c:v>4.6543978999999999E-2</c:v>
                </c:pt>
                <c:pt idx="4854">
                  <c:v>4.6437783000000003E-2</c:v>
                </c:pt>
                <c:pt idx="4855">
                  <c:v>4.6414729000000002E-2</c:v>
                </c:pt>
                <c:pt idx="4856">
                  <c:v>4.6413191999999999E-2</c:v>
                </c:pt>
                <c:pt idx="4857">
                  <c:v>4.640238E-2</c:v>
                </c:pt>
                <c:pt idx="4858">
                  <c:v>4.6399308E-2</c:v>
                </c:pt>
                <c:pt idx="4859">
                  <c:v>4.6388591E-2</c:v>
                </c:pt>
                <c:pt idx="4860">
                  <c:v>4.6385493999999999E-2</c:v>
                </c:pt>
                <c:pt idx="4861">
                  <c:v>4.6219353999999997E-2</c:v>
                </c:pt>
                <c:pt idx="4862">
                  <c:v>4.6170101999999998E-2</c:v>
                </c:pt>
                <c:pt idx="4863">
                  <c:v>4.6073171000000003E-2</c:v>
                </c:pt>
                <c:pt idx="4864">
                  <c:v>4.6046972999999998E-2</c:v>
                </c:pt>
                <c:pt idx="4865">
                  <c:v>4.6003937000000002E-2</c:v>
                </c:pt>
                <c:pt idx="4866">
                  <c:v>4.6002400999999998E-2</c:v>
                </c:pt>
                <c:pt idx="4867">
                  <c:v>4.5913125999999999E-2</c:v>
                </c:pt>
                <c:pt idx="4868">
                  <c:v>4.5788532999999999E-2</c:v>
                </c:pt>
                <c:pt idx="4869">
                  <c:v>4.5665474999999997E-2</c:v>
                </c:pt>
                <c:pt idx="4870">
                  <c:v>4.5662378000000003E-2</c:v>
                </c:pt>
                <c:pt idx="4871">
                  <c:v>4.5660806999999998E-2</c:v>
                </c:pt>
                <c:pt idx="4872">
                  <c:v>4.5365403999999998E-2</c:v>
                </c:pt>
                <c:pt idx="4873">
                  <c:v>4.5357746999999997E-2</c:v>
                </c:pt>
                <c:pt idx="4874">
                  <c:v>4.5356150999999997E-2</c:v>
                </c:pt>
                <c:pt idx="4875">
                  <c:v>4.5200811E-2</c:v>
                </c:pt>
                <c:pt idx="4876">
                  <c:v>4.4985371000000003E-2</c:v>
                </c:pt>
                <c:pt idx="4877">
                  <c:v>4.4976189999999999E-2</c:v>
                </c:pt>
                <c:pt idx="4878">
                  <c:v>4.4886914999999999E-2</c:v>
                </c:pt>
                <c:pt idx="4879">
                  <c:v>4.4883879000000002E-2</c:v>
                </c:pt>
                <c:pt idx="4880">
                  <c:v>4.482535E-2</c:v>
                </c:pt>
                <c:pt idx="4881">
                  <c:v>4.4797676000000002E-2</c:v>
                </c:pt>
                <c:pt idx="4882">
                  <c:v>4.4780754999999998E-2</c:v>
                </c:pt>
                <c:pt idx="4883">
                  <c:v>4.4568469999999999E-2</c:v>
                </c:pt>
                <c:pt idx="4884">
                  <c:v>4.4560777000000003E-2</c:v>
                </c:pt>
                <c:pt idx="4885">
                  <c:v>4.4557693000000002E-2</c:v>
                </c:pt>
                <c:pt idx="4886">
                  <c:v>4.4525350999999998E-2</c:v>
                </c:pt>
                <c:pt idx="4887">
                  <c:v>4.4497689E-2</c:v>
                </c:pt>
                <c:pt idx="4888">
                  <c:v>4.4494579999999999E-2</c:v>
                </c:pt>
                <c:pt idx="4889">
                  <c:v>4.4485256000000001E-2</c:v>
                </c:pt>
                <c:pt idx="4890">
                  <c:v>4.4383836000000003E-2</c:v>
                </c:pt>
                <c:pt idx="4891">
                  <c:v>4.4242260999999998E-2</c:v>
                </c:pt>
                <c:pt idx="4892">
                  <c:v>4.4234568000000002E-2</c:v>
                </c:pt>
                <c:pt idx="4893">
                  <c:v>4.4231496000000002E-2</c:v>
                </c:pt>
                <c:pt idx="4894">
                  <c:v>4.4168456000000002E-2</c:v>
                </c:pt>
                <c:pt idx="4895">
                  <c:v>4.4153070000000003E-2</c:v>
                </c:pt>
                <c:pt idx="4896">
                  <c:v>4.4011482999999997E-2</c:v>
                </c:pt>
                <c:pt idx="4897">
                  <c:v>4.3971483999999998E-2</c:v>
                </c:pt>
                <c:pt idx="4898">
                  <c:v>4.3969948000000002E-2</c:v>
                </c:pt>
                <c:pt idx="4899">
                  <c:v>4.3945310000000001E-2</c:v>
                </c:pt>
                <c:pt idx="4900">
                  <c:v>4.4061402999999999E-2</c:v>
                </c:pt>
                <c:pt idx="4901">
                  <c:v>4.418681E-2</c:v>
                </c:pt>
                <c:pt idx="4902">
                  <c:v>4.4302941999999998E-2</c:v>
                </c:pt>
                <c:pt idx="4903">
                  <c:v>4.4609556000000002E-2</c:v>
                </c:pt>
                <c:pt idx="4904">
                  <c:v>4.4851093000000002E-2</c:v>
                </c:pt>
                <c:pt idx="4905">
                  <c:v>4.5111255000000003E-2</c:v>
                </c:pt>
                <c:pt idx="4906">
                  <c:v>4.5376053999999999E-2</c:v>
                </c:pt>
                <c:pt idx="4907">
                  <c:v>4.5394606999999997E-2</c:v>
                </c:pt>
                <c:pt idx="4908">
                  <c:v>4.5547877000000001E-2</c:v>
                </c:pt>
                <c:pt idx="4909">
                  <c:v>4.5733722999999997E-2</c:v>
                </c:pt>
                <c:pt idx="4910">
                  <c:v>4.6202883E-2</c:v>
                </c:pt>
                <c:pt idx="4911">
                  <c:v>4.6244696000000002E-2</c:v>
                </c:pt>
                <c:pt idx="4912">
                  <c:v>4.6421194999999998E-2</c:v>
                </c:pt>
                <c:pt idx="4913">
                  <c:v>4.6593087999999998E-2</c:v>
                </c:pt>
                <c:pt idx="4914">
                  <c:v>4.6737083999999998E-2</c:v>
                </c:pt>
                <c:pt idx="4915">
                  <c:v>4.6797487999999998E-2</c:v>
                </c:pt>
                <c:pt idx="4916">
                  <c:v>4.7052974999999997E-2</c:v>
                </c:pt>
                <c:pt idx="4917">
                  <c:v>4.7870527000000003E-2</c:v>
                </c:pt>
                <c:pt idx="4918">
                  <c:v>4.7907704000000002E-2</c:v>
                </c:pt>
                <c:pt idx="4919">
                  <c:v>4.7954155999999998E-2</c:v>
                </c:pt>
                <c:pt idx="4920">
                  <c:v>4.7968106000000003E-2</c:v>
                </c:pt>
                <c:pt idx="4921">
                  <c:v>4.8218992000000002E-2</c:v>
                </c:pt>
                <c:pt idx="4922">
                  <c:v>4.8311859999999998E-2</c:v>
                </c:pt>
                <c:pt idx="4923">
                  <c:v>4.8748772000000003E-2</c:v>
                </c:pt>
                <c:pt idx="4924">
                  <c:v>4.9185468000000003E-2</c:v>
                </c:pt>
                <c:pt idx="4925">
                  <c:v>4.9617199000000001E-2</c:v>
                </c:pt>
                <c:pt idx="4926">
                  <c:v>4.9626472999999997E-2</c:v>
                </c:pt>
                <c:pt idx="4927">
                  <c:v>4.9840147000000001E-2</c:v>
                </c:pt>
                <c:pt idx="4928">
                  <c:v>5.0030883999999998E-2</c:v>
                </c:pt>
                <c:pt idx="4929">
                  <c:v>5.0541607000000002E-2</c:v>
                </c:pt>
                <c:pt idx="4930">
                  <c:v>5.0592732000000001E-2</c:v>
                </c:pt>
                <c:pt idx="4931">
                  <c:v>5.0824956999999997E-2</c:v>
                </c:pt>
                <c:pt idx="4932">
                  <c:v>5.0936451000000001E-2</c:v>
                </c:pt>
                <c:pt idx="4933">
                  <c:v>5.1238680000000002E-2</c:v>
                </c:pt>
                <c:pt idx="4934">
                  <c:v>5.1322017999999997E-2</c:v>
                </c:pt>
                <c:pt idx="4935">
                  <c:v>5.1470941999999999E-2</c:v>
                </c:pt>
                <c:pt idx="4936">
                  <c:v>5.1517393000000002E-2</c:v>
                </c:pt>
                <c:pt idx="4937">
                  <c:v>5.1522032000000002E-2</c:v>
                </c:pt>
                <c:pt idx="4938">
                  <c:v>5.1782157000000002E-2</c:v>
                </c:pt>
                <c:pt idx="4939">
                  <c:v>5.1907673000000001E-2</c:v>
                </c:pt>
                <c:pt idx="4940">
                  <c:v>5.2084132999999998E-2</c:v>
                </c:pt>
                <c:pt idx="4941">
                  <c:v>5.2093480999999997E-2</c:v>
                </c:pt>
                <c:pt idx="4942">
                  <c:v>5.2218816000000001E-2</c:v>
                </c:pt>
                <c:pt idx="4943">
                  <c:v>5.2850595E-2</c:v>
                </c:pt>
                <c:pt idx="4944">
                  <c:v>5.3282615999999998E-2</c:v>
                </c:pt>
                <c:pt idx="4945">
                  <c:v>5.3356933000000002E-2</c:v>
                </c:pt>
                <c:pt idx="4946">
                  <c:v>5.3700471E-2</c:v>
                </c:pt>
                <c:pt idx="4947">
                  <c:v>5.3747140999999998E-2</c:v>
                </c:pt>
                <c:pt idx="4948">
                  <c:v>5.4169847E-2</c:v>
                </c:pt>
                <c:pt idx="4949">
                  <c:v>5.4174523000000002E-2</c:v>
                </c:pt>
                <c:pt idx="4950">
                  <c:v>5.4230251E-2</c:v>
                </c:pt>
                <c:pt idx="4951">
                  <c:v>5.4434648000000002E-2</c:v>
                </c:pt>
                <c:pt idx="4952">
                  <c:v>5.4880656E-2</c:v>
                </c:pt>
                <c:pt idx="4953">
                  <c:v>5.4894532000000003E-2</c:v>
                </c:pt>
                <c:pt idx="4954">
                  <c:v>5.5136251999999997E-2</c:v>
                </c:pt>
                <c:pt idx="4955">
                  <c:v>5.5177884000000003E-2</c:v>
                </c:pt>
                <c:pt idx="4956">
                  <c:v>5.5182522999999997E-2</c:v>
                </c:pt>
                <c:pt idx="4957">
                  <c:v>5.5451960000000002E-2</c:v>
                </c:pt>
                <c:pt idx="4958">
                  <c:v>5.545667E-2</c:v>
                </c:pt>
                <c:pt idx="4959">
                  <c:v>5.6055912999999999E-2</c:v>
                </c:pt>
                <c:pt idx="4960">
                  <c:v>5.6473945999999997E-2</c:v>
                </c:pt>
                <c:pt idx="4961">
                  <c:v>5.6562251000000001E-2</c:v>
                </c:pt>
                <c:pt idx="4962">
                  <c:v>5.6655118999999997E-2</c:v>
                </c:pt>
                <c:pt idx="4963">
                  <c:v>5.7161635000000002E-2</c:v>
                </c:pt>
                <c:pt idx="4964">
                  <c:v>5.7370670999999998E-2</c:v>
                </c:pt>
                <c:pt idx="4965">
                  <c:v>5.7533109999999998E-2</c:v>
                </c:pt>
                <c:pt idx="4966">
                  <c:v>5.8239133999999998E-2</c:v>
                </c:pt>
                <c:pt idx="4967">
                  <c:v>5.8290258999999997E-2</c:v>
                </c:pt>
                <c:pt idx="4968">
                  <c:v>5.8294897999999998E-2</c:v>
                </c:pt>
                <c:pt idx="4969">
                  <c:v>5.8545748000000002E-2</c:v>
                </c:pt>
                <c:pt idx="4970">
                  <c:v>5.8582888E-2</c:v>
                </c:pt>
                <c:pt idx="4971">
                  <c:v>5.8764239000000003E-2</c:v>
                </c:pt>
                <c:pt idx="4972">
                  <c:v>5.8903958999999999E-2</c:v>
                </c:pt>
                <c:pt idx="4973">
                  <c:v>5.8922004E-2</c:v>
                </c:pt>
                <c:pt idx="4974">
                  <c:v>5.8931351999999999E-2</c:v>
                </c:pt>
                <c:pt idx="4975">
                  <c:v>5.9043353E-2</c:v>
                </c:pt>
                <c:pt idx="4976">
                  <c:v>5.9196078999999999E-2</c:v>
                </c:pt>
                <c:pt idx="4977">
                  <c:v>5.9740136999999999E-2</c:v>
                </c:pt>
                <c:pt idx="4978">
                  <c:v>5.9832571000000001E-2</c:v>
                </c:pt>
                <c:pt idx="4979">
                  <c:v>6.0269155999999997E-2</c:v>
                </c:pt>
                <c:pt idx="4980">
                  <c:v>6.0334233000000001E-2</c:v>
                </c:pt>
                <c:pt idx="4981">
                  <c:v>6.0682588000000003E-2</c:v>
                </c:pt>
                <c:pt idx="4982">
                  <c:v>6.0691937000000001E-2</c:v>
                </c:pt>
                <c:pt idx="4983">
                  <c:v>6.0747627999999998E-2</c:v>
                </c:pt>
                <c:pt idx="4984">
                  <c:v>6.0756905E-2</c:v>
                </c:pt>
                <c:pt idx="4985">
                  <c:v>6.1058917999999997E-2</c:v>
                </c:pt>
                <c:pt idx="4986">
                  <c:v>6.1416549000000001E-2</c:v>
                </c:pt>
                <c:pt idx="4987">
                  <c:v>6.1583768999999997E-2</c:v>
                </c:pt>
                <c:pt idx="4988">
                  <c:v>6.1862483000000003E-2</c:v>
                </c:pt>
                <c:pt idx="4989">
                  <c:v>6.2131994000000003E-2</c:v>
                </c:pt>
                <c:pt idx="4990">
                  <c:v>6.2150617999999998E-2</c:v>
                </c:pt>
                <c:pt idx="4991">
                  <c:v>6.2554703000000003E-2</c:v>
                </c:pt>
                <c:pt idx="4992">
                  <c:v>6.3595241999999996E-2</c:v>
                </c:pt>
                <c:pt idx="4993">
                  <c:v>6.3743837999999997E-2</c:v>
                </c:pt>
                <c:pt idx="4994">
                  <c:v>6.4217853000000005E-2</c:v>
                </c:pt>
                <c:pt idx="4995">
                  <c:v>6.4227020999999995E-2</c:v>
                </c:pt>
                <c:pt idx="4996">
                  <c:v>6.4231587000000007E-2</c:v>
                </c:pt>
                <c:pt idx="4997">
                  <c:v>6.4496567000000005E-2</c:v>
                </c:pt>
                <c:pt idx="4998">
                  <c:v>6.4552294999999996E-2</c:v>
                </c:pt>
                <c:pt idx="4999">
                  <c:v>6.4868076999999996E-2</c:v>
                </c:pt>
                <c:pt idx="5000">
                  <c:v>6.5146790999999996E-2</c:v>
                </c:pt>
                <c:pt idx="5001">
                  <c:v>6.5188531999999993E-2</c:v>
                </c:pt>
                <c:pt idx="5002">
                  <c:v>6.5193350999999997E-2</c:v>
                </c:pt>
                <c:pt idx="5003">
                  <c:v>6.5393003000000005E-2</c:v>
                </c:pt>
                <c:pt idx="5004">
                  <c:v>6.5564861000000002E-2</c:v>
                </c:pt>
                <c:pt idx="5005">
                  <c:v>6.5829625000000003E-2</c:v>
                </c:pt>
                <c:pt idx="5006">
                  <c:v>6.6433649999999997E-2</c:v>
                </c:pt>
                <c:pt idx="5007">
                  <c:v>6.6475354E-2</c:v>
                </c:pt>
                <c:pt idx="5008">
                  <c:v>6.6494305000000004E-2</c:v>
                </c:pt>
                <c:pt idx="5009">
                  <c:v>6.7093220999999995E-2</c:v>
                </c:pt>
                <c:pt idx="5010">
                  <c:v>6.7121085999999996E-2</c:v>
                </c:pt>
                <c:pt idx="5011">
                  <c:v>6.7265079000000005E-2</c:v>
                </c:pt>
                <c:pt idx="5012">
                  <c:v>6.7460310999999995E-2</c:v>
                </c:pt>
                <c:pt idx="5013">
                  <c:v>6.7743626000000001E-2</c:v>
                </c:pt>
                <c:pt idx="5014">
                  <c:v>6.8013062999999999E-2</c:v>
                </c:pt>
                <c:pt idx="5015">
                  <c:v>6.8212739999999994E-2</c:v>
                </c:pt>
                <c:pt idx="5016">
                  <c:v>6.8217492000000005E-2</c:v>
                </c:pt>
                <c:pt idx="5017">
                  <c:v>6.8500770000000002E-2</c:v>
                </c:pt>
                <c:pt idx="5018">
                  <c:v>6.8630974999999997E-2</c:v>
                </c:pt>
                <c:pt idx="5019">
                  <c:v>6.8951419E-2</c:v>
                </c:pt>
                <c:pt idx="5020">
                  <c:v>6.9495735000000003E-2</c:v>
                </c:pt>
                <c:pt idx="5021">
                  <c:v>6.9518067000000003E-2</c:v>
                </c:pt>
                <c:pt idx="5022">
                  <c:v>7.1413477000000003E-2</c:v>
                </c:pt>
                <c:pt idx="5023">
                  <c:v>7.1436704000000004E-2</c:v>
                </c:pt>
                <c:pt idx="5024">
                  <c:v>7.1655127999999998E-2</c:v>
                </c:pt>
                <c:pt idx="5025">
                  <c:v>7.2049976000000002E-2</c:v>
                </c:pt>
                <c:pt idx="5026">
                  <c:v>7.2398298E-2</c:v>
                </c:pt>
                <c:pt idx="5027">
                  <c:v>7.2723466E-2</c:v>
                </c:pt>
                <c:pt idx="5028">
                  <c:v>7.2732815000000006E-2</c:v>
                </c:pt>
                <c:pt idx="5029">
                  <c:v>7.2793144000000004E-2</c:v>
                </c:pt>
                <c:pt idx="5030">
                  <c:v>7.4005653000000005E-2</c:v>
                </c:pt>
                <c:pt idx="5031">
                  <c:v>7.4052103999999994E-2</c:v>
                </c:pt>
                <c:pt idx="5032">
                  <c:v>7.4066054000000006E-2</c:v>
                </c:pt>
                <c:pt idx="5033">
                  <c:v>7.4172872000000001E-2</c:v>
                </c:pt>
                <c:pt idx="5034">
                  <c:v>7.5143732000000005E-2</c:v>
                </c:pt>
                <c:pt idx="5035">
                  <c:v>7.5329577999999994E-2</c:v>
                </c:pt>
                <c:pt idx="5036">
                  <c:v>7.5724422E-2</c:v>
                </c:pt>
                <c:pt idx="5037">
                  <c:v>7.5803305000000001E-2</c:v>
                </c:pt>
                <c:pt idx="5038">
                  <c:v>7.5910231999999994E-2</c:v>
                </c:pt>
                <c:pt idx="5039">
                  <c:v>7.6523422999999993E-2</c:v>
                </c:pt>
                <c:pt idx="5040">
                  <c:v>7.6574440999999993E-2</c:v>
                </c:pt>
                <c:pt idx="5041">
                  <c:v>7.6811884999999996E-2</c:v>
                </c:pt>
                <c:pt idx="5042">
                  <c:v>7.6815980000000006E-2</c:v>
                </c:pt>
                <c:pt idx="5043">
                  <c:v>7.6825292000000003E-2</c:v>
                </c:pt>
                <c:pt idx="5044">
                  <c:v>7.6992511999999999E-2</c:v>
                </c:pt>
                <c:pt idx="5045">
                  <c:v>7.7052915E-2</c:v>
                </c:pt>
                <c:pt idx="5046">
                  <c:v>7.7062190000000003E-2</c:v>
                </c:pt>
                <c:pt idx="5047">
                  <c:v>7.7368985000000001E-2</c:v>
                </c:pt>
                <c:pt idx="5048">
                  <c:v>7.7494210999999993E-2</c:v>
                </c:pt>
                <c:pt idx="5049">
                  <c:v>7.7531459999999996E-2</c:v>
                </c:pt>
                <c:pt idx="5050">
                  <c:v>7.7629004000000001E-2</c:v>
                </c:pt>
                <c:pt idx="5051">
                  <c:v>7.7958733000000002E-2</c:v>
                </c:pt>
                <c:pt idx="5052">
                  <c:v>7.8739219999999999E-2</c:v>
                </c:pt>
                <c:pt idx="5053">
                  <c:v>7.9106308E-2</c:v>
                </c:pt>
                <c:pt idx="5054">
                  <c:v>7.9552169000000006E-2</c:v>
                </c:pt>
                <c:pt idx="5055">
                  <c:v>8.0169892000000006E-2</c:v>
                </c:pt>
                <c:pt idx="5056">
                  <c:v>8.0207140999999996E-2</c:v>
                </c:pt>
                <c:pt idx="5057">
                  <c:v>8.0337221E-2</c:v>
                </c:pt>
                <c:pt idx="5058">
                  <c:v>8.0866784999999997E-2</c:v>
                </c:pt>
                <c:pt idx="5059">
                  <c:v>8.1837645000000001E-2</c:v>
                </c:pt>
                <c:pt idx="5060">
                  <c:v>8.2947970999999995E-2</c:v>
                </c:pt>
                <c:pt idx="5061">
                  <c:v>8.3203348999999996E-2</c:v>
                </c:pt>
                <c:pt idx="5062">
                  <c:v>8.3496011999999994E-2</c:v>
                </c:pt>
                <c:pt idx="5063">
                  <c:v>8.3519349000000007E-2</c:v>
                </c:pt>
                <c:pt idx="5064">
                  <c:v>8.3607612999999997E-2</c:v>
                </c:pt>
                <c:pt idx="5065">
                  <c:v>8.3654139000000002E-2</c:v>
                </c:pt>
                <c:pt idx="5066">
                  <c:v>8.3802626000000005E-2</c:v>
                </c:pt>
                <c:pt idx="5067">
                  <c:v>8.3830492000000006E-2</c:v>
                </c:pt>
                <c:pt idx="5068">
                  <c:v>8.4313602000000001E-2</c:v>
                </c:pt>
                <c:pt idx="5069">
                  <c:v>8.4332191000000001E-2</c:v>
                </c:pt>
                <c:pt idx="5070">
                  <c:v>8.4346104000000005E-2</c:v>
                </c:pt>
                <c:pt idx="5071">
                  <c:v>8.4643406000000004E-2</c:v>
                </c:pt>
                <c:pt idx="5072">
                  <c:v>8.4657356000000003E-2</c:v>
                </c:pt>
                <c:pt idx="5073">
                  <c:v>8.4661995000000004E-2</c:v>
                </c:pt>
                <c:pt idx="5074">
                  <c:v>8.4959297000000003E-2</c:v>
                </c:pt>
                <c:pt idx="5075">
                  <c:v>8.5080100000000006E-2</c:v>
                </c:pt>
                <c:pt idx="5076">
                  <c:v>8.5354140999999994E-2</c:v>
                </c:pt>
                <c:pt idx="5077">
                  <c:v>8.5386788000000005E-2</c:v>
                </c:pt>
                <c:pt idx="5078">
                  <c:v>8.5855983999999996E-2</c:v>
                </c:pt>
                <c:pt idx="5079">
                  <c:v>8.5967330999999994E-2</c:v>
                </c:pt>
                <c:pt idx="5080">
                  <c:v>8.6023241E-2</c:v>
                </c:pt>
                <c:pt idx="5081">
                  <c:v>8.6483127000000007E-2</c:v>
                </c:pt>
                <c:pt idx="5082">
                  <c:v>8.6487728E-2</c:v>
                </c:pt>
                <c:pt idx="5083">
                  <c:v>8.6599256999999999E-2</c:v>
                </c:pt>
                <c:pt idx="5084">
                  <c:v>8.6896486999999994E-2</c:v>
                </c:pt>
                <c:pt idx="5085">
                  <c:v>8.6919711999999996E-2</c:v>
                </c:pt>
                <c:pt idx="5086">
                  <c:v>8.6929313999999994E-2</c:v>
                </c:pt>
                <c:pt idx="5087">
                  <c:v>8.7142697000000005E-2</c:v>
                </c:pt>
                <c:pt idx="5088">
                  <c:v>8.7899775999999999E-2</c:v>
                </c:pt>
                <c:pt idx="5089">
                  <c:v>8.8100441000000002E-2</c:v>
                </c:pt>
                <c:pt idx="5090">
                  <c:v>8.8183310000000001E-2</c:v>
                </c:pt>
                <c:pt idx="5091">
                  <c:v>8.8828966999999995E-2</c:v>
                </c:pt>
                <c:pt idx="5092">
                  <c:v>8.8894260000000003E-2</c:v>
                </c:pt>
                <c:pt idx="5093">
                  <c:v>8.8903209999999996E-2</c:v>
                </c:pt>
                <c:pt idx="5094">
                  <c:v>8.9065864999999994E-2</c:v>
                </c:pt>
                <c:pt idx="5095">
                  <c:v>8.9404982999999993E-2</c:v>
                </c:pt>
                <c:pt idx="5096">
                  <c:v>8.9409909999999995E-2</c:v>
                </c:pt>
                <c:pt idx="5097">
                  <c:v>8.9660760000000006E-2</c:v>
                </c:pt>
                <c:pt idx="5098">
                  <c:v>9.0269277999999994E-2</c:v>
                </c:pt>
                <c:pt idx="5099">
                  <c:v>9.1542112999999994E-2</c:v>
                </c:pt>
                <c:pt idx="5100">
                  <c:v>9.1834524000000001E-2</c:v>
                </c:pt>
                <c:pt idx="5101">
                  <c:v>9.1918114999999995E-2</c:v>
                </c:pt>
                <c:pt idx="5102">
                  <c:v>9.2281218999999998E-2</c:v>
                </c:pt>
                <c:pt idx="5103">
                  <c:v>9.2350101000000004E-2</c:v>
                </c:pt>
                <c:pt idx="5104">
                  <c:v>9.2438368000000007E-2</c:v>
                </c:pt>
                <c:pt idx="5105">
                  <c:v>9.2926117000000003E-2</c:v>
                </c:pt>
                <c:pt idx="5106">
                  <c:v>9.3395312999999994E-2</c:v>
                </c:pt>
                <c:pt idx="5107">
                  <c:v>9.3413900999999994E-2</c:v>
                </c:pt>
                <c:pt idx="5108">
                  <c:v>9.3559201999999994E-2</c:v>
                </c:pt>
                <c:pt idx="5109">
                  <c:v>9.3864764000000003E-2</c:v>
                </c:pt>
                <c:pt idx="5110">
                  <c:v>9.4138839000000002E-2</c:v>
                </c:pt>
                <c:pt idx="5111">
                  <c:v>9.4185293000000003E-2</c:v>
                </c:pt>
                <c:pt idx="5112">
                  <c:v>9.4709962999999994E-2</c:v>
                </c:pt>
                <c:pt idx="5113">
                  <c:v>9.4719203000000002E-2</c:v>
                </c:pt>
                <c:pt idx="5114">
                  <c:v>9.5030709000000005E-2</c:v>
                </c:pt>
                <c:pt idx="5115">
                  <c:v>9.5467115000000005E-2</c:v>
                </c:pt>
                <c:pt idx="5116">
                  <c:v>9.5676184999999997E-2</c:v>
                </c:pt>
                <c:pt idx="5117">
                  <c:v>9.6020194000000003E-2</c:v>
                </c:pt>
                <c:pt idx="5118">
                  <c:v>9.6284738999999994E-2</c:v>
                </c:pt>
                <c:pt idx="5119">
                  <c:v>9.6312821000000007E-2</c:v>
                </c:pt>
                <c:pt idx="5120">
                  <c:v>9.6554395000000001E-2</c:v>
                </c:pt>
                <c:pt idx="5121">
                  <c:v>9.7051202000000003E-2</c:v>
                </c:pt>
                <c:pt idx="5122">
                  <c:v>9.7171970999999996E-2</c:v>
                </c:pt>
                <c:pt idx="5123">
                  <c:v>9.7255816999999994E-2</c:v>
                </c:pt>
                <c:pt idx="5124">
                  <c:v>9.7525364000000003E-2</c:v>
                </c:pt>
                <c:pt idx="5125">
                  <c:v>9.7966658999999998E-2</c:v>
                </c:pt>
                <c:pt idx="5126">
                  <c:v>9.8240626999999997E-2</c:v>
                </c:pt>
                <c:pt idx="5127">
                  <c:v>9.8310087000000004E-2</c:v>
                </c:pt>
                <c:pt idx="5128">
                  <c:v>9.8389296000000001E-2</c:v>
                </c:pt>
                <c:pt idx="5129">
                  <c:v>9.8403246E-2</c:v>
                </c:pt>
                <c:pt idx="5130">
                  <c:v>9.8602969999999998E-2</c:v>
                </c:pt>
                <c:pt idx="5131">
                  <c:v>9.8714536000000006E-2</c:v>
                </c:pt>
                <c:pt idx="5132">
                  <c:v>9.8746746999999996E-2</c:v>
                </c:pt>
                <c:pt idx="5133">
                  <c:v>9.885824E-2</c:v>
                </c:pt>
                <c:pt idx="5134">
                  <c:v>9.9123257000000006E-2</c:v>
                </c:pt>
                <c:pt idx="5135">
                  <c:v>9.9197356E-2</c:v>
                </c:pt>
                <c:pt idx="5136">
                  <c:v>9.9202209999999999E-2</c:v>
                </c:pt>
                <c:pt idx="5137">
                  <c:v>9.9374106000000004E-2</c:v>
                </c:pt>
                <c:pt idx="5138">
                  <c:v>9.9662312000000003E-2</c:v>
                </c:pt>
                <c:pt idx="5139">
                  <c:v>9.9941026000000002E-2</c:v>
                </c:pt>
                <c:pt idx="5140">
                  <c:v>0.10000584999999999</c:v>
                </c:pt>
                <c:pt idx="5141">
                  <c:v>0.10003838900000001</c:v>
                </c:pt>
                <c:pt idx="5142">
                  <c:v>0.10080956200000001</c:v>
                </c:pt>
                <c:pt idx="5143">
                  <c:v>0.10095815900000001</c:v>
                </c:pt>
                <c:pt idx="5144">
                  <c:v>0.10100460999999999</c:v>
                </c:pt>
                <c:pt idx="5145">
                  <c:v>0.101213683</c:v>
                </c:pt>
                <c:pt idx="5146">
                  <c:v>0.10122302900000001</c:v>
                </c:pt>
                <c:pt idx="5147">
                  <c:v>0.10182680099999999</c:v>
                </c:pt>
                <c:pt idx="5148">
                  <c:v>0.102077759</c:v>
                </c:pt>
                <c:pt idx="5149">
                  <c:v>0.102375024</c:v>
                </c:pt>
                <c:pt idx="5150">
                  <c:v>0.102602576</c:v>
                </c:pt>
                <c:pt idx="5151">
                  <c:v>0.10305318500000001</c:v>
                </c:pt>
                <c:pt idx="5152">
                  <c:v>0.103150801</c:v>
                </c:pt>
                <c:pt idx="5153">
                  <c:v>0.103332008</c:v>
                </c:pt>
                <c:pt idx="5154">
                  <c:v>0.103582822</c:v>
                </c:pt>
                <c:pt idx="5155">
                  <c:v>0.103722104</c:v>
                </c:pt>
                <c:pt idx="5156">
                  <c:v>0.103754715</c:v>
                </c:pt>
                <c:pt idx="5157">
                  <c:v>0.104335478</c:v>
                </c:pt>
                <c:pt idx="5158">
                  <c:v>0.104530383</c:v>
                </c:pt>
                <c:pt idx="5159">
                  <c:v>0.104999578</c:v>
                </c:pt>
                <c:pt idx="5160">
                  <c:v>0.105612843</c:v>
                </c:pt>
                <c:pt idx="5161">
                  <c:v>0.105798726</c:v>
                </c:pt>
                <c:pt idx="5162">
                  <c:v>0.105942575</c:v>
                </c:pt>
                <c:pt idx="5163">
                  <c:v>0.106081932</c:v>
                </c:pt>
                <c:pt idx="5164">
                  <c:v>0.10639314699999999</c:v>
                </c:pt>
                <c:pt idx="5165">
                  <c:v>0.106500002</c:v>
                </c:pt>
                <c:pt idx="5166">
                  <c:v>0.10676943899999999</c:v>
                </c:pt>
                <c:pt idx="5167">
                  <c:v>0.106820638</c:v>
                </c:pt>
                <c:pt idx="5168">
                  <c:v>0.106932023</c:v>
                </c:pt>
                <c:pt idx="5169">
                  <c:v>0.106936771</c:v>
                </c:pt>
                <c:pt idx="5170">
                  <c:v>0.10694137200000001</c:v>
                </c:pt>
                <c:pt idx="5171">
                  <c:v>0.10694593600000001</c:v>
                </c:pt>
                <c:pt idx="5172">
                  <c:v>0.10695525</c:v>
                </c:pt>
                <c:pt idx="5173">
                  <c:v>0.106983656</c:v>
                </c:pt>
                <c:pt idx="5174">
                  <c:v>0.107001701</c:v>
                </c:pt>
                <c:pt idx="5175">
                  <c:v>0.107150407</c:v>
                </c:pt>
                <c:pt idx="5176">
                  <c:v>0.107159647</c:v>
                </c:pt>
                <c:pt idx="5177">
                  <c:v>0.107299004</c:v>
                </c:pt>
                <c:pt idx="5178">
                  <c:v>0.107847154</c:v>
                </c:pt>
                <c:pt idx="5179">
                  <c:v>0.108116557</c:v>
                </c:pt>
                <c:pt idx="5180">
                  <c:v>0.108451033</c:v>
                </c:pt>
                <c:pt idx="5181">
                  <c:v>0.108831964</c:v>
                </c:pt>
                <c:pt idx="5182">
                  <c:v>0.109068865</c:v>
                </c:pt>
                <c:pt idx="5183">
                  <c:v>0.109171117</c:v>
                </c:pt>
                <c:pt idx="5184">
                  <c:v>0.109403379</c:v>
                </c:pt>
                <c:pt idx="5185">
                  <c:v>0.10950552400000001</c:v>
                </c:pt>
                <c:pt idx="5186">
                  <c:v>0.1098633</c:v>
                </c:pt>
                <c:pt idx="5187">
                  <c:v>0.11137648</c:v>
                </c:pt>
                <c:pt idx="5188">
                  <c:v>0.11374509100000001</c:v>
                </c:pt>
                <c:pt idx="5189">
                  <c:v>0.114380378</c:v>
                </c:pt>
                <c:pt idx="5190">
                  <c:v>0.11445369399999999</c:v>
                </c:pt>
                <c:pt idx="5191">
                  <c:v>0.116869535</c:v>
                </c:pt>
                <c:pt idx="5192">
                  <c:v>0.117235934</c:v>
                </c:pt>
                <c:pt idx="5193">
                  <c:v>0.11735799399999999</c:v>
                </c:pt>
                <c:pt idx="5194">
                  <c:v>0.118628385</c:v>
                </c:pt>
                <c:pt idx="5195">
                  <c:v>0.12041007400000001</c:v>
                </c:pt>
                <c:pt idx="5196">
                  <c:v>0.122143972</c:v>
                </c:pt>
                <c:pt idx="5197">
                  <c:v>0.122899805</c:v>
                </c:pt>
                <c:pt idx="5198">
                  <c:v>0.12370552899999999</c:v>
                </c:pt>
                <c:pt idx="5199">
                  <c:v>0.128271362</c:v>
                </c:pt>
                <c:pt idx="5200">
                  <c:v>0.12854006700000001</c:v>
                </c:pt>
                <c:pt idx="5201">
                  <c:v>0.128979965</c:v>
                </c:pt>
                <c:pt idx="5202">
                  <c:v>0.129003391</c:v>
                </c:pt>
                <c:pt idx="5203">
                  <c:v>0.12902833</c:v>
                </c:pt>
                <c:pt idx="5204">
                  <c:v>0.129052525</c:v>
                </c:pt>
                <c:pt idx="5205">
                  <c:v>0.129077843</c:v>
                </c:pt>
                <c:pt idx="5206">
                  <c:v>0.129102037</c:v>
                </c:pt>
                <c:pt idx="5207">
                  <c:v>0.12912584099999999</c:v>
                </c:pt>
                <c:pt idx="5208">
                  <c:v>0.12917515800000001</c:v>
                </c:pt>
                <c:pt idx="5209">
                  <c:v>0.12919915800000001</c:v>
                </c:pt>
                <c:pt idx="5210">
                  <c:v>0.12924867000000001</c:v>
                </c:pt>
                <c:pt idx="5211">
                  <c:v>0.129272474</c:v>
                </c:pt>
                <c:pt idx="5212">
                  <c:v>0.12929665700000001</c:v>
                </c:pt>
                <c:pt idx="5213">
                  <c:v>0.129321987</c:v>
                </c:pt>
                <c:pt idx="5214">
                  <c:v>0.129369973</c:v>
                </c:pt>
                <c:pt idx="5215">
                  <c:v>0.12941872900000001</c:v>
                </c:pt>
                <c:pt idx="5216">
                  <c:v>0.12944404600000001</c:v>
                </c:pt>
                <c:pt idx="5217">
                  <c:v>0.129541557</c:v>
                </c:pt>
                <c:pt idx="5218">
                  <c:v>0.12958934899999999</c:v>
                </c:pt>
                <c:pt idx="5219">
                  <c:v>0.12961487399999999</c:v>
                </c:pt>
                <c:pt idx="5220">
                  <c:v>0.12963867800000001</c:v>
                </c:pt>
                <c:pt idx="5221">
                  <c:v>0.12981024999999999</c:v>
                </c:pt>
                <c:pt idx="5222">
                  <c:v>0.12983444499999999</c:v>
                </c:pt>
                <c:pt idx="5223">
                  <c:v>0.12985824900000001</c:v>
                </c:pt>
                <c:pt idx="5224">
                  <c:v>0.12988318800000001</c:v>
                </c:pt>
                <c:pt idx="5225">
                  <c:v>0.12988757000000001</c:v>
                </c:pt>
                <c:pt idx="5226">
                  <c:v>0.12990776100000001</c:v>
                </c:pt>
                <c:pt idx="5227">
                  <c:v>0.129931565</c:v>
                </c:pt>
                <c:pt idx="5228">
                  <c:v>0.129955552</c:v>
                </c:pt>
                <c:pt idx="5229">
                  <c:v>0.129981078</c:v>
                </c:pt>
                <c:pt idx="5230">
                  <c:v>0.13000488199999999</c:v>
                </c:pt>
                <c:pt idx="5231">
                  <c:v>0.130029064</c:v>
                </c:pt>
                <c:pt idx="5232">
                  <c:v>0.13005439399999999</c:v>
                </c:pt>
                <c:pt idx="5233">
                  <c:v>0.130078576</c:v>
                </c:pt>
                <c:pt idx="5234">
                  <c:v>0.130102576</c:v>
                </c:pt>
                <c:pt idx="5235">
                  <c:v>0.130176454</c:v>
                </c:pt>
                <c:pt idx="5236">
                  <c:v>0.130200648</c:v>
                </c:pt>
                <c:pt idx="5237">
                  <c:v>0.13022445199999999</c:v>
                </c:pt>
                <c:pt idx="5238">
                  <c:v>0.13025377399999999</c:v>
                </c:pt>
                <c:pt idx="5239">
                  <c:v>0.13029776900000001</c:v>
                </c:pt>
                <c:pt idx="5240">
                  <c:v>0.13032175600000001</c:v>
                </c:pt>
                <c:pt idx="5241">
                  <c:v>0.130517523</c:v>
                </c:pt>
                <c:pt idx="5242">
                  <c:v>0.13056685200000001</c:v>
                </c:pt>
                <c:pt idx="5243">
                  <c:v>0.13059083899999999</c:v>
                </c:pt>
                <c:pt idx="5244">
                  <c:v>0.130619978</c:v>
                </c:pt>
                <c:pt idx="5245">
                  <c:v>0.13078680100000001</c:v>
                </c:pt>
                <c:pt idx="5246">
                  <c:v>0.13098618100000001</c:v>
                </c:pt>
                <c:pt idx="5247">
                  <c:v>0.131054542</c:v>
                </c:pt>
                <c:pt idx="5248">
                  <c:v>0.13110349299999999</c:v>
                </c:pt>
                <c:pt idx="5249">
                  <c:v>0.13115185800000001</c:v>
                </c:pt>
                <c:pt idx="5250">
                  <c:v>0.131323247</c:v>
                </c:pt>
                <c:pt idx="5251">
                  <c:v>0.13135238499999999</c:v>
                </c:pt>
                <c:pt idx="5252">
                  <c:v>0.13149406199999999</c:v>
                </c:pt>
                <c:pt idx="5253">
                  <c:v>0.13151806099999999</c:v>
                </c:pt>
                <c:pt idx="5254">
                  <c:v>0.13154339100000001</c:v>
                </c:pt>
                <c:pt idx="5255">
                  <c:v>0.13156739100000001</c:v>
                </c:pt>
                <c:pt idx="5256">
                  <c:v>0.131591756</c:v>
                </c:pt>
                <c:pt idx="5257">
                  <c:v>0.131616134</c:v>
                </c:pt>
                <c:pt idx="5258">
                  <c:v>0.13164013299999999</c:v>
                </c:pt>
                <c:pt idx="5259">
                  <c:v>0.131718589</c:v>
                </c:pt>
                <c:pt idx="5260">
                  <c:v>0.13183590000000001</c:v>
                </c:pt>
                <c:pt idx="5261">
                  <c:v>1.6222150609999999</c:v>
                </c:pt>
                <c:pt idx="5262">
                  <c:v>1.91987354</c:v>
                </c:pt>
                <c:pt idx="5263">
                  <c:v>2.2431690940000002</c:v>
                </c:pt>
                <c:pt idx="5264">
                  <c:v>3.1197487370000001</c:v>
                </c:pt>
                <c:pt idx="5265">
                  <c:v>3.170873845</c:v>
                </c:pt>
                <c:pt idx="5266">
                  <c:v>3.417407216</c:v>
                </c:pt>
                <c:pt idx="5267">
                  <c:v>4.0171957540000003</c:v>
                </c:pt>
                <c:pt idx="5268">
                  <c:v>4.6055072399999997</c:v>
                </c:pt>
                <c:pt idx="5269">
                  <c:v>5.7959921139999997</c:v>
                </c:pt>
                <c:pt idx="5270">
                  <c:v>7.5911843049999996</c:v>
                </c:pt>
                <c:pt idx="5271">
                  <c:v>7.6423094120000004</c:v>
                </c:pt>
                <c:pt idx="5272">
                  <c:v>7.8888427840000004</c:v>
                </c:pt>
                <c:pt idx="5273">
                  <c:v>8.1817315629999996</c:v>
                </c:pt>
                <c:pt idx="5274">
                  <c:v>8.784054029</c:v>
                </c:pt>
                <c:pt idx="5275">
                  <c:v>9.0747070000000001</c:v>
                </c:pt>
                <c:pt idx="5276">
                  <c:v>40.012210000000003</c:v>
                </c:pt>
                <c:pt idx="5277">
                  <c:v>27.927250000000001</c:v>
                </c:pt>
                <c:pt idx="5278">
                  <c:v>6.9213870000000002</c:v>
                </c:pt>
                <c:pt idx="5279">
                  <c:v>47.263179999999998</c:v>
                </c:pt>
                <c:pt idx="5280">
                  <c:v>76.772459999999995</c:v>
                </c:pt>
                <c:pt idx="5281">
                  <c:v>90.043949999999995</c:v>
                </c:pt>
                <c:pt idx="5282">
                  <c:v>98.569339999999997</c:v>
                </c:pt>
                <c:pt idx="5283">
                  <c:v>98.629229769999995</c:v>
                </c:pt>
                <c:pt idx="5284">
                  <c:v>98.639279779999995</c:v>
                </c:pt>
                <c:pt idx="5285">
                  <c:v>98.92085548</c:v>
                </c:pt>
                <c:pt idx="5286">
                  <c:v>98.979338850000005</c:v>
                </c:pt>
                <c:pt idx="5287">
                  <c:v>99.448787969999998</c:v>
                </c:pt>
                <c:pt idx="5288">
                  <c:v>99.508208940000003</c:v>
                </c:pt>
                <c:pt idx="5289">
                  <c:v>99.566721599999994</c:v>
                </c:pt>
                <c:pt idx="5290">
                  <c:v>99.62385716</c:v>
                </c:pt>
                <c:pt idx="5291">
                  <c:v>99.858318019999999</c:v>
                </c:pt>
                <c:pt idx="5292">
                  <c:v>99.976720450000002</c:v>
                </c:pt>
                <c:pt idx="5293">
                  <c:v>100.0342955</c:v>
                </c:pt>
                <c:pt idx="5294">
                  <c:v>100.4457008</c:v>
                </c:pt>
                <c:pt idx="5295">
                  <c:v>100.5028363</c:v>
                </c:pt>
                <c:pt idx="5296">
                  <c:v>100.6216783</c:v>
                </c:pt>
                <c:pt idx="5297">
                  <c:v>100.6788138</c:v>
                </c:pt>
                <c:pt idx="5298">
                  <c:v>100.7372972</c:v>
                </c:pt>
                <c:pt idx="5299">
                  <c:v>100.7980953</c:v>
                </c:pt>
                <c:pt idx="5300">
                  <c:v>100.9132747</c:v>
                </c:pt>
                <c:pt idx="5301">
                  <c:v>101.0303</c:v>
                </c:pt>
                <c:pt idx="5302">
                  <c:v>98.833010000000002</c:v>
                </c:pt>
                <c:pt idx="5303">
                  <c:v>98.781605659999997</c:v>
                </c:pt>
                <c:pt idx="5304">
                  <c:v>98.731025020000004</c:v>
                </c:pt>
                <c:pt idx="5305">
                  <c:v>98.680032530000005</c:v>
                </c:pt>
                <c:pt idx="5306">
                  <c:v>98.576811980000002</c:v>
                </c:pt>
                <c:pt idx="5307">
                  <c:v>98.216621200000006</c:v>
                </c:pt>
                <c:pt idx="5308">
                  <c:v>98.16362092</c:v>
                </c:pt>
                <c:pt idx="5309">
                  <c:v>98.009407890000006</c:v>
                </c:pt>
                <c:pt idx="5310">
                  <c:v>97.907834750000006</c:v>
                </c:pt>
                <c:pt idx="5311">
                  <c:v>97.854808739999996</c:v>
                </c:pt>
                <c:pt idx="5312">
                  <c:v>97.804228100000003</c:v>
                </c:pt>
                <c:pt idx="5313">
                  <c:v>97.753235599999996</c:v>
                </c:pt>
                <c:pt idx="5314">
                  <c:v>97.701831260000006</c:v>
                </c:pt>
                <c:pt idx="5315">
                  <c:v>97.648830989999993</c:v>
                </c:pt>
                <c:pt idx="5316">
                  <c:v>97.598224610000003</c:v>
                </c:pt>
                <c:pt idx="5317">
                  <c:v>97.237210110000007</c:v>
                </c:pt>
                <c:pt idx="5318">
                  <c:v>97.187015590000001</c:v>
                </c:pt>
                <c:pt idx="5319">
                  <c:v>97.032030329999998</c:v>
                </c:pt>
                <c:pt idx="5320">
                  <c:v>96.929633490000001</c:v>
                </c:pt>
                <c:pt idx="5321">
                  <c:v>96.876633220000002</c:v>
                </c:pt>
                <c:pt idx="5322">
                  <c:v>96.826026839999997</c:v>
                </c:pt>
                <c:pt idx="5323">
                  <c:v>96.774622489999999</c:v>
                </c:pt>
                <c:pt idx="5324">
                  <c:v>96.72363</c:v>
                </c:pt>
                <c:pt idx="5325">
                  <c:v>98.701170000000005</c:v>
                </c:pt>
                <c:pt idx="5326">
                  <c:v>98.65254856</c:v>
                </c:pt>
                <c:pt idx="5327">
                  <c:v>98.605045129999993</c:v>
                </c:pt>
                <c:pt idx="5328">
                  <c:v>98.462178030000004</c:v>
                </c:pt>
                <c:pt idx="5329">
                  <c:v>98.368312959999997</c:v>
                </c:pt>
                <c:pt idx="5330">
                  <c:v>98.27218809</c:v>
                </c:pt>
                <c:pt idx="5331">
                  <c:v>98.130438999999996</c:v>
                </c:pt>
                <c:pt idx="5332">
                  <c:v>97.987571900000006</c:v>
                </c:pt>
                <c:pt idx="5333">
                  <c:v>97.938950460000001</c:v>
                </c:pt>
                <c:pt idx="5334">
                  <c:v>97.930791380000002</c:v>
                </c:pt>
                <c:pt idx="5335">
                  <c:v>97.748579930000005</c:v>
                </c:pt>
                <c:pt idx="5336">
                  <c:v>97.701837699999999</c:v>
                </c:pt>
                <c:pt idx="5337">
                  <c:v>97.654714870000006</c:v>
                </c:pt>
                <c:pt idx="5338">
                  <c:v>97.605356020000002</c:v>
                </c:pt>
                <c:pt idx="5339">
                  <c:v>97.558589999999995</c:v>
                </c:pt>
                <c:pt idx="5340">
                  <c:v>94.877930000000006</c:v>
                </c:pt>
                <c:pt idx="5341">
                  <c:v>95.459121670000002</c:v>
                </c:pt>
                <c:pt idx="5342">
                  <c:v>98.261719999999997</c:v>
                </c:pt>
                <c:pt idx="5343">
                  <c:v>95.141599999999997</c:v>
                </c:pt>
                <c:pt idx="5344">
                  <c:v>97.932130000000001</c:v>
                </c:pt>
                <c:pt idx="5345">
                  <c:v>94.855959999999996</c:v>
                </c:pt>
                <c:pt idx="5346">
                  <c:v>99.733890000000002</c:v>
                </c:pt>
                <c:pt idx="5347">
                  <c:v>98.504966969999998</c:v>
                </c:pt>
                <c:pt idx="5348">
                  <c:v>94.680179999999993</c:v>
                </c:pt>
                <c:pt idx="5349">
                  <c:v>98.876949999999994</c:v>
                </c:pt>
                <c:pt idx="5350">
                  <c:v>94.833979999999997</c:v>
                </c:pt>
                <c:pt idx="5351">
                  <c:v>100.6567</c:v>
                </c:pt>
                <c:pt idx="5352">
                  <c:v>99.868904499999999</c:v>
                </c:pt>
                <c:pt idx="5353">
                  <c:v>96.262209999999996</c:v>
                </c:pt>
                <c:pt idx="5354">
                  <c:v>96.009568669999993</c:v>
                </c:pt>
                <c:pt idx="5355">
                  <c:v>95.752910999999997</c:v>
                </c:pt>
                <c:pt idx="5356">
                  <c:v>95.484074710000002</c:v>
                </c:pt>
                <c:pt idx="5357">
                  <c:v>95.229489999999998</c:v>
                </c:pt>
                <c:pt idx="5358">
                  <c:v>99.821780000000004</c:v>
                </c:pt>
                <c:pt idx="5359">
                  <c:v>94.680179999999993</c:v>
                </c:pt>
                <c:pt idx="5360">
                  <c:v>101.0303</c:v>
                </c:pt>
                <c:pt idx="5361">
                  <c:v>91.647949999999994</c:v>
                </c:pt>
                <c:pt idx="5362">
                  <c:v>100.5908</c:v>
                </c:pt>
                <c:pt idx="5363">
                  <c:v>93.823239999999998</c:v>
                </c:pt>
                <c:pt idx="5364">
                  <c:v>101.0962</c:v>
                </c:pt>
                <c:pt idx="5365">
                  <c:v>95.053709999999995</c:v>
                </c:pt>
                <c:pt idx="5366">
                  <c:v>96.319797170000001</c:v>
                </c:pt>
                <c:pt idx="5367">
                  <c:v>97.646916149999996</c:v>
                </c:pt>
                <c:pt idx="5368">
                  <c:v>97.869617750000003</c:v>
                </c:pt>
                <c:pt idx="5369">
                  <c:v>98.942869999999999</c:v>
                </c:pt>
                <c:pt idx="5370">
                  <c:v>95.646969999999996</c:v>
                </c:pt>
                <c:pt idx="5371">
                  <c:v>97.410483200000002</c:v>
                </c:pt>
                <c:pt idx="5372">
                  <c:v>99.095768989999996</c:v>
                </c:pt>
                <c:pt idx="5373">
                  <c:v>100.7666</c:v>
                </c:pt>
                <c:pt idx="5374">
                  <c:v>94.021000000000001</c:v>
                </c:pt>
                <c:pt idx="5375">
                  <c:v>100.5908</c:v>
                </c:pt>
                <c:pt idx="5376">
                  <c:v>94.350589999999997</c:v>
                </c:pt>
                <c:pt idx="5377">
                  <c:v>100.21729999999999</c:v>
                </c:pt>
                <c:pt idx="5378">
                  <c:v>95.910640000000001</c:v>
                </c:pt>
                <c:pt idx="5379">
                  <c:v>100.1074</c:v>
                </c:pt>
                <c:pt idx="5380">
                  <c:v>96.262209999999996</c:v>
                </c:pt>
                <c:pt idx="5381">
                  <c:v>100.61279999999999</c:v>
                </c:pt>
                <c:pt idx="5382">
                  <c:v>95.31738</c:v>
                </c:pt>
                <c:pt idx="5383">
                  <c:v>102.7441</c:v>
                </c:pt>
                <c:pt idx="5384">
                  <c:v>101.76674199999999</c:v>
                </c:pt>
                <c:pt idx="5385">
                  <c:v>97.294920000000005</c:v>
                </c:pt>
                <c:pt idx="5386">
                  <c:v>96.350099999999998</c:v>
                </c:pt>
                <c:pt idx="5387">
                  <c:v>99.33248347</c:v>
                </c:pt>
                <c:pt idx="5388">
                  <c:v>102.4365</c:v>
                </c:pt>
                <c:pt idx="5389">
                  <c:v>96.350099999999998</c:v>
                </c:pt>
                <c:pt idx="5390">
                  <c:v>105.5566</c:v>
                </c:pt>
                <c:pt idx="5391">
                  <c:v>90.769040000000004</c:v>
                </c:pt>
                <c:pt idx="5392">
                  <c:v>105.09520000000001</c:v>
                </c:pt>
                <c:pt idx="5393">
                  <c:v>92.087400000000002</c:v>
                </c:pt>
                <c:pt idx="5394">
                  <c:v>105.1392</c:v>
                </c:pt>
                <c:pt idx="5395">
                  <c:v>90.263670000000005</c:v>
                </c:pt>
                <c:pt idx="5396">
                  <c:v>106.4795</c:v>
                </c:pt>
                <c:pt idx="5397">
                  <c:v>89.69238</c:v>
                </c:pt>
                <c:pt idx="5398">
                  <c:v>107.71</c:v>
                </c:pt>
                <c:pt idx="5399">
                  <c:v>104.6202589</c:v>
                </c:pt>
                <c:pt idx="5400">
                  <c:v>90.483400000000003</c:v>
                </c:pt>
                <c:pt idx="5401">
                  <c:v>104.9194</c:v>
                </c:pt>
                <c:pt idx="5402">
                  <c:v>87.780760000000001</c:v>
                </c:pt>
                <c:pt idx="5403">
                  <c:v>108.43510000000001</c:v>
                </c:pt>
                <c:pt idx="5404">
                  <c:v>91.494140000000002</c:v>
                </c:pt>
                <c:pt idx="5405">
                  <c:v>106.17189999999999</c:v>
                </c:pt>
                <c:pt idx="5406">
                  <c:v>91.71387</c:v>
                </c:pt>
                <c:pt idx="5407">
                  <c:v>106.56740000000001</c:v>
                </c:pt>
                <c:pt idx="5408">
                  <c:v>89.362790000000004</c:v>
                </c:pt>
                <c:pt idx="5409">
                  <c:v>107.8198</c:v>
                </c:pt>
                <c:pt idx="5410">
                  <c:v>84.638670000000005</c:v>
                </c:pt>
                <c:pt idx="5411">
                  <c:v>109.1382</c:v>
                </c:pt>
                <c:pt idx="5412">
                  <c:v>93.647459999999995</c:v>
                </c:pt>
                <c:pt idx="5413">
                  <c:v>24.433589999999999</c:v>
                </c:pt>
                <c:pt idx="5414">
                  <c:v>6.3720699999999999</c:v>
                </c:pt>
                <c:pt idx="5415">
                  <c:v>50.818508219999998</c:v>
                </c:pt>
                <c:pt idx="5416">
                  <c:v>254.1797</c:v>
                </c:pt>
                <c:pt idx="5417">
                  <c:v>109.1602</c:v>
                </c:pt>
                <c:pt idx="5418">
                  <c:v>30.585940000000001</c:v>
                </c:pt>
                <c:pt idx="5419">
                  <c:v>5.0976559999999997</c:v>
                </c:pt>
                <c:pt idx="5420">
                  <c:v>108.6328</c:v>
                </c:pt>
                <c:pt idx="5421">
                  <c:v>251.78469999999999</c:v>
                </c:pt>
                <c:pt idx="5422">
                  <c:v>84.836429999999993</c:v>
                </c:pt>
                <c:pt idx="5423">
                  <c:v>25.763214399999999</c:v>
                </c:pt>
                <c:pt idx="5424">
                  <c:v>25.3125</c:v>
                </c:pt>
                <c:pt idx="5425">
                  <c:v>7.1411129999999998</c:v>
                </c:pt>
                <c:pt idx="5426">
                  <c:v>181.01070000000001</c:v>
                </c:pt>
                <c:pt idx="5427">
                  <c:v>229.81200000000001</c:v>
                </c:pt>
                <c:pt idx="5428">
                  <c:v>71.433109999999999</c:v>
                </c:pt>
                <c:pt idx="5429">
                  <c:v>25.708010000000002</c:v>
                </c:pt>
                <c:pt idx="5430">
                  <c:v>4.240723</c:v>
                </c:pt>
                <c:pt idx="5431">
                  <c:v>278.26170000000002</c:v>
                </c:pt>
                <c:pt idx="5432">
                  <c:v>255.3409274</c:v>
                </c:pt>
                <c:pt idx="5433">
                  <c:v>150.46879999999999</c:v>
                </c:pt>
                <c:pt idx="5434">
                  <c:v>55.964359999999999</c:v>
                </c:pt>
                <c:pt idx="5435">
                  <c:v>11.62354</c:v>
                </c:pt>
                <c:pt idx="5436">
                  <c:v>-7.2100096560000004</c:v>
                </c:pt>
                <c:pt idx="5437">
                  <c:v>-7.3608399999999996</c:v>
                </c:pt>
                <c:pt idx="5438">
                  <c:v>303.22269999999997</c:v>
                </c:pt>
                <c:pt idx="5439">
                  <c:v>127.59520000000001</c:v>
                </c:pt>
                <c:pt idx="5440">
                  <c:v>41.107104800000002</c:v>
                </c:pt>
                <c:pt idx="5441">
                  <c:v>37.880859999999998</c:v>
                </c:pt>
                <c:pt idx="5442">
                  <c:v>5.7788089999999999</c:v>
                </c:pt>
                <c:pt idx="5443">
                  <c:v>180.70310000000001</c:v>
                </c:pt>
                <c:pt idx="5444">
                  <c:v>196.98490000000001</c:v>
                </c:pt>
                <c:pt idx="5445">
                  <c:v>59.633789999999998</c:v>
                </c:pt>
                <c:pt idx="5446">
                  <c:v>22.52197</c:v>
                </c:pt>
                <c:pt idx="5447">
                  <c:v>-0.75528887499999997</c:v>
                </c:pt>
                <c:pt idx="5448">
                  <c:v>-0.9448242</c:v>
                </c:pt>
                <c:pt idx="5449">
                  <c:v>288.06150000000002</c:v>
                </c:pt>
                <c:pt idx="5450">
                  <c:v>127.8369</c:v>
                </c:pt>
                <c:pt idx="5451">
                  <c:v>49.108890000000002</c:v>
                </c:pt>
                <c:pt idx="5452">
                  <c:v>6.6357419999999996</c:v>
                </c:pt>
                <c:pt idx="5453">
                  <c:v>2.8780556530000001</c:v>
                </c:pt>
                <c:pt idx="5454">
                  <c:v>2.6806640000000002</c:v>
                </c:pt>
                <c:pt idx="5455">
                  <c:v>298.45460000000003</c:v>
                </c:pt>
                <c:pt idx="5456">
                  <c:v>118.3447</c:v>
                </c:pt>
                <c:pt idx="5457">
                  <c:v>35.090330000000002</c:v>
                </c:pt>
                <c:pt idx="5458">
                  <c:v>3.9550779999999999</c:v>
                </c:pt>
                <c:pt idx="5459">
                  <c:v>-8.3872773120000002</c:v>
                </c:pt>
                <c:pt idx="5460">
                  <c:v>-8.4814450000000008</c:v>
                </c:pt>
                <c:pt idx="5461">
                  <c:v>32.871090000000002</c:v>
                </c:pt>
                <c:pt idx="5462">
                  <c:v>313.98930000000001</c:v>
                </c:pt>
                <c:pt idx="5463">
                  <c:v>112.6099</c:v>
                </c:pt>
                <c:pt idx="5464">
                  <c:v>30.036619999999999</c:v>
                </c:pt>
                <c:pt idx="5465">
                  <c:v>12.031977169999999</c:v>
                </c:pt>
                <c:pt idx="5466">
                  <c:v>-5.6909179999999999</c:v>
                </c:pt>
                <c:pt idx="5467">
                  <c:v>-8.9648439999999994</c:v>
                </c:pt>
                <c:pt idx="5468">
                  <c:v>5.9753902630000004</c:v>
                </c:pt>
                <c:pt idx="5469">
                  <c:v>74.333260240000001</c:v>
                </c:pt>
                <c:pt idx="5470">
                  <c:v>156.3794</c:v>
                </c:pt>
                <c:pt idx="5471">
                  <c:v>292.88578680000001</c:v>
                </c:pt>
                <c:pt idx="5472">
                  <c:v>299.00389999999999</c:v>
                </c:pt>
                <c:pt idx="5473">
                  <c:v>114.34201</c:v>
                </c:pt>
                <c:pt idx="5474">
                  <c:v>112.7637</c:v>
                </c:pt>
                <c:pt idx="5475">
                  <c:v>30.520019999999999</c:v>
                </c:pt>
                <c:pt idx="5476">
                  <c:v>8.3056640000000002</c:v>
                </c:pt>
                <c:pt idx="5477">
                  <c:v>-8.1738280000000003</c:v>
                </c:pt>
                <c:pt idx="5478">
                  <c:v>-7.4989497930000004</c:v>
                </c:pt>
                <c:pt idx="5479">
                  <c:v>-6.8346324940000001</c:v>
                </c:pt>
                <c:pt idx="5480">
                  <c:v>-6.1488526480000001</c:v>
                </c:pt>
                <c:pt idx="5481">
                  <c:v>-5.4739744420000003</c:v>
                </c:pt>
                <c:pt idx="5482">
                  <c:v>-4.767072701</c:v>
                </c:pt>
                <c:pt idx="5483">
                  <c:v>-4.0976453140000002</c:v>
                </c:pt>
                <c:pt idx="5484">
                  <c:v>-4.0921944940000001</c:v>
                </c:pt>
                <c:pt idx="5485">
                  <c:v>-3.4278771940000001</c:v>
                </c:pt>
                <c:pt idx="5486">
                  <c:v>-2.726426273</c:v>
                </c:pt>
                <c:pt idx="5487">
                  <c:v>-2.6783910120000001</c:v>
                </c:pt>
                <c:pt idx="5488">
                  <c:v>-2.0460972470000001</c:v>
                </c:pt>
                <c:pt idx="5489">
                  <c:v>-1.3763291280000001</c:v>
                </c:pt>
                <c:pt idx="5490">
                  <c:v>0</c:v>
                </c:pt>
                <c:pt idx="5491">
                  <c:v>2.4189691999999999E-2</c:v>
                </c:pt>
                <c:pt idx="5492">
                  <c:v>0.123268185</c:v>
                </c:pt>
                <c:pt idx="5493">
                  <c:v>0.19855394700000001</c:v>
                </c:pt>
                <c:pt idx="5494">
                  <c:v>0.223128191</c:v>
                </c:pt>
                <c:pt idx="5495">
                  <c:v>0.24731788299999999</c:v>
                </c:pt>
                <c:pt idx="5496">
                  <c:v>0.32182212900000001</c:v>
                </c:pt>
                <c:pt idx="5497">
                  <c:v>0.34756244200000003</c:v>
                </c:pt>
                <c:pt idx="5498">
                  <c:v>0.37213668599999999</c:v>
                </c:pt>
                <c:pt idx="5499">
                  <c:v>0.420900626</c:v>
                </c:pt>
                <c:pt idx="5500">
                  <c:v>0.44664093500000002</c:v>
                </c:pt>
                <c:pt idx="5501">
                  <c:v>0.54495032300000001</c:v>
                </c:pt>
                <c:pt idx="5502">
                  <c:v>0.59506640099999997</c:v>
                </c:pt>
                <c:pt idx="5503">
                  <c:v>0.59526488099999997</c:v>
                </c:pt>
                <c:pt idx="5504">
                  <c:v>0.61945456899999995</c:v>
                </c:pt>
                <c:pt idx="5505">
                  <c:v>0.64499640199999997</c:v>
                </c:pt>
                <c:pt idx="5506">
                  <c:v>0.72085279300000005</c:v>
                </c:pt>
                <c:pt idx="5507">
                  <c:v>0.76846306799999997</c:v>
                </c:pt>
                <c:pt idx="5508">
                  <c:v>0.96740156700000002</c:v>
                </c:pt>
                <c:pt idx="5509">
                  <c:v>1.1405997569999999</c:v>
                </c:pt>
                <c:pt idx="5510">
                  <c:v>1.1911127939999999</c:v>
                </c:pt>
                <c:pt idx="5511">
                  <c:v>1.612013417</c:v>
                </c:pt>
                <c:pt idx="5512">
                  <c:v>2.6796595459999999</c:v>
                </c:pt>
                <c:pt idx="5513">
                  <c:v>3.0761720000000001</c:v>
                </c:pt>
                <c:pt idx="5514">
                  <c:v>-8.9868159999999992</c:v>
                </c:pt>
                <c:pt idx="5515">
                  <c:v>3.3618160000000001</c:v>
                </c:pt>
                <c:pt idx="5516">
                  <c:v>61.149900000000002</c:v>
                </c:pt>
                <c:pt idx="5517">
                  <c:v>58.886719999999997</c:v>
                </c:pt>
                <c:pt idx="5518">
                  <c:v>49.965820000000001</c:v>
                </c:pt>
                <c:pt idx="5519">
                  <c:v>55.590820000000001</c:v>
                </c:pt>
                <c:pt idx="5520">
                  <c:v>50.207520000000002</c:v>
                </c:pt>
                <c:pt idx="5521">
                  <c:v>35.969239999999999</c:v>
                </c:pt>
                <c:pt idx="5522">
                  <c:v>21.88477</c:v>
                </c:pt>
                <c:pt idx="5523">
                  <c:v>14.23828</c:v>
                </c:pt>
                <c:pt idx="5524">
                  <c:v>20.874020000000002</c:v>
                </c:pt>
                <c:pt idx="5525">
                  <c:v>4.0649410000000001</c:v>
                </c:pt>
                <c:pt idx="5526">
                  <c:v>-7.1411129999999998</c:v>
                </c:pt>
                <c:pt idx="5527">
                  <c:v>2.8125</c:v>
                </c:pt>
                <c:pt idx="5528">
                  <c:v>-5.2514649999999996</c:v>
                </c:pt>
                <c:pt idx="5529">
                  <c:v>3.7573240000000001</c:v>
                </c:pt>
                <c:pt idx="5530">
                  <c:v>-3.186035</c:v>
                </c:pt>
                <c:pt idx="5531">
                  <c:v>1.604004</c:v>
                </c:pt>
                <c:pt idx="5532">
                  <c:v>-7.1411129999999998</c:v>
                </c:pt>
                <c:pt idx="5533">
                  <c:v>-5.625</c:v>
                </c:pt>
                <c:pt idx="5534">
                  <c:v>-3.7449828090000001</c:v>
                </c:pt>
                <c:pt idx="5535">
                  <c:v>1.625977</c:v>
                </c:pt>
                <c:pt idx="5536">
                  <c:v>-3.6914060000000002</c:v>
                </c:pt>
                <c:pt idx="5537">
                  <c:v>-2.7759585960000002</c:v>
                </c:pt>
                <c:pt idx="5538">
                  <c:v>-1.908599844</c:v>
                </c:pt>
                <c:pt idx="5539">
                  <c:v>-1.0412409869999999</c:v>
                </c:pt>
                <c:pt idx="5540">
                  <c:v>-0.13991135499999999</c:v>
                </c:pt>
                <c:pt idx="5541">
                  <c:v>0.73406513500000004</c:v>
                </c:pt>
                <c:pt idx="5542">
                  <c:v>1.601423992</c:v>
                </c:pt>
                <c:pt idx="5543">
                  <c:v>3.3837890000000002</c:v>
                </c:pt>
                <c:pt idx="5544">
                  <c:v>2.4818399320000002</c:v>
                </c:pt>
                <c:pt idx="5545">
                  <c:v>1.5623662650000001</c:v>
                </c:pt>
                <c:pt idx="5546">
                  <c:v>0.206142621</c:v>
                </c:pt>
                <c:pt idx="5547">
                  <c:v>-0.26611181499999997</c:v>
                </c:pt>
                <c:pt idx="5548">
                  <c:v>-0.71355867699999997</c:v>
                </c:pt>
                <c:pt idx="5549">
                  <c:v>-1.1610055379999999</c:v>
                </c:pt>
                <c:pt idx="5550">
                  <c:v>-1.625977</c:v>
                </c:pt>
                <c:pt idx="5551">
                  <c:v>-6.1083980000000002</c:v>
                </c:pt>
                <c:pt idx="5552">
                  <c:v>-4.3246547030000002</c:v>
                </c:pt>
                <c:pt idx="5553">
                  <c:v>-0.65917970000000004</c:v>
                </c:pt>
                <c:pt idx="5554">
                  <c:v>-0.59460617900000001</c:v>
                </c:pt>
                <c:pt idx="5555">
                  <c:v>-0.528476265</c:v>
                </c:pt>
                <c:pt idx="5556">
                  <c:v>-0.45976340799999998</c:v>
                </c:pt>
                <c:pt idx="5557">
                  <c:v>-0.32958979999999999</c:v>
                </c:pt>
                <c:pt idx="5558">
                  <c:v>0.21437851099999999</c:v>
                </c:pt>
                <c:pt idx="5559">
                  <c:v>0.76488589799999995</c:v>
                </c:pt>
                <c:pt idx="5560">
                  <c:v>1.032715</c:v>
                </c:pt>
                <c:pt idx="5561">
                  <c:v>0.68853419900000001</c:v>
                </c:pt>
                <c:pt idx="5562">
                  <c:v>0.35210294199999997</c:v>
                </c:pt>
                <c:pt idx="5563">
                  <c:v>2.0894185999999999E-2</c:v>
                </c:pt>
                <c:pt idx="5564">
                  <c:v>-0.32850915600000002</c:v>
                </c:pt>
                <c:pt idx="5565">
                  <c:v>-0.65971787199999998</c:v>
                </c:pt>
                <c:pt idx="5566">
                  <c:v>-0.98823112800000001</c:v>
                </c:pt>
                <c:pt idx="5567">
                  <c:v>-1.3246623850000001</c:v>
                </c:pt>
                <c:pt idx="5568">
                  <c:v>-2.6806640000000002</c:v>
                </c:pt>
                <c:pt idx="5569">
                  <c:v>1.1645509999999999</c:v>
                </c:pt>
                <c:pt idx="5570">
                  <c:v>-1.0049169360000001</c:v>
                </c:pt>
                <c:pt idx="5571">
                  <c:v>-1.010742</c:v>
                </c:pt>
                <c:pt idx="5572">
                  <c:v>2.3071290000000002</c:v>
                </c:pt>
                <c:pt idx="5573">
                  <c:v>1.8346421470000001</c:v>
                </c:pt>
                <c:pt idx="5574">
                  <c:v>1.371160602</c:v>
                </c:pt>
                <c:pt idx="5575">
                  <c:v>0.89867375000000005</c:v>
                </c:pt>
                <c:pt idx="5576">
                  <c:v>0.201455623</c:v>
                </c:pt>
                <c:pt idx="5577">
                  <c:v>-4.0920154E-2</c:v>
                </c:pt>
                <c:pt idx="5578">
                  <c:v>-0.270848174</c:v>
                </c:pt>
                <c:pt idx="5579">
                  <c:v>-0.50065922200000001</c:v>
                </c:pt>
                <c:pt idx="5580">
                  <c:v>-0.97326304600000002</c:v>
                </c:pt>
                <c:pt idx="5581">
                  <c:v>-1.4457498980000001</c:v>
                </c:pt>
                <c:pt idx="5582">
                  <c:v>-1.903734671</c:v>
                </c:pt>
                <c:pt idx="5583">
                  <c:v>-2.1372882240000002</c:v>
                </c:pt>
                <c:pt idx="5584">
                  <c:v>-2.6097750770000001</c:v>
                </c:pt>
                <c:pt idx="5585">
                  <c:v>-3.306693176</c:v>
                </c:pt>
                <c:pt idx="5586">
                  <c:v>-3.5493689800000001</c:v>
                </c:pt>
                <c:pt idx="5587">
                  <c:v>-3.7792970000000001</c:v>
                </c:pt>
                <c:pt idx="5588">
                  <c:v>-3.4788386490000001</c:v>
                </c:pt>
                <c:pt idx="5589">
                  <c:v>-0.48339840000000001</c:v>
                </c:pt>
                <c:pt idx="5590">
                  <c:v>5.9985350000000004</c:v>
                </c:pt>
                <c:pt idx="5591">
                  <c:v>-0.87890630000000003</c:v>
                </c:pt>
                <c:pt idx="5592">
                  <c:v>-1.0558812989999999</c:v>
                </c:pt>
                <c:pt idx="5593">
                  <c:v>-1.348246593</c:v>
                </c:pt>
                <c:pt idx="5594">
                  <c:v>-1.407090926</c:v>
                </c:pt>
                <c:pt idx="5595">
                  <c:v>-1.5261350460000001</c:v>
                </c:pt>
                <c:pt idx="5596">
                  <c:v>-1.6479490000000001</c:v>
                </c:pt>
                <c:pt idx="5597">
                  <c:v>-1.3129461060000001</c:v>
                </c:pt>
                <c:pt idx="5598">
                  <c:v>-1.131828072</c:v>
                </c:pt>
                <c:pt idx="5599">
                  <c:v>-0.96031148899999996</c:v>
                </c:pt>
                <c:pt idx="5600">
                  <c:v>-0.78600175400000005</c:v>
                </c:pt>
                <c:pt idx="5601">
                  <c:v>2.7026370000000002</c:v>
                </c:pt>
                <c:pt idx="5602">
                  <c:v>-6.5917970000000006E-2</c:v>
                </c:pt>
                <c:pt idx="5603">
                  <c:v>-1.9335939849999999</c:v>
                </c:pt>
                <c:pt idx="5604">
                  <c:v>-3.8012700000000001</c:v>
                </c:pt>
                <c:pt idx="5605">
                  <c:v>0.63720699999999997</c:v>
                </c:pt>
                <c:pt idx="5606">
                  <c:v>-0.23305825699999999</c:v>
                </c:pt>
                <c:pt idx="5607">
                  <c:v>-0.29869204399999999</c:v>
                </c:pt>
                <c:pt idx="5608">
                  <c:v>-0.36429244100000002</c:v>
                </c:pt>
                <c:pt idx="5609">
                  <c:v>-0.43356513000000002</c:v>
                </c:pt>
                <c:pt idx="5610">
                  <c:v>-0.49919890900000002</c:v>
                </c:pt>
                <c:pt idx="5611">
                  <c:v>-0.56483269599999997</c:v>
                </c:pt>
                <c:pt idx="5612">
                  <c:v>-0.63096724500000001</c:v>
                </c:pt>
                <c:pt idx="5613">
                  <c:v>-0.76584033799999995</c:v>
                </c:pt>
                <c:pt idx="5614">
                  <c:v>-0.90074680600000001</c:v>
                </c:pt>
                <c:pt idx="5615">
                  <c:v>-1.0319809900000001</c:v>
                </c:pt>
                <c:pt idx="5616">
                  <c:v>-1.5663321370000001</c:v>
                </c:pt>
                <c:pt idx="5617">
                  <c:v>-1.6324666859999999</c:v>
                </c:pt>
                <c:pt idx="5618">
                  <c:v>-1.832973559</c:v>
                </c:pt>
                <c:pt idx="5619">
                  <c:v>-1.9668117300000001</c:v>
                </c:pt>
                <c:pt idx="5620">
                  <c:v>-2.036084411</c:v>
                </c:pt>
                <c:pt idx="5621">
                  <c:v>-2.1016848160000001</c:v>
                </c:pt>
                <c:pt idx="5622">
                  <c:v>-2.1673185949999998</c:v>
                </c:pt>
                <c:pt idx="5623">
                  <c:v>-2.2350222180000001</c:v>
                </c:pt>
                <c:pt idx="5624">
                  <c:v>-2.3016909189999999</c:v>
                </c:pt>
                <c:pt idx="5625">
                  <c:v>-2.4365640040000001</c:v>
                </c:pt>
                <c:pt idx="5626">
                  <c:v>-2.5677981879999998</c:v>
                </c:pt>
                <c:pt idx="5627">
                  <c:v>-2.6339661269999999</c:v>
                </c:pt>
                <c:pt idx="5628">
                  <c:v>-2.7688392130000001</c:v>
                </c:pt>
                <c:pt idx="5629">
                  <c:v>-2.834473</c:v>
                </c:pt>
                <c:pt idx="5630">
                  <c:v>-7.756348</c:v>
                </c:pt>
                <c:pt idx="5631">
                  <c:v>-4.979448981</c:v>
                </c:pt>
                <c:pt idx="5632">
                  <c:v>0.68115230000000004</c:v>
                </c:pt>
                <c:pt idx="5633">
                  <c:v>2.4609380000000001</c:v>
                </c:pt>
                <c:pt idx="5634">
                  <c:v>3.845215</c:v>
                </c:pt>
                <c:pt idx="5635">
                  <c:v>3.7136877940000002</c:v>
                </c:pt>
                <c:pt idx="5636">
                  <c:v>3.577023316</c:v>
                </c:pt>
                <c:pt idx="5637">
                  <c:v>3.4476037100000001</c:v>
                </c:pt>
                <c:pt idx="5638">
                  <c:v>3.1845492979999999</c:v>
                </c:pt>
                <c:pt idx="5639">
                  <c:v>2.9236024700000001</c:v>
                </c:pt>
                <c:pt idx="5640">
                  <c:v>2.786937993</c:v>
                </c:pt>
                <c:pt idx="5641">
                  <c:v>1.73584</c:v>
                </c:pt>
                <c:pt idx="5642">
                  <c:v>2.1202171079999999</c:v>
                </c:pt>
                <c:pt idx="5643">
                  <c:v>2.6586910000000001</c:v>
                </c:pt>
                <c:pt idx="5644">
                  <c:v>6.8115230000000002</c:v>
                </c:pt>
                <c:pt idx="5645">
                  <c:v>-1.779785</c:v>
                </c:pt>
                <c:pt idx="5646">
                  <c:v>0.1098633</c:v>
                </c:pt>
                <c:pt idx="5647">
                  <c:v>6.5039059999999997</c:v>
                </c:pt>
                <c:pt idx="5648">
                  <c:v>8.6132810000000006</c:v>
                </c:pt>
                <c:pt idx="5649">
                  <c:v>2.9223629999999998</c:v>
                </c:pt>
                <c:pt idx="5650">
                  <c:v>-0.8129883</c:v>
                </c:pt>
                <c:pt idx="5651">
                  <c:v>-7.009277</c:v>
                </c:pt>
                <c:pt idx="5652">
                  <c:v>5.7348629999999998</c:v>
                </c:pt>
                <c:pt idx="5653">
                  <c:v>6.5917970000000006E-2</c:v>
                </c:pt>
                <c:pt idx="5654">
                  <c:v>0.750121488</c:v>
                </c:pt>
                <c:pt idx="5655">
                  <c:v>1.418346074</c:v>
                </c:pt>
                <c:pt idx="5656">
                  <c:v>1.7578130000000001</c:v>
                </c:pt>
                <c:pt idx="5657">
                  <c:v>-1.2524409999999999</c:v>
                </c:pt>
                <c:pt idx="5658">
                  <c:v>-1.2752253389999999</c:v>
                </c:pt>
                <c:pt idx="5659">
                  <c:v>-1.2983807220000001</c:v>
                </c:pt>
                <c:pt idx="5660">
                  <c:v>-1.321536104</c:v>
                </c:pt>
                <c:pt idx="5661">
                  <c:v>-1.3455959040000001</c:v>
                </c:pt>
                <c:pt idx="5662">
                  <c:v>-1.3683802439999999</c:v>
                </c:pt>
                <c:pt idx="5663">
                  <c:v>-1.39117618</c:v>
                </c:pt>
                <c:pt idx="5664">
                  <c:v>-1.414691012</c:v>
                </c:pt>
                <c:pt idx="5665">
                  <c:v>-1.4606307329999999</c:v>
                </c:pt>
                <c:pt idx="5666">
                  <c:v>-1.484690533</c:v>
                </c:pt>
                <c:pt idx="5667">
                  <c:v>-1.5074864670000001</c:v>
                </c:pt>
                <c:pt idx="5668">
                  <c:v>-1.5302708089999999</c:v>
                </c:pt>
                <c:pt idx="5669">
                  <c:v>-1.553426191</c:v>
                </c:pt>
                <c:pt idx="5670">
                  <c:v>-1.6699219999999999</c:v>
                </c:pt>
                <c:pt idx="5671">
                  <c:v>-2.4509632520000002</c:v>
                </c:pt>
                <c:pt idx="5672">
                  <c:v>-2.7085794129999998</c:v>
                </c:pt>
                <c:pt idx="5673">
                  <c:v>-2.968276275</c:v>
                </c:pt>
                <c:pt idx="5674">
                  <c:v>-3.493652</c:v>
                </c:pt>
                <c:pt idx="5675">
                  <c:v>-2.9973468699999999</c:v>
                </c:pt>
                <c:pt idx="5676">
                  <c:v>-2.501294165</c:v>
                </c:pt>
                <c:pt idx="5677">
                  <c:v>-0.97703669299999996</c:v>
                </c:pt>
                <c:pt idx="5678">
                  <c:v>-0.48098404900000002</c:v>
                </c:pt>
                <c:pt idx="5679">
                  <c:v>2.3146884E-2</c:v>
                </c:pt>
                <c:pt idx="5680">
                  <c:v>0.52727775600000004</c:v>
                </c:pt>
                <c:pt idx="5681">
                  <c:v>1.051099225</c:v>
                </c:pt>
                <c:pt idx="5682">
                  <c:v>2.0434570000000001</c:v>
                </c:pt>
                <c:pt idx="5683">
                  <c:v>1.9861040190000001</c:v>
                </c:pt>
                <c:pt idx="5684">
                  <c:v>1.8774512189999999</c:v>
                </c:pt>
                <c:pt idx="5685">
                  <c:v>1.820098239</c:v>
                </c:pt>
                <c:pt idx="5686">
                  <c:v>1.6566906189999999</c:v>
                </c:pt>
                <c:pt idx="5687">
                  <c:v>1.599337639</c:v>
                </c:pt>
                <c:pt idx="5688">
                  <c:v>1.490684838</c:v>
                </c:pt>
                <c:pt idx="5689">
                  <c:v>1.4333318580000001</c:v>
                </c:pt>
                <c:pt idx="5690">
                  <c:v>1.0482791579999999</c:v>
                </c:pt>
                <c:pt idx="5691">
                  <c:v>0.43945309999999999</c:v>
                </c:pt>
                <c:pt idx="5692">
                  <c:v>10.32715</c:v>
                </c:pt>
                <c:pt idx="5693">
                  <c:v>-1.010742</c:v>
                </c:pt>
                <c:pt idx="5694">
                  <c:v>1.801758</c:v>
                </c:pt>
                <c:pt idx="5695">
                  <c:v>7.6464840000000001</c:v>
                </c:pt>
                <c:pt idx="5696">
                  <c:v>0.57128909999999999</c:v>
                </c:pt>
                <c:pt idx="5697">
                  <c:v>-0.69713526199999998</c:v>
                </c:pt>
                <c:pt idx="5698">
                  <c:v>-0.703125</c:v>
                </c:pt>
                <c:pt idx="5699">
                  <c:v>-0.68115230000000004</c:v>
                </c:pt>
                <c:pt idx="5700">
                  <c:v>4.5483399999999996</c:v>
                </c:pt>
                <c:pt idx="5701">
                  <c:v>-5.2954100000000004</c:v>
                </c:pt>
                <c:pt idx="5702">
                  <c:v>-3.4045314759999998</c:v>
                </c:pt>
                <c:pt idx="5703">
                  <c:v>-1.5420731679999999</c:v>
                </c:pt>
                <c:pt idx="5704">
                  <c:v>0.423644731</c:v>
                </c:pt>
                <c:pt idx="5705">
                  <c:v>2.2851560000000002</c:v>
                </c:pt>
                <c:pt idx="5706">
                  <c:v>1.479905569</c:v>
                </c:pt>
                <c:pt idx="5707">
                  <c:v>0.65524646600000003</c:v>
                </c:pt>
                <c:pt idx="5708">
                  <c:v>-1.824925122</c:v>
                </c:pt>
                <c:pt idx="5709">
                  <c:v>-2.681794273</c:v>
                </c:pt>
                <c:pt idx="5710">
                  <c:v>-3.493652</c:v>
                </c:pt>
                <c:pt idx="5711">
                  <c:v>-2.9663384439999998</c:v>
                </c:pt>
                <c:pt idx="5712">
                  <c:v>-2.7532297149999998</c:v>
                </c:pt>
                <c:pt idx="5713">
                  <c:v>-0.43735333599999998</c:v>
                </c:pt>
                <c:pt idx="5714">
                  <c:v>-0.116503685</c:v>
                </c:pt>
                <c:pt idx="5715">
                  <c:v>-1.2823466E-2</c:v>
                </c:pt>
                <c:pt idx="5716">
                  <c:v>9.2438851000000002E-2</c:v>
                </c:pt>
                <c:pt idx="5717">
                  <c:v>0.19775390000000001</c:v>
                </c:pt>
                <c:pt idx="5718">
                  <c:v>0.19369962800000001</c:v>
                </c:pt>
                <c:pt idx="5719">
                  <c:v>0.18134709299999999</c:v>
                </c:pt>
                <c:pt idx="5720">
                  <c:v>0.17700411399999999</c:v>
                </c:pt>
                <c:pt idx="5721">
                  <c:v>0.17294984199999999</c:v>
                </c:pt>
                <c:pt idx="5722">
                  <c:v>0.160725162</c:v>
                </c:pt>
                <c:pt idx="5723">
                  <c:v>0.144190498</c:v>
                </c:pt>
                <c:pt idx="5724">
                  <c:v>0.14000837099999999</c:v>
                </c:pt>
                <c:pt idx="5725">
                  <c:v>0.13183590000000001</c:v>
                </c:pt>
                <c:pt idx="5726">
                  <c:v>0.15653431100000001</c:v>
                </c:pt>
                <c:pt idx="5727">
                  <c:v>0.17992340800000001</c:v>
                </c:pt>
                <c:pt idx="5728">
                  <c:v>0.203133963</c:v>
                </c:pt>
                <c:pt idx="5729">
                  <c:v>0.25160236200000002</c:v>
                </c:pt>
                <c:pt idx="5730">
                  <c:v>0.275003363</c:v>
                </c:pt>
                <c:pt idx="5731">
                  <c:v>0.322531438</c:v>
                </c:pt>
                <c:pt idx="5732">
                  <c:v>0.34649187199999998</c:v>
                </c:pt>
                <c:pt idx="5733">
                  <c:v>0.369880969</c:v>
                </c:pt>
                <c:pt idx="5734">
                  <c:v>0.39457937999999998</c:v>
                </c:pt>
                <c:pt idx="5735">
                  <c:v>0.39550780000000002</c:v>
                </c:pt>
                <c:pt idx="5736">
                  <c:v>18.478999999999999</c:v>
                </c:pt>
                <c:pt idx="5737">
                  <c:v>16.191743450000001</c:v>
                </c:pt>
                <c:pt idx="5738">
                  <c:v>13.903341060000001</c:v>
                </c:pt>
                <c:pt idx="5739">
                  <c:v>4.7680660000000001</c:v>
                </c:pt>
                <c:pt idx="5740">
                  <c:v>-1.0546880000000001</c:v>
                </c:pt>
                <c:pt idx="5741">
                  <c:v>6.5039059999999997</c:v>
                </c:pt>
                <c:pt idx="5742">
                  <c:v>1.911621</c:v>
                </c:pt>
                <c:pt idx="5743">
                  <c:v>0.59765014500000002</c:v>
                </c:pt>
                <c:pt idx="5744">
                  <c:v>-0.325401993</c:v>
                </c:pt>
                <c:pt idx="5745">
                  <c:v>-1.6496201660000001</c:v>
                </c:pt>
                <c:pt idx="5746">
                  <c:v>-1.911621</c:v>
                </c:pt>
                <c:pt idx="5747">
                  <c:v>-1.788307877</c:v>
                </c:pt>
                <c:pt idx="5748">
                  <c:v>-1.671531815</c:v>
                </c:pt>
                <c:pt idx="5749">
                  <c:v>-1.5546963300000001</c:v>
                </c:pt>
                <c:pt idx="5750">
                  <c:v>-1.436018582</c:v>
                </c:pt>
                <c:pt idx="5751">
                  <c:v>-1.079093925</c:v>
                </c:pt>
                <c:pt idx="5752">
                  <c:v>-0.84179785299999998</c:v>
                </c:pt>
                <c:pt idx="5753">
                  <c:v>-0.71848471599999997</c:v>
                </c:pt>
                <c:pt idx="5754">
                  <c:v>-0.60164923000000003</c:v>
                </c:pt>
                <c:pt idx="5755">
                  <c:v>-0.48487318299999999</c:v>
                </c:pt>
                <c:pt idx="5756">
                  <c:v>-0.24472456000000001</c:v>
                </c:pt>
                <c:pt idx="5757">
                  <c:v>-0.12794851300000001</c:v>
                </c:pt>
                <c:pt idx="5758">
                  <c:v>0</c:v>
                </c:pt>
                <c:pt idx="5759">
                  <c:v>-2.7238305610000002</c:v>
                </c:pt>
                <c:pt idx="5760">
                  <c:v>-5.5371090000000001</c:v>
                </c:pt>
                <c:pt idx="5761">
                  <c:v>-4.3749726999999998</c:v>
                </c:pt>
                <c:pt idx="5762">
                  <c:v>-2.18859973</c:v>
                </c:pt>
                <c:pt idx="5763">
                  <c:v>2.3351358999999999E-2</c:v>
                </c:pt>
                <c:pt idx="5764">
                  <c:v>1.151012785</c:v>
                </c:pt>
                <c:pt idx="5765">
                  <c:v>2.243643198</c:v>
                </c:pt>
                <c:pt idx="5766">
                  <c:v>3.397438749</c:v>
                </c:pt>
                <c:pt idx="5767">
                  <c:v>3.4497070000000001</c:v>
                </c:pt>
                <c:pt idx="5768">
                  <c:v>1.626394635</c:v>
                </c:pt>
                <c:pt idx="5769">
                  <c:v>-0.2416992</c:v>
                </c:pt>
                <c:pt idx="5770">
                  <c:v>-0.15415662499999999</c:v>
                </c:pt>
                <c:pt idx="5771">
                  <c:v>0.18280844800000001</c:v>
                </c:pt>
                <c:pt idx="5772">
                  <c:v>0.265752402</c:v>
                </c:pt>
                <c:pt idx="5773">
                  <c:v>0.51779063199999997</c:v>
                </c:pt>
                <c:pt idx="5774">
                  <c:v>0.60533319699999999</c:v>
                </c:pt>
                <c:pt idx="5775">
                  <c:v>0.77117891900000002</c:v>
                </c:pt>
                <c:pt idx="5776">
                  <c:v>0.85872148299999995</c:v>
                </c:pt>
                <c:pt idx="5777">
                  <c:v>1.1950537240000001</c:v>
                </c:pt>
                <c:pt idx="5778">
                  <c:v>1.2773226499999999</c:v>
                </c:pt>
                <c:pt idx="5779">
                  <c:v>1.3654980569999999</c:v>
                </c:pt>
                <c:pt idx="5780">
                  <c:v>1.448442011</c:v>
                </c:pt>
                <c:pt idx="5781">
                  <c:v>1.531385955</c:v>
                </c:pt>
                <c:pt idx="5782">
                  <c:v>1.6188863440000001</c:v>
                </c:pt>
                <c:pt idx="5783">
                  <c:v>1.8676759999999999</c:v>
                </c:pt>
                <c:pt idx="5784">
                  <c:v>1.610897416</c:v>
                </c:pt>
                <c:pt idx="5785">
                  <c:v>1.1206050000000001</c:v>
                </c:pt>
                <c:pt idx="5786">
                  <c:v>2.1946151199999999</c:v>
                </c:pt>
                <c:pt idx="5787">
                  <c:v>3.2519529999999999</c:v>
                </c:pt>
                <c:pt idx="5788">
                  <c:v>0.48339840000000001</c:v>
                </c:pt>
                <c:pt idx="5789">
                  <c:v>0.34182776999999998</c:v>
                </c:pt>
                <c:pt idx="5790">
                  <c:v>-0.8129883</c:v>
                </c:pt>
                <c:pt idx="5791">
                  <c:v>8.5693359999999998</c:v>
                </c:pt>
                <c:pt idx="5792">
                  <c:v>-0.87890630000000003</c:v>
                </c:pt>
                <c:pt idx="5793">
                  <c:v>-0.67410864599999998</c:v>
                </c:pt>
                <c:pt idx="5794">
                  <c:v>2.7026370000000002</c:v>
                </c:pt>
                <c:pt idx="5795">
                  <c:v>2.0443981170000001</c:v>
                </c:pt>
                <c:pt idx="5796">
                  <c:v>-2.790527</c:v>
                </c:pt>
                <c:pt idx="5797">
                  <c:v>1.40625</c:v>
                </c:pt>
                <c:pt idx="5798">
                  <c:v>-5.1416019999999998</c:v>
                </c:pt>
                <c:pt idx="5799">
                  <c:v>-4.0820888640000002</c:v>
                </c:pt>
                <c:pt idx="5800">
                  <c:v>-3.5827540369999999</c:v>
                </c:pt>
                <c:pt idx="5801">
                  <c:v>-3.0508994189999998</c:v>
                </c:pt>
                <c:pt idx="5802">
                  <c:v>-2.5069811</c:v>
                </c:pt>
                <c:pt idx="5803">
                  <c:v>-1.9913863460000001</c:v>
                </c:pt>
                <c:pt idx="5804">
                  <c:v>-1.475791592</c:v>
                </c:pt>
                <c:pt idx="5805">
                  <c:v>-0.95232923700000005</c:v>
                </c:pt>
                <c:pt idx="5806">
                  <c:v>0.13183590000000001</c:v>
                </c:pt>
                <c:pt idx="5807">
                  <c:v>0.258341455</c:v>
                </c:pt>
                <c:pt idx="5808">
                  <c:v>0.29463351199999999</c:v>
                </c:pt>
                <c:pt idx="5809">
                  <c:v>0.30061874100000002</c:v>
                </c:pt>
                <c:pt idx="5810">
                  <c:v>0.30665230999999998</c:v>
                </c:pt>
                <c:pt idx="5811">
                  <c:v>0.31886145100000002</c:v>
                </c:pt>
                <c:pt idx="5812">
                  <c:v>0.33073824699999999</c:v>
                </c:pt>
                <c:pt idx="5813">
                  <c:v>0.33710114099999999</c:v>
                </c:pt>
                <c:pt idx="5814">
                  <c:v>0.33724314300000002</c:v>
                </c:pt>
                <c:pt idx="5815">
                  <c:v>0.34897793700000002</c:v>
                </c:pt>
                <c:pt idx="5816">
                  <c:v>0.36094839400000001</c:v>
                </c:pt>
                <c:pt idx="5817">
                  <c:v>0.37329953700000001</c:v>
                </c:pt>
                <c:pt idx="5818">
                  <c:v>0.37353520000000001</c:v>
                </c:pt>
                <c:pt idx="5819">
                  <c:v>0.72883760099999995</c:v>
                </c:pt>
                <c:pt idx="5820">
                  <c:v>1.853867844</c:v>
                </c:pt>
                <c:pt idx="5821">
                  <c:v>2.2445686789999999</c:v>
                </c:pt>
                <c:pt idx="5822">
                  <c:v>2.6147459999999998</c:v>
                </c:pt>
                <c:pt idx="5823">
                  <c:v>1.714096361</c:v>
                </c:pt>
                <c:pt idx="5824">
                  <c:v>0.8129883</c:v>
                </c:pt>
                <c:pt idx="5825">
                  <c:v>1.2336201170000001</c:v>
                </c:pt>
                <c:pt idx="5826">
                  <c:v>1.2433325550000001</c:v>
                </c:pt>
                <c:pt idx="5827">
                  <c:v>1.4367549900000001</c:v>
                </c:pt>
                <c:pt idx="5828">
                  <c:v>2.48291</c:v>
                </c:pt>
                <c:pt idx="5829">
                  <c:v>-4.5922850000000004</c:v>
                </c:pt>
                <c:pt idx="5830">
                  <c:v>1.296387</c:v>
                </c:pt>
                <c:pt idx="5831">
                  <c:v>-0.209922199</c:v>
                </c:pt>
                <c:pt idx="5832">
                  <c:v>-0.83399128300000003</c:v>
                </c:pt>
                <c:pt idx="5833">
                  <c:v>-0.92285159999999999</c:v>
                </c:pt>
                <c:pt idx="5834">
                  <c:v>-0.98860925600000005</c:v>
                </c:pt>
                <c:pt idx="5835">
                  <c:v>-1.0580480059999999</c:v>
                </c:pt>
                <c:pt idx="5836">
                  <c:v>-1.1895967869999999</c:v>
                </c:pt>
                <c:pt idx="5837">
                  <c:v>-1.3248266559999999</c:v>
                </c:pt>
                <c:pt idx="5838">
                  <c:v>-1.390584319</c:v>
                </c:pt>
                <c:pt idx="5839">
                  <c:v>-1.4600230620000001</c:v>
                </c:pt>
                <c:pt idx="5840">
                  <c:v>-1.5910698809999999</c:v>
                </c:pt>
                <c:pt idx="5841">
                  <c:v>-1.7262662870000001</c:v>
                </c:pt>
                <c:pt idx="5842">
                  <c:v>-1.792057413</c:v>
                </c:pt>
                <c:pt idx="5843">
                  <c:v>-1.993044944</c:v>
                </c:pt>
                <c:pt idx="5844">
                  <c:v>-2.0624836869999998</c:v>
                </c:pt>
                <c:pt idx="5845">
                  <c:v>-2.1282413500000001</c:v>
                </c:pt>
                <c:pt idx="5846">
                  <c:v>-2.2634712189999999</c:v>
                </c:pt>
                <c:pt idx="5847">
                  <c:v>-2.3950200000000001</c:v>
                </c:pt>
                <c:pt idx="5848">
                  <c:v>4.5922850000000004</c:v>
                </c:pt>
                <c:pt idx="5849">
                  <c:v>4.4474982030000003</c:v>
                </c:pt>
                <c:pt idx="5850">
                  <c:v>4.3015420000000004</c:v>
                </c:pt>
                <c:pt idx="5851">
                  <c:v>4.1498849480000004</c:v>
                </c:pt>
                <c:pt idx="5852">
                  <c:v>4.0061944570000003</c:v>
                </c:pt>
                <c:pt idx="5853">
                  <c:v>3.717790269</c:v>
                </c:pt>
                <c:pt idx="5854">
                  <c:v>-1.257949575</c:v>
                </c:pt>
                <c:pt idx="5855">
                  <c:v>-1.4004706600000001</c:v>
                </c:pt>
                <c:pt idx="5856">
                  <c:v>-1.544161151</c:v>
                </c:pt>
                <c:pt idx="5857">
                  <c:v>-1.695818185</c:v>
                </c:pt>
                <c:pt idx="5858">
                  <c:v>-1.7015190330000001</c:v>
                </c:pt>
                <c:pt idx="5859">
                  <c:v>-2.131348</c:v>
                </c:pt>
                <c:pt idx="5860">
                  <c:v>-1.1064551469999999</c:v>
                </c:pt>
                <c:pt idx="5861">
                  <c:v>-0.10499436099999999</c:v>
                </c:pt>
                <c:pt idx="5862">
                  <c:v>0.95199004799999998</c:v>
                </c:pt>
                <c:pt idx="5863">
                  <c:v>1.9529414810000001</c:v>
                </c:pt>
                <c:pt idx="5864">
                  <c:v>2.9544023890000002</c:v>
                </c:pt>
                <c:pt idx="5865">
                  <c:v>4.0113867980000002</c:v>
                </c:pt>
                <c:pt idx="5866">
                  <c:v>4.0429690000000003</c:v>
                </c:pt>
                <c:pt idx="5867">
                  <c:v>3.7879586750000001</c:v>
                </c:pt>
                <c:pt idx="5868">
                  <c:v>3.2464469459999998</c:v>
                </c:pt>
                <c:pt idx="5869">
                  <c:v>2.9831283449999999</c:v>
                </c:pt>
                <c:pt idx="5870">
                  <c:v>2.7196757169999999</c:v>
                </c:pt>
                <c:pt idx="5871">
                  <c:v>2.4562231209999998</c:v>
                </c:pt>
                <c:pt idx="5872">
                  <c:v>2.1782980140000001</c:v>
                </c:pt>
                <c:pt idx="5873">
                  <c:v>1.647238636</c:v>
                </c:pt>
                <c:pt idx="5874">
                  <c:v>1.1163132840000001</c:v>
                </c:pt>
                <c:pt idx="5875">
                  <c:v>0.57480155499999996</c:v>
                </c:pt>
                <c:pt idx="5876">
                  <c:v>0.31148295399999998</c:v>
                </c:pt>
                <c:pt idx="5877">
                  <c:v>3.3423851999999997E-2</c:v>
                </c:pt>
                <c:pt idx="5878">
                  <c:v>-0.23002874400000001</c:v>
                </c:pt>
                <c:pt idx="5879">
                  <c:v>-0.49334737699999998</c:v>
                </c:pt>
                <c:pt idx="5880">
                  <c:v>-0.77140647799999995</c:v>
                </c:pt>
                <c:pt idx="5881">
                  <c:v>-1.032715</c:v>
                </c:pt>
                <c:pt idx="5882">
                  <c:v>-0.96447311899999999</c:v>
                </c:pt>
                <c:pt idx="5883">
                  <c:v>-0.828494116</c:v>
                </c:pt>
                <c:pt idx="5884">
                  <c:v>-0.696216591</c:v>
                </c:pt>
                <c:pt idx="5885">
                  <c:v>-0.62901786000000004</c:v>
                </c:pt>
                <c:pt idx="5886">
                  <c:v>-0.56289591699999997</c:v>
                </c:pt>
                <c:pt idx="5887">
                  <c:v>4.3945310000000001E-2</c:v>
                </c:pt>
                <c:pt idx="5888">
                  <c:v>-5.8010784000000003E-2</c:v>
                </c:pt>
                <c:pt idx="5889">
                  <c:v>-0.34057619500000003</c:v>
                </c:pt>
                <c:pt idx="5890">
                  <c:v>-0.43652639300000001</c:v>
                </c:pt>
                <c:pt idx="5891">
                  <c:v>-0.53617623000000003</c:v>
                </c:pt>
                <c:pt idx="5892">
                  <c:v>-0.72509769999999996</c:v>
                </c:pt>
                <c:pt idx="5893">
                  <c:v>-0.65410440800000003</c:v>
                </c:pt>
                <c:pt idx="5894">
                  <c:v>-0.57913693200000005</c:v>
                </c:pt>
                <c:pt idx="5895">
                  <c:v>0.79101560000000004</c:v>
                </c:pt>
                <c:pt idx="5896">
                  <c:v>0.68766501899999999</c:v>
                </c:pt>
                <c:pt idx="5897">
                  <c:v>0.65917970000000004</c:v>
                </c:pt>
                <c:pt idx="5898">
                  <c:v>2.2631839999999999</c:v>
                </c:pt>
                <c:pt idx="5899">
                  <c:v>-3.6474609999999998</c:v>
                </c:pt>
                <c:pt idx="5900">
                  <c:v>-3.4519639469999999</c:v>
                </c:pt>
                <c:pt idx="5901">
                  <c:v>-3.3502225910000001</c:v>
                </c:pt>
                <c:pt idx="5902">
                  <c:v>-3.249289911</c:v>
                </c:pt>
                <c:pt idx="5903">
                  <c:v>-3.1444654779999999</c:v>
                </c:pt>
                <c:pt idx="5904">
                  <c:v>-3.14209</c:v>
                </c:pt>
                <c:pt idx="5905">
                  <c:v>-2.7594850809999998</c:v>
                </c:pt>
                <c:pt idx="5906">
                  <c:v>-2.5659667709999998</c:v>
                </c:pt>
                <c:pt idx="5907">
                  <c:v>-2.3616153610000001</c:v>
                </c:pt>
                <c:pt idx="5908">
                  <c:v>-0.5932617</c:v>
                </c:pt>
                <c:pt idx="5909">
                  <c:v>-0.63578757500000005</c:v>
                </c:pt>
                <c:pt idx="5910">
                  <c:v>-1.3623050000000001</c:v>
                </c:pt>
                <c:pt idx="5911">
                  <c:v>-0.66643804600000001</c:v>
                </c:pt>
                <c:pt idx="5912">
                  <c:v>-0.65917970000000004</c:v>
                </c:pt>
                <c:pt idx="5913">
                  <c:v>-0.46644287200000001</c:v>
                </c:pt>
                <c:pt idx="5914">
                  <c:v>1.479018803</c:v>
                </c:pt>
                <c:pt idx="5915">
                  <c:v>1.6737660089999999</c:v>
                </c:pt>
                <c:pt idx="5916">
                  <c:v>1.737482</c:v>
                </c:pt>
                <c:pt idx="5917">
                  <c:v>1.8012304219999999</c:v>
                </c:pt>
                <c:pt idx="5918">
                  <c:v>1.865984029</c:v>
                </c:pt>
                <c:pt idx="5919">
                  <c:v>1.9307376359999999</c:v>
                </c:pt>
                <c:pt idx="5920">
                  <c:v>1.997987999</c:v>
                </c:pt>
                <c:pt idx="5921">
                  <c:v>1.999512</c:v>
                </c:pt>
                <c:pt idx="5922">
                  <c:v>-0.35217890699999999</c:v>
                </c:pt>
                <c:pt idx="5923">
                  <c:v>-2.7614674570000002</c:v>
                </c:pt>
                <c:pt idx="5924">
                  <c:v>-5.1891380040000001</c:v>
                </c:pt>
                <c:pt idx="5925">
                  <c:v>-5.2075199999999997</c:v>
                </c:pt>
                <c:pt idx="5926">
                  <c:v>-4.8961658110000004</c:v>
                </c:pt>
                <c:pt idx="5927">
                  <c:v>-4.5991702270000001</c:v>
                </c:pt>
                <c:pt idx="5928">
                  <c:v>-4.3020234759999996</c:v>
                </c:pt>
                <c:pt idx="5929">
                  <c:v>-3.988402201</c:v>
                </c:pt>
                <c:pt idx="5930">
                  <c:v>-3.6936737399999999</c:v>
                </c:pt>
                <c:pt idx="5931">
                  <c:v>-3.0830568450000002</c:v>
                </c:pt>
                <c:pt idx="5932">
                  <c:v>0.234527557</c:v>
                </c:pt>
                <c:pt idx="5933">
                  <c:v>0.85693359999999996</c:v>
                </c:pt>
                <c:pt idx="5934">
                  <c:v>0.126624024</c:v>
                </c:pt>
                <c:pt idx="5935">
                  <c:v>-0.63347038499999997</c:v>
                </c:pt>
                <c:pt idx="5936">
                  <c:v>-2.9628794369999998</c:v>
                </c:pt>
                <c:pt idx="5937">
                  <c:v>-3.7353519999999998</c:v>
                </c:pt>
                <c:pt idx="5938">
                  <c:v>-1.199011032</c:v>
                </c:pt>
                <c:pt idx="5939">
                  <c:v>-0.30761719999999998</c:v>
                </c:pt>
                <c:pt idx="5940">
                  <c:v>-1.6479490000000001</c:v>
                </c:pt>
                <c:pt idx="5941">
                  <c:v>-0.74707029999999996</c:v>
                </c:pt>
                <c:pt idx="5942">
                  <c:v>-4.1308590000000001</c:v>
                </c:pt>
                <c:pt idx="5943">
                  <c:v>-1.7805653290000001</c:v>
                </c:pt>
                <c:pt idx="5944">
                  <c:v>-0.85693359999999996</c:v>
                </c:pt>
                <c:pt idx="5945">
                  <c:v>-2.0654300000000001</c:v>
                </c:pt>
                <c:pt idx="5946">
                  <c:v>1.9555659999999999</c:v>
                </c:pt>
                <c:pt idx="5947">
                  <c:v>-2.648075011</c:v>
                </c:pt>
                <c:pt idx="5948">
                  <c:v>-3.823242</c:v>
                </c:pt>
                <c:pt idx="5949">
                  <c:v>1.0546880000000001</c:v>
                </c:pt>
                <c:pt idx="5950">
                  <c:v>0.93204737900000001</c:v>
                </c:pt>
                <c:pt idx="5951">
                  <c:v>0.88957044799999996</c:v>
                </c:pt>
                <c:pt idx="5952">
                  <c:v>0.84934530799999997</c:v>
                </c:pt>
                <c:pt idx="5953">
                  <c:v>0.76821948699999998</c:v>
                </c:pt>
                <c:pt idx="5954">
                  <c:v>0.72733928000000003</c:v>
                </c:pt>
                <c:pt idx="5955">
                  <c:v>0.68488281799999995</c:v>
                </c:pt>
                <c:pt idx="5956">
                  <c:v>0.64463720899999999</c:v>
                </c:pt>
                <c:pt idx="5957">
                  <c:v>0.60439159499999995</c:v>
                </c:pt>
                <c:pt idx="5958">
                  <c:v>0.56383892199999996</c:v>
                </c:pt>
                <c:pt idx="5959">
                  <c:v>0.52136199000000005</c:v>
                </c:pt>
                <c:pt idx="5960">
                  <c:v>0.48113685099999998</c:v>
                </c:pt>
                <c:pt idx="5961">
                  <c:v>0.39841430500000002</c:v>
                </c:pt>
                <c:pt idx="5962">
                  <c:v>0.35818916499999998</c:v>
                </c:pt>
                <c:pt idx="5963">
                  <c:v>0.15380859999999999</c:v>
                </c:pt>
                <c:pt idx="5964">
                  <c:v>-2.438965</c:v>
                </c:pt>
                <c:pt idx="5965">
                  <c:v>0.5932617</c:v>
                </c:pt>
                <c:pt idx="5966">
                  <c:v>1.07666</c:v>
                </c:pt>
                <c:pt idx="5967">
                  <c:v>12.700200000000001</c:v>
                </c:pt>
                <c:pt idx="5968">
                  <c:v>4.21875</c:v>
                </c:pt>
                <c:pt idx="5969">
                  <c:v>1.8021803620000001</c:v>
                </c:pt>
                <c:pt idx="5970">
                  <c:v>-0.39550780000000002</c:v>
                </c:pt>
                <c:pt idx="5971">
                  <c:v>-7.5585940000000003</c:v>
                </c:pt>
                <c:pt idx="5972">
                  <c:v>-0.86698600100000001</c:v>
                </c:pt>
                <c:pt idx="5973">
                  <c:v>-0.85693359999999996</c:v>
                </c:pt>
                <c:pt idx="5974">
                  <c:v>-0.64382722199999998</c:v>
                </c:pt>
                <c:pt idx="5975">
                  <c:v>-0.44034633200000001</c:v>
                </c:pt>
                <c:pt idx="5976">
                  <c:v>-0.23686544100000001</c:v>
                </c:pt>
                <c:pt idx="5977">
                  <c:v>-3.1832065999999999E-2</c:v>
                </c:pt>
                <c:pt idx="5978">
                  <c:v>0.18293031500000001</c:v>
                </c:pt>
                <c:pt idx="5979">
                  <c:v>3.2958980000000002</c:v>
                </c:pt>
                <c:pt idx="5980">
                  <c:v>-0.72509769999999996</c:v>
                </c:pt>
                <c:pt idx="5981">
                  <c:v>-0.73167063099999996</c:v>
                </c:pt>
                <c:pt idx="5982">
                  <c:v>-0.738607982</c:v>
                </c:pt>
                <c:pt idx="5983">
                  <c:v>-0.74517757100000004</c:v>
                </c:pt>
                <c:pt idx="5984">
                  <c:v>-0.75175050200000004</c:v>
                </c:pt>
                <c:pt idx="5985">
                  <c:v>-0.75868785299999997</c:v>
                </c:pt>
                <c:pt idx="5986">
                  <c:v>-0.778557096</c:v>
                </c:pt>
                <c:pt idx="5987">
                  <c:v>-0.78523366999999999</c:v>
                </c:pt>
                <c:pt idx="5988">
                  <c:v>-0.79874395200000003</c:v>
                </c:pt>
                <c:pt idx="5989">
                  <c:v>-0.80531354099999997</c:v>
                </c:pt>
                <c:pt idx="5990">
                  <c:v>-0.81225089100000003</c:v>
                </c:pt>
                <c:pt idx="5991">
                  <c:v>-0.81882382300000001</c:v>
                </c:pt>
                <c:pt idx="5992">
                  <c:v>-0.82539341099999997</c:v>
                </c:pt>
                <c:pt idx="5993">
                  <c:v>-0.83196634300000005</c:v>
                </c:pt>
                <c:pt idx="5994">
                  <c:v>-0.83890369399999998</c:v>
                </c:pt>
                <c:pt idx="5995">
                  <c:v>-0.84547328200000005</c:v>
                </c:pt>
                <c:pt idx="5996">
                  <c:v>-0.87212608400000002</c:v>
                </c:pt>
                <c:pt idx="5997">
                  <c:v>-0.87890630000000003</c:v>
                </c:pt>
                <c:pt idx="5998">
                  <c:v>-1.9150544460000001</c:v>
                </c:pt>
                <c:pt idx="5999">
                  <c:v>-2.9275133179999999</c:v>
                </c:pt>
                <c:pt idx="6000">
                  <c:v>-3.9961053240000002</c:v>
                </c:pt>
                <c:pt idx="6001">
                  <c:v>-5.00804925</c:v>
                </c:pt>
                <c:pt idx="6002">
                  <c:v>-6.0205080000000004</c:v>
                </c:pt>
                <c:pt idx="6003">
                  <c:v>-1.6699219999999999</c:v>
                </c:pt>
                <c:pt idx="6004">
                  <c:v>-5.4711910000000001</c:v>
                </c:pt>
                <c:pt idx="6005">
                  <c:v>-1.933594</c:v>
                </c:pt>
                <c:pt idx="6006">
                  <c:v>0.26367190000000001</c:v>
                </c:pt>
                <c:pt idx="6007">
                  <c:v>-8.2397460000000002</c:v>
                </c:pt>
                <c:pt idx="6008">
                  <c:v>-3.0319310499999998</c:v>
                </c:pt>
                <c:pt idx="6009">
                  <c:v>-0.3515625</c:v>
                </c:pt>
                <c:pt idx="6010">
                  <c:v>-0.25666228600000002</c:v>
                </c:pt>
                <c:pt idx="6011">
                  <c:v>-0.249461722</c:v>
                </c:pt>
                <c:pt idx="6012">
                  <c:v>-0.24186194</c:v>
                </c:pt>
                <c:pt idx="6013">
                  <c:v>-0.23466503799999999</c:v>
                </c:pt>
                <c:pt idx="6014">
                  <c:v>-0.227464474</c:v>
                </c:pt>
                <c:pt idx="6015">
                  <c:v>-0.19826666100000001</c:v>
                </c:pt>
                <c:pt idx="6016">
                  <c:v>-0.18346997800000001</c:v>
                </c:pt>
                <c:pt idx="6017">
                  <c:v>-0.17621447600000001</c:v>
                </c:pt>
                <c:pt idx="6018">
                  <c:v>-0.16890037299999999</c:v>
                </c:pt>
                <c:pt idx="6019">
                  <c:v>-6.6341775000000006E-2</c:v>
                </c:pt>
                <c:pt idx="6020">
                  <c:v>-5.8914134E-2</c:v>
                </c:pt>
                <c:pt idx="6021">
                  <c:v>-5.1713569000000001E-2</c:v>
                </c:pt>
                <c:pt idx="6022">
                  <c:v>-4.4113787000000002E-2</c:v>
                </c:pt>
                <c:pt idx="6023">
                  <c:v>-4.3945310000000001E-2</c:v>
                </c:pt>
                <c:pt idx="6024">
                  <c:v>0.120504704</c:v>
                </c:pt>
                <c:pt idx="6025">
                  <c:v>0.80367072500000003</c:v>
                </c:pt>
                <c:pt idx="6026">
                  <c:v>0.98148925799999998</c:v>
                </c:pt>
                <c:pt idx="6027">
                  <c:v>1.1498812940000001</c:v>
                </c:pt>
                <c:pt idx="6028">
                  <c:v>1.3183590000000001</c:v>
                </c:pt>
                <c:pt idx="6029">
                  <c:v>7.6857930190000001</c:v>
                </c:pt>
                <c:pt idx="6030">
                  <c:v>7.734375</c:v>
                </c:pt>
                <c:pt idx="6031">
                  <c:v>6.1883376549999998</c:v>
                </c:pt>
                <c:pt idx="6032">
                  <c:v>4.7121311690000001</c:v>
                </c:pt>
                <c:pt idx="6033">
                  <c:v>3.224661405</c:v>
                </c:pt>
                <c:pt idx="6034">
                  <c:v>0.13183590000000001</c:v>
                </c:pt>
                <c:pt idx="6035">
                  <c:v>4.3725589999999999</c:v>
                </c:pt>
                <c:pt idx="6036">
                  <c:v>0.76169983600000002</c:v>
                </c:pt>
                <c:pt idx="6037">
                  <c:v>-7.0026613000000001E-2</c:v>
                </c:pt>
                <c:pt idx="6038">
                  <c:v>-1.73584</c:v>
                </c:pt>
                <c:pt idx="6039">
                  <c:v>2.5708009999999999</c:v>
                </c:pt>
                <c:pt idx="6040">
                  <c:v>2.7465820000000001</c:v>
                </c:pt>
                <c:pt idx="6041">
                  <c:v>1.999512</c:v>
                </c:pt>
                <c:pt idx="6042">
                  <c:v>-1.911621</c:v>
                </c:pt>
                <c:pt idx="6043">
                  <c:v>0.2416992</c:v>
                </c:pt>
                <c:pt idx="6044">
                  <c:v>-3.7353519999999998</c:v>
                </c:pt>
                <c:pt idx="6045">
                  <c:v>0.87890630000000003</c:v>
                </c:pt>
                <c:pt idx="6046">
                  <c:v>-0.629840646</c:v>
                </c:pt>
                <c:pt idx="6047">
                  <c:v>-1.384277</c:v>
                </c:pt>
                <c:pt idx="6048">
                  <c:v>-2.1608874259999999</c:v>
                </c:pt>
                <c:pt idx="6049">
                  <c:v>-3.3837890000000002</c:v>
                </c:pt>
                <c:pt idx="6050">
                  <c:v>0.63720699999999997</c:v>
                </c:pt>
                <c:pt idx="6051">
                  <c:v>0.122588237</c:v>
                </c:pt>
                <c:pt idx="6052">
                  <c:v>-4.3945310000000001E-2</c:v>
                </c:pt>
                <c:pt idx="6053">
                  <c:v>6.1617616320000002</c:v>
                </c:pt>
                <c:pt idx="6054">
                  <c:v>6.306152</c:v>
                </c:pt>
                <c:pt idx="6055">
                  <c:v>-1.2354751960000001</c:v>
                </c:pt>
                <c:pt idx="6056">
                  <c:v>-1.296387</c:v>
                </c:pt>
                <c:pt idx="6057">
                  <c:v>-1.2034091899999999</c:v>
                </c:pt>
                <c:pt idx="6058">
                  <c:v>-1.014424821</c:v>
                </c:pt>
                <c:pt idx="6059">
                  <c:v>-0.914668378</c:v>
                </c:pt>
                <c:pt idx="6060">
                  <c:v>-0.72568401000000005</c:v>
                </c:pt>
                <c:pt idx="6061">
                  <c:v>-0.43694319799999998</c:v>
                </c:pt>
                <c:pt idx="6062">
                  <c:v>-0.34093664000000001</c:v>
                </c:pt>
                <c:pt idx="6063">
                  <c:v>-0.24493008199999999</c:v>
                </c:pt>
                <c:pt idx="6064">
                  <c:v>-0.14517363899999999</c:v>
                </c:pt>
                <c:pt idx="6065">
                  <c:v>-5.0705497000000002E-2</c:v>
                </c:pt>
                <c:pt idx="6066">
                  <c:v>4.3810729999999999E-2</c:v>
                </c:pt>
                <c:pt idx="6067">
                  <c:v>0.14356717199999999</c:v>
                </c:pt>
                <c:pt idx="6068">
                  <c:v>0.43230797199999998</c:v>
                </c:pt>
                <c:pt idx="6069">
                  <c:v>0.530525998</c:v>
                </c:pt>
                <c:pt idx="6070">
                  <c:v>0.62129234</c:v>
                </c:pt>
                <c:pt idx="6071">
                  <c:v>0.72104878299999997</c:v>
                </c:pt>
                <c:pt idx="6072">
                  <c:v>0.81556500899999995</c:v>
                </c:pt>
                <c:pt idx="6073">
                  <c:v>1.0045493780000001</c:v>
                </c:pt>
                <c:pt idx="6074">
                  <c:v>1.101277072</c:v>
                </c:pt>
                <c:pt idx="6075">
                  <c:v>1.582031</c:v>
                </c:pt>
                <c:pt idx="6076">
                  <c:v>0.54931640000000004</c:v>
                </c:pt>
                <c:pt idx="6077">
                  <c:v>5.0317379999999998</c:v>
                </c:pt>
                <c:pt idx="6078">
                  <c:v>-1.032715</c:v>
                </c:pt>
                <c:pt idx="6079">
                  <c:v>1.384277</c:v>
                </c:pt>
                <c:pt idx="6080">
                  <c:v>-8.9868159999999992</c:v>
                </c:pt>
                <c:pt idx="6081">
                  <c:v>-6.3554366399999997</c:v>
                </c:pt>
                <c:pt idx="6082">
                  <c:v>-5.4385358799999999</c:v>
                </c:pt>
                <c:pt idx="6083">
                  <c:v>-4.5570731670000004</c:v>
                </c:pt>
                <c:pt idx="6084">
                  <c:v>-3.6612558160000002</c:v>
                </c:pt>
                <c:pt idx="6085">
                  <c:v>-2.7026370000000002</c:v>
                </c:pt>
                <c:pt idx="6086">
                  <c:v>-0.63720699999999997</c:v>
                </c:pt>
                <c:pt idx="6087">
                  <c:v>-1.8457030000000001</c:v>
                </c:pt>
                <c:pt idx="6088">
                  <c:v>0.63554368400000005</c:v>
                </c:pt>
                <c:pt idx="6089">
                  <c:v>0.63720699999999997</c:v>
                </c:pt>
                <c:pt idx="6090">
                  <c:v>-1.1706474E-2</c:v>
                </c:pt>
                <c:pt idx="6091">
                  <c:v>-0.169811237</c:v>
                </c:pt>
                <c:pt idx="6092">
                  <c:v>-0.32799647300000001</c:v>
                </c:pt>
                <c:pt idx="6093">
                  <c:v>-0.494951896</c:v>
                </c:pt>
                <c:pt idx="6094">
                  <c:v>-0.65305665800000001</c:v>
                </c:pt>
                <c:pt idx="6095">
                  <c:v>-0.812529265</c:v>
                </c:pt>
                <c:pt idx="6096">
                  <c:v>-1.1425780000000001</c:v>
                </c:pt>
                <c:pt idx="6097">
                  <c:v>-1.214539166</c:v>
                </c:pt>
                <c:pt idx="6098">
                  <c:v>-1.2519798049999999</c:v>
                </c:pt>
                <c:pt idx="6099">
                  <c:v>-1.2896994319999999</c:v>
                </c:pt>
                <c:pt idx="6100">
                  <c:v>-1.326247301</c:v>
                </c:pt>
                <c:pt idx="6101">
                  <c:v>-1.3648411039999999</c:v>
                </c:pt>
                <c:pt idx="6102">
                  <c:v>-1.4379554349999999</c:v>
                </c:pt>
                <c:pt idx="6103">
                  <c:v>-1.4765492339999999</c:v>
                </c:pt>
                <c:pt idx="6104">
                  <c:v>-1.513115701</c:v>
                </c:pt>
                <c:pt idx="6105">
                  <c:v>-1.5496635649999999</c:v>
                </c:pt>
                <c:pt idx="6106">
                  <c:v>-1.625977</c:v>
                </c:pt>
                <c:pt idx="6107">
                  <c:v>-0.81007412599999995</c:v>
                </c:pt>
                <c:pt idx="6108">
                  <c:v>3.2839808999999998E-2</c:v>
                </c:pt>
                <c:pt idx="6109">
                  <c:v>0.92248700299999997</c:v>
                </c:pt>
                <c:pt idx="6110">
                  <c:v>1.765400836</c:v>
                </c:pt>
                <c:pt idx="6111">
                  <c:v>2.6078860559999999</c:v>
                </c:pt>
                <c:pt idx="6112">
                  <c:v>2.6147459999999998</c:v>
                </c:pt>
                <c:pt idx="6113">
                  <c:v>2.3143220229999999</c:v>
                </c:pt>
                <c:pt idx="6114">
                  <c:v>1.4034959410000001</c:v>
                </c:pt>
                <c:pt idx="6115">
                  <c:v>1.1006455159999999</c:v>
                </c:pt>
                <c:pt idx="6116">
                  <c:v>-0.13183590000000001</c:v>
                </c:pt>
                <c:pt idx="6117">
                  <c:v>2.936152275</c:v>
                </c:pt>
                <c:pt idx="6118">
                  <c:v>9.3966728130000003</c:v>
                </c:pt>
                <c:pt idx="6119">
                  <c:v>9.4702149999999996</c:v>
                </c:pt>
                <c:pt idx="6120">
                  <c:v>0.52734380000000003</c:v>
                </c:pt>
                <c:pt idx="6121">
                  <c:v>2.5708009999999999</c:v>
                </c:pt>
                <c:pt idx="6122">
                  <c:v>7.8662109999999998</c:v>
                </c:pt>
                <c:pt idx="6123">
                  <c:v>-1.6970959800000001</c:v>
                </c:pt>
                <c:pt idx="6124">
                  <c:v>-4.1528320000000001</c:v>
                </c:pt>
                <c:pt idx="6125">
                  <c:v>-3.2035162590000001</c:v>
                </c:pt>
                <c:pt idx="6126">
                  <c:v>-2.7155410940000002</c:v>
                </c:pt>
                <c:pt idx="6127">
                  <c:v>-2.1972659999999999</c:v>
                </c:pt>
                <c:pt idx="6128">
                  <c:v>1.1130266360000001</c:v>
                </c:pt>
                <c:pt idx="6129">
                  <c:v>4.5043949999999997</c:v>
                </c:pt>
                <c:pt idx="6130">
                  <c:v>4.2399193510000002</c:v>
                </c:pt>
                <c:pt idx="6131">
                  <c:v>0.15380859999999999</c:v>
                </c:pt>
                <c:pt idx="6132">
                  <c:v>-3.7792970000000001</c:v>
                </c:pt>
                <c:pt idx="6133">
                  <c:v>3.2986775590000001</c:v>
                </c:pt>
                <c:pt idx="6134">
                  <c:v>3.3398439999999998</c:v>
                </c:pt>
                <c:pt idx="6135">
                  <c:v>-1.235093529</c:v>
                </c:pt>
                <c:pt idx="6136">
                  <c:v>-1.5528613419999999</c:v>
                </c:pt>
                <c:pt idx="6137">
                  <c:v>-1.5600590000000001</c:v>
                </c:pt>
                <c:pt idx="6138">
                  <c:v>-2.762449851</c:v>
                </c:pt>
                <c:pt idx="6139">
                  <c:v>-3.0613372619999999</c:v>
                </c:pt>
                <c:pt idx="6140">
                  <c:v>-3.376795703</c:v>
                </c:pt>
                <c:pt idx="6141">
                  <c:v>-3.3837890000000002</c:v>
                </c:pt>
                <c:pt idx="6142">
                  <c:v>-2.7862946179999999</c:v>
                </c:pt>
                <c:pt idx="6143">
                  <c:v>-2.174166547</c:v>
                </c:pt>
                <c:pt idx="6144">
                  <c:v>-0.93091751199999995</c:v>
                </c:pt>
                <c:pt idx="6145">
                  <c:v>-0.28485144899999998</c:v>
                </c:pt>
                <c:pt idx="6146">
                  <c:v>0.32727669700000001</c:v>
                </c:pt>
                <c:pt idx="6147">
                  <c:v>0.3515625</c:v>
                </c:pt>
                <c:pt idx="6148">
                  <c:v>0.31266603500000001</c:v>
                </c:pt>
                <c:pt idx="6149">
                  <c:v>0.22943419500000001</c:v>
                </c:pt>
                <c:pt idx="6150">
                  <c:v>0.18893077799999999</c:v>
                </c:pt>
                <c:pt idx="6151">
                  <c:v>0.14620235000000001</c:v>
                </c:pt>
                <c:pt idx="6152">
                  <c:v>-1.8036320000000002E-2</c:v>
                </c:pt>
                <c:pt idx="6153">
                  <c:v>-9.9022549000000001E-2</c:v>
                </c:pt>
                <c:pt idx="6154">
                  <c:v>-0.14049425600000001</c:v>
                </c:pt>
                <c:pt idx="6155">
                  <c:v>-0.222757807</c:v>
                </c:pt>
                <c:pt idx="6156">
                  <c:v>-0.265506835</c:v>
                </c:pt>
                <c:pt idx="6157">
                  <c:v>-0.30601024700000001</c:v>
                </c:pt>
                <c:pt idx="6158">
                  <c:v>-0.30761719999999998</c:v>
                </c:pt>
                <c:pt idx="6159">
                  <c:v>-4.1127871200000001</c:v>
                </c:pt>
                <c:pt idx="6160">
                  <c:v>-7.8881839999999999</c:v>
                </c:pt>
                <c:pt idx="6161">
                  <c:v>-4.2022030150000003</c:v>
                </c:pt>
                <c:pt idx="6162">
                  <c:v>-0.57128909999999999</c:v>
                </c:pt>
                <c:pt idx="6163">
                  <c:v>-0.58211787699999995</c:v>
                </c:pt>
                <c:pt idx="6164">
                  <c:v>-0.5932617</c:v>
                </c:pt>
                <c:pt idx="6165">
                  <c:v>5.5371090000000001</c:v>
                </c:pt>
                <c:pt idx="6166">
                  <c:v>5.8859534910000004</c:v>
                </c:pt>
                <c:pt idx="6167">
                  <c:v>5.8886719999999997</c:v>
                </c:pt>
                <c:pt idx="6168">
                  <c:v>4.1421226149999999</c:v>
                </c:pt>
                <c:pt idx="6169">
                  <c:v>0.59122706800000002</c:v>
                </c:pt>
                <c:pt idx="6170">
                  <c:v>-1.281752864</c:v>
                </c:pt>
                <c:pt idx="6171">
                  <c:v>-1.338646848</c:v>
                </c:pt>
                <c:pt idx="6172">
                  <c:v>-3.0572007459999999</c:v>
                </c:pt>
                <c:pt idx="6173">
                  <c:v>-3.14209</c:v>
                </c:pt>
                <c:pt idx="6174">
                  <c:v>-2.9942044640000001</c:v>
                </c:pt>
                <c:pt idx="6175">
                  <c:v>-2.8303612010000001</c:v>
                </c:pt>
                <c:pt idx="6176">
                  <c:v>-2.6750497800000002</c:v>
                </c:pt>
                <c:pt idx="6177">
                  <c:v>-2.5197383599999998</c:v>
                </c:pt>
                <c:pt idx="6178">
                  <c:v>-2.3620570000000001</c:v>
                </c:pt>
                <c:pt idx="6179">
                  <c:v>-2.0428233040000001</c:v>
                </c:pt>
                <c:pt idx="6180">
                  <c:v>-1.7236686210000001</c:v>
                </c:pt>
                <c:pt idx="6181">
                  <c:v>-1.719955688</c:v>
                </c:pt>
                <c:pt idx="6182">
                  <c:v>-1.5683571999999999</c:v>
                </c:pt>
                <c:pt idx="6183">
                  <c:v>-1.413045798</c:v>
                </c:pt>
                <c:pt idx="6184">
                  <c:v>-1.2492025170000001</c:v>
                </c:pt>
                <c:pt idx="6185">
                  <c:v>-1.0938911149999999</c:v>
                </c:pt>
                <c:pt idx="6186">
                  <c:v>-0.78208330400000003</c:v>
                </c:pt>
                <c:pt idx="6187">
                  <c:v>-0.46292862099999998</c:v>
                </c:pt>
                <c:pt idx="6188">
                  <c:v>-0.30761719999999998</c:v>
                </c:pt>
                <c:pt idx="6189">
                  <c:v>-4.5058885960000001</c:v>
                </c:pt>
                <c:pt idx="6190">
                  <c:v>-8.8008653020000001</c:v>
                </c:pt>
                <c:pt idx="6191">
                  <c:v>-8.9648439999999994</c:v>
                </c:pt>
                <c:pt idx="6192">
                  <c:v>-7.8633283189999998</c:v>
                </c:pt>
                <c:pt idx="6193">
                  <c:v>-6.6527112229999998</c:v>
                </c:pt>
                <c:pt idx="6194">
                  <c:v>-5.5062714960000001</c:v>
                </c:pt>
                <c:pt idx="6195">
                  <c:v>0.37353520000000001</c:v>
                </c:pt>
                <c:pt idx="6196">
                  <c:v>12.612299999999999</c:v>
                </c:pt>
                <c:pt idx="6197">
                  <c:v>9.9568688339999998</c:v>
                </c:pt>
                <c:pt idx="6198">
                  <c:v>7.2364008159999997</c:v>
                </c:pt>
                <c:pt idx="6199">
                  <c:v>1.6460192060000001</c:v>
                </c:pt>
                <c:pt idx="6200">
                  <c:v>1.5380860000000001</c:v>
                </c:pt>
                <c:pt idx="6201">
                  <c:v>0.72748206199999998</c:v>
                </c:pt>
                <c:pt idx="6202">
                  <c:v>-4.4165039999999998</c:v>
                </c:pt>
                <c:pt idx="6203">
                  <c:v>-3.7692096730000002</c:v>
                </c:pt>
                <c:pt idx="6204">
                  <c:v>-3.1562297840000002</c:v>
                </c:pt>
                <c:pt idx="6205">
                  <c:v>-2.5429378950000001</c:v>
                </c:pt>
                <c:pt idx="6206">
                  <c:v>-1.895643642</c:v>
                </c:pt>
                <c:pt idx="6207">
                  <c:v>-1.2826636789999999</c:v>
                </c:pt>
                <c:pt idx="6208">
                  <c:v>-4.6409511000000001E-2</c:v>
                </c:pt>
                <c:pt idx="6209">
                  <c:v>0.59090242599999998</c:v>
                </c:pt>
                <c:pt idx="6210">
                  <c:v>0.61523439999999996</c:v>
                </c:pt>
                <c:pt idx="6211">
                  <c:v>0.204539004</c:v>
                </c:pt>
                <c:pt idx="6212">
                  <c:v>-0.24683438699999999</c:v>
                </c:pt>
                <c:pt idx="6213">
                  <c:v>-1.5600590000000001</c:v>
                </c:pt>
                <c:pt idx="6214">
                  <c:v>3.3618160000000001</c:v>
                </c:pt>
                <c:pt idx="6215">
                  <c:v>0.28242188400000001</c:v>
                </c:pt>
                <c:pt idx="6216">
                  <c:v>-0.320214895</c:v>
                </c:pt>
                <c:pt idx="6217">
                  <c:v>-0.92285159999999999</c:v>
                </c:pt>
                <c:pt idx="6218">
                  <c:v>-0.213664666</c:v>
                </c:pt>
                <c:pt idx="6219">
                  <c:v>2.6575475210000001</c:v>
                </c:pt>
                <c:pt idx="6220">
                  <c:v>3.3560752580000002</c:v>
                </c:pt>
                <c:pt idx="6221">
                  <c:v>3.3837890000000002</c:v>
                </c:pt>
                <c:pt idx="6222">
                  <c:v>3.0243152040000001</c:v>
                </c:pt>
                <c:pt idx="6223">
                  <c:v>2.6290273860000002</c:v>
                </c:pt>
                <c:pt idx="6224">
                  <c:v>2.2545041239999999</c:v>
                </c:pt>
                <c:pt idx="6225">
                  <c:v>-2.1972660000000001E-2</c:v>
                </c:pt>
                <c:pt idx="6226">
                  <c:v>2.0434570000000001</c:v>
                </c:pt>
                <c:pt idx="6227">
                  <c:v>2.4782676979999998</c:v>
                </c:pt>
                <c:pt idx="6228">
                  <c:v>2.504883</c:v>
                </c:pt>
                <c:pt idx="6229">
                  <c:v>-8.9648439999999994</c:v>
                </c:pt>
                <c:pt idx="6230">
                  <c:v>9.3815781410000003</c:v>
                </c:pt>
                <c:pt idx="6231">
                  <c:v>15.43595811</c:v>
                </c:pt>
                <c:pt idx="6232">
                  <c:v>21.533104179999999</c:v>
                </c:pt>
                <c:pt idx="6233">
                  <c:v>27.871570139999999</c:v>
                </c:pt>
                <c:pt idx="6234">
                  <c:v>28.015139999999999</c:v>
                </c:pt>
                <c:pt idx="6235">
                  <c:v>9.140625</c:v>
                </c:pt>
                <c:pt idx="6236">
                  <c:v>-1.0546880000000001</c:v>
                </c:pt>
                <c:pt idx="6237">
                  <c:v>0.37353520000000001</c:v>
                </c:pt>
                <c:pt idx="6238">
                  <c:v>96.613770000000002</c:v>
                </c:pt>
                <c:pt idx="6239">
                  <c:v>-8.9648439999999994</c:v>
                </c:pt>
                <c:pt idx="6240">
                  <c:v>1.801758</c:v>
                </c:pt>
                <c:pt idx="6241">
                  <c:v>-8.7670899999999996</c:v>
                </c:pt>
                <c:pt idx="6242">
                  <c:v>59.392090000000003</c:v>
                </c:pt>
                <c:pt idx="6243">
                  <c:v>23.181149999999999</c:v>
                </c:pt>
                <c:pt idx="6244">
                  <c:v>-8.9648439999999994</c:v>
                </c:pt>
                <c:pt idx="6245">
                  <c:v>-6.5258789999999998</c:v>
                </c:pt>
                <c:pt idx="6246">
                  <c:v>13.535159999999999</c:v>
                </c:pt>
                <c:pt idx="6247">
                  <c:v>-8.9428710000000002</c:v>
                </c:pt>
                <c:pt idx="6248">
                  <c:v>79.782709999999994</c:v>
                </c:pt>
                <c:pt idx="6249">
                  <c:v>-8.9868159999999992</c:v>
                </c:pt>
                <c:pt idx="6250">
                  <c:v>-2.9613391509999998</c:v>
                </c:pt>
                <c:pt idx="6251">
                  <c:v>0.1098633</c:v>
                </c:pt>
                <c:pt idx="6252">
                  <c:v>-1.713867</c:v>
                </c:pt>
                <c:pt idx="6253">
                  <c:v>-8.9868159999999992</c:v>
                </c:pt>
                <c:pt idx="6254">
                  <c:v>-1.4501949999999999</c:v>
                </c:pt>
                <c:pt idx="6255">
                  <c:v>-8.8729308469999992</c:v>
                </c:pt>
                <c:pt idx="6256">
                  <c:v>-8.9868159999999992</c:v>
                </c:pt>
                <c:pt idx="6257">
                  <c:v>13.11768</c:v>
                </c:pt>
                <c:pt idx="6258">
                  <c:v>60.979279439999999</c:v>
                </c:pt>
                <c:pt idx="6259">
                  <c:v>61.765140000000002</c:v>
                </c:pt>
                <c:pt idx="6260">
                  <c:v>43.681640000000002</c:v>
                </c:pt>
                <c:pt idx="6261">
                  <c:v>97.404790000000006</c:v>
                </c:pt>
                <c:pt idx="6262">
                  <c:v>27.399899999999999</c:v>
                </c:pt>
                <c:pt idx="6263">
                  <c:v>14.61182</c:v>
                </c:pt>
                <c:pt idx="6264">
                  <c:v>-8.9868159999999992</c:v>
                </c:pt>
                <c:pt idx="6265">
                  <c:v>54.316409999999998</c:v>
                </c:pt>
                <c:pt idx="6266">
                  <c:v>30.234380000000002</c:v>
                </c:pt>
                <c:pt idx="6267">
                  <c:v>79.804689999999994</c:v>
                </c:pt>
                <c:pt idx="6268">
                  <c:v>23.44482</c:v>
                </c:pt>
                <c:pt idx="6269">
                  <c:v>4.8339840000000001</c:v>
                </c:pt>
                <c:pt idx="6270">
                  <c:v>25.817869999999999</c:v>
                </c:pt>
                <c:pt idx="6271">
                  <c:v>17.292480000000001</c:v>
                </c:pt>
                <c:pt idx="6272">
                  <c:v>50.141599999999997</c:v>
                </c:pt>
                <c:pt idx="6273">
                  <c:v>-8.9868159999999992</c:v>
                </c:pt>
                <c:pt idx="6274">
                  <c:v>-2.7465820000000001</c:v>
                </c:pt>
                <c:pt idx="6275">
                  <c:v>-8.9868159999999992</c:v>
                </c:pt>
                <c:pt idx="6276">
                  <c:v>-7.9321289999999998</c:v>
                </c:pt>
                <c:pt idx="6277">
                  <c:v>84.199219999999997</c:v>
                </c:pt>
                <c:pt idx="6278">
                  <c:v>74.641109999999998</c:v>
                </c:pt>
                <c:pt idx="6279">
                  <c:v>5.8666989999999997</c:v>
                </c:pt>
                <c:pt idx="6280">
                  <c:v>-8.9868159999999992</c:v>
                </c:pt>
                <c:pt idx="6281">
                  <c:v>5.7128909999999999</c:v>
                </c:pt>
                <c:pt idx="6282">
                  <c:v>62.622070000000001</c:v>
                </c:pt>
                <c:pt idx="6283">
                  <c:v>11.755369999999999</c:v>
                </c:pt>
                <c:pt idx="6284">
                  <c:v>-8.9648439999999994</c:v>
                </c:pt>
                <c:pt idx="6285">
                  <c:v>-6.8115230000000002</c:v>
                </c:pt>
                <c:pt idx="6286">
                  <c:v>-8.9868159999999992</c:v>
                </c:pt>
                <c:pt idx="6287">
                  <c:v>76.113280000000003</c:v>
                </c:pt>
                <c:pt idx="6288">
                  <c:v>47.922359999999998</c:v>
                </c:pt>
                <c:pt idx="6289">
                  <c:v>46.032710000000002</c:v>
                </c:pt>
                <c:pt idx="6290">
                  <c:v>33.75</c:v>
                </c:pt>
                <c:pt idx="6291">
                  <c:v>-8.9868159999999992</c:v>
                </c:pt>
                <c:pt idx="6292">
                  <c:v>-4.943848</c:v>
                </c:pt>
                <c:pt idx="6293">
                  <c:v>7.2290039999999998</c:v>
                </c:pt>
                <c:pt idx="6294">
                  <c:v>5.2954100000000004</c:v>
                </c:pt>
                <c:pt idx="6295">
                  <c:v>23.708500000000001</c:v>
                </c:pt>
                <c:pt idx="6296">
                  <c:v>-8.9648439999999994</c:v>
                </c:pt>
                <c:pt idx="6297">
                  <c:v>15.271000000000001</c:v>
                </c:pt>
                <c:pt idx="6298">
                  <c:v>22.587890000000002</c:v>
                </c:pt>
                <c:pt idx="6299">
                  <c:v>74.377440000000007</c:v>
                </c:pt>
                <c:pt idx="6300">
                  <c:v>37.221679999999999</c:v>
                </c:pt>
                <c:pt idx="6301">
                  <c:v>25.817869999999999</c:v>
                </c:pt>
                <c:pt idx="6302">
                  <c:v>-7.5146480000000002</c:v>
                </c:pt>
                <c:pt idx="6303">
                  <c:v>-8.9648439999999994</c:v>
                </c:pt>
                <c:pt idx="6304">
                  <c:v>14.04053</c:v>
                </c:pt>
                <c:pt idx="6305">
                  <c:v>139.61429999999999</c:v>
                </c:pt>
                <c:pt idx="6306">
                  <c:v>36.10107</c:v>
                </c:pt>
                <c:pt idx="6307">
                  <c:v>26.652830000000002</c:v>
                </c:pt>
                <c:pt idx="6308">
                  <c:v>-8.9868159999999992</c:v>
                </c:pt>
                <c:pt idx="6309">
                  <c:v>10.678710000000001</c:v>
                </c:pt>
                <c:pt idx="6310">
                  <c:v>-8.9868159999999992</c:v>
                </c:pt>
                <c:pt idx="6311">
                  <c:v>8.1958009999999994</c:v>
                </c:pt>
                <c:pt idx="6312">
                  <c:v>45.966799999999999</c:v>
                </c:pt>
                <c:pt idx="6313">
                  <c:v>23.840330000000002</c:v>
                </c:pt>
                <c:pt idx="6314">
                  <c:v>40.385739999999998</c:v>
                </c:pt>
                <c:pt idx="6315">
                  <c:v>31.750489999999999</c:v>
                </c:pt>
                <c:pt idx="6316">
                  <c:v>3.0102540000000002</c:v>
                </c:pt>
                <c:pt idx="6317">
                  <c:v>-8.9868159999999992</c:v>
                </c:pt>
                <c:pt idx="6318">
                  <c:v>17.248539999999998</c:v>
                </c:pt>
                <c:pt idx="6319">
                  <c:v>5.5810550000000001</c:v>
                </c:pt>
                <c:pt idx="6320">
                  <c:v>67.016599999999997</c:v>
                </c:pt>
                <c:pt idx="6321">
                  <c:v>27.04834</c:v>
                </c:pt>
                <c:pt idx="6322">
                  <c:v>59.809570000000001</c:v>
                </c:pt>
                <c:pt idx="6323">
                  <c:v>-8.9648439999999994</c:v>
                </c:pt>
                <c:pt idx="6324">
                  <c:v>4.3945309999999997</c:v>
                </c:pt>
                <c:pt idx="6325">
                  <c:v>-8.9648439999999994</c:v>
                </c:pt>
                <c:pt idx="6326">
                  <c:v>-3.9990230000000002</c:v>
                </c:pt>
                <c:pt idx="6327">
                  <c:v>14.743650000000001</c:v>
                </c:pt>
                <c:pt idx="6328">
                  <c:v>170.1123</c:v>
                </c:pt>
                <c:pt idx="6329">
                  <c:v>172.6611</c:v>
                </c:pt>
                <c:pt idx="6330">
                  <c:v>122.2998</c:v>
                </c:pt>
                <c:pt idx="6331">
                  <c:v>111.20359999999999</c:v>
                </c:pt>
                <c:pt idx="6332">
                  <c:v>118.7842</c:v>
                </c:pt>
                <c:pt idx="6333">
                  <c:v>94.372559999999993</c:v>
                </c:pt>
                <c:pt idx="6334">
                  <c:v>28.630369999999999</c:v>
                </c:pt>
                <c:pt idx="6335">
                  <c:v>25.883790000000001</c:v>
                </c:pt>
                <c:pt idx="6336">
                  <c:v>33.728029999999997</c:v>
                </c:pt>
                <c:pt idx="6337">
                  <c:v>29.22363</c:v>
                </c:pt>
                <c:pt idx="6338">
                  <c:v>39.660640000000001</c:v>
                </c:pt>
                <c:pt idx="6339">
                  <c:v>57.590330000000002</c:v>
                </c:pt>
                <c:pt idx="6340">
                  <c:v>-7.3168949999999997</c:v>
                </c:pt>
                <c:pt idx="6341">
                  <c:v>14.326169999999999</c:v>
                </c:pt>
                <c:pt idx="6342">
                  <c:v>19.951170000000001</c:v>
                </c:pt>
                <c:pt idx="6343">
                  <c:v>-8.3276369999999993</c:v>
                </c:pt>
                <c:pt idx="6344">
                  <c:v>4.5263669999999996</c:v>
                </c:pt>
                <c:pt idx="6345">
                  <c:v>6.328125</c:v>
                </c:pt>
                <c:pt idx="6346">
                  <c:v>-8.9868159999999992</c:v>
                </c:pt>
                <c:pt idx="6347">
                  <c:v>1.428223</c:v>
                </c:pt>
                <c:pt idx="6348">
                  <c:v>33.75</c:v>
                </c:pt>
                <c:pt idx="6349">
                  <c:v>43.43994</c:v>
                </c:pt>
                <c:pt idx="6350">
                  <c:v>21.203610000000001</c:v>
                </c:pt>
                <c:pt idx="6351">
                  <c:v>12.41455</c:v>
                </c:pt>
                <c:pt idx="6352">
                  <c:v>17.95166</c:v>
                </c:pt>
                <c:pt idx="6353">
                  <c:v>-8.1958009999999994</c:v>
                </c:pt>
                <c:pt idx="6354">
                  <c:v>13.623049999999999</c:v>
                </c:pt>
                <c:pt idx="6355">
                  <c:v>11.79932</c:v>
                </c:pt>
                <c:pt idx="6356">
                  <c:v>6.5917970000000006E-2</c:v>
                </c:pt>
                <c:pt idx="6357">
                  <c:v>1.2524409999999999</c:v>
                </c:pt>
                <c:pt idx="6358">
                  <c:v>-8.9868159999999992</c:v>
                </c:pt>
                <c:pt idx="6359">
                  <c:v>-0.98876949999999997</c:v>
                </c:pt>
                <c:pt idx="6360">
                  <c:v>129.59469999999999</c:v>
                </c:pt>
                <c:pt idx="6361">
                  <c:v>115.3125</c:v>
                </c:pt>
                <c:pt idx="6362">
                  <c:v>74.641109999999998</c:v>
                </c:pt>
                <c:pt idx="6363">
                  <c:v>45.483400000000003</c:v>
                </c:pt>
                <c:pt idx="6364">
                  <c:v>7.053223</c:v>
                </c:pt>
                <c:pt idx="6365">
                  <c:v>21.818850000000001</c:v>
                </c:pt>
                <c:pt idx="6366">
                  <c:v>20.698239999999998</c:v>
                </c:pt>
                <c:pt idx="6367">
                  <c:v>11.535640000000001</c:v>
                </c:pt>
                <c:pt idx="6368">
                  <c:v>14.08447</c:v>
                </c:pt>
                <c:pt idx="6369">
                  <c:v>2.7465820000000001</c:v>
                </c:pt>
                <c:pt idx="6370">
                  <c:v>1.713867</c:v>
                </c:pt>
                <c:pt idx="6371">
                  <c:v>27.883299999999998</c:v>
                </c:pt>
                <c:pt idx="6372">
                  <c:v>9.0747070000000001</c:v>
                </c:pt>
                <c:pt idx="6373">
                  <c:v>6.7575103429999999</c:v>
                </c:pt>
                <c:pt idx="6374">
                  <c:v>4.1308590000000001</c:v>
                </c:pt>
                <c:pt idx="6375">
                  <c:v>49.52637</c:v>
                </c:pt>
                <c:pt idx="6376">
                  <c:v>11.25</c:v>
                </c:pt>
                <c:pt idx="6377">
                  <c:v>16.127929999999999</c:v>
                </c:pt>
                <c:pt idx="6378">
                  <c:v>-9.0087890000000002</c:v>
                </c:pt>
                <c:pt idx="6379">
                  <c:v>-0.5932617</c:v>
                </c:pt>
                <c:pt idx="6380">
                  <c:v>32.673340000000003</c:v>
                </c:pt>
                <c:pt idx="6381">
                  <c:v>7.6245120000000002</c:v>
                </c:pt>
                <c:pt idx="6382">
                  <c:v>-8.9868159999999992</c:v>
                </c:pt>
                <c:pt idx="6383">
                  <c:v>2.9882810000000002</c:v>
                </c:pt>
                <c:pt idx="6384">
                  <c:v>65.039060000000006</c:v>
                </c:pt>
                <c:pt idx="6385">
                  <c:v>26.58691</c:v>
                </c:pt>
                <c:pt idx="6386">
                  <c:v>9.1625979999999991</c:v>
                </c:pt>
                <c:pt idx="6387">
                  <c:v>-0.116820851</c:v>
                </c:pt>
                <c:pt idx="6388">
                  <c:v>-5.2514649999999996</c:v>
                </c:pt>
                <c:pt idx="6389">
                  <c:v>2.131348</c:v>
                </c:pt>
                <c:pt idx="6390">
                  <c:v>-0.50537109999999996</c:v>
                </c:pt>
                <c:pt idx="6391">
                  <c:v>1.032715</c:v>
                </c:pt>
                <c:pt idx="6392">
                  <c:v>-8.9868159999999992</c:v>
                </c:pt>
                <c:pt idx="6393">
                  <c:v>-1.8676759999999999</c:v>
                </c:pt>
                <c:pt idx="6394">
                  <c:v>-8.9208979999999993</c:v>
                </c:pt>
                <c:pt idx="6395">
                  <c:v>0.96472839499999996</c:v>
                </c:pt>
                <c:pt idx="6396">
                  <c:v>1.1206050000000001</c:v>
                </c:pt>
                <c:pt idx="6397">
                  <c:v>1.6692075479999999</c:v>
                </c:pt>
                <c:pt idx="6398">
                  <c:v>3.4277340000000001</c:v>
                </c:pt>
                <c:pt idx="6399">
                  <c:v>0.69050651100000005</c:v>
                </c:pt>
                <c:pt idx="6400">
                  <c:v>-2.0654300000000001</c:v>
                </c:pt>
                <c:pt idx="6401">
                  <c:v>-8.9428710000000002</c:v>
                </c:pt>
                <c:pt idx="6402">
                  <c:v>11.22027791</c:v>
                </c:pt>
                <c:pt idx="6403">
                  <c:v>11.62354</c:v>
                </c:pt>
                <c:pt idx="6404">
                  <c:v>11.8511311</c:v>
                </c:pt>
                <c:pt idx="6405">
                  <c:v>12.10126434</c:v>
                </c:pt>
                <c:pt idx="6406">
                  <c:v>12.10693</c:v>
                </c:pt>
                <c:pt idx="6407">
                  <c:v>0.76904300000000003</c:v>
                </c:pt>
                <c:pt idx="6408">
                  <c:v>42.319339999999997</c:v>
                </c:pt>
                <c:pt idx="6409">
                  <c:v>-8.9868159999999992</c:v>
                </c:pt>
                <c:pt idx="6410">
                  <c:v>42.1875</c:v>
                </c:pt>
                <c:pt idx="6411">
                  <c:v>45.615229999999997</c:v>
                </c:pt>
                <c:pt idx="6412">
                  <c:v>19.643550000000001</c:v>
                </c:pt>
                <c:pt idx="6413">
                  <c:v>7.9541019999999998</c:v>
                </c:pt>
                <c:pt idx="6414">
                  <c:v>3.186035</c:v>
                </c:pt>
                <c:pt idx="6415">
                  <c:v>-7.9541019999999998</c:v>
                </c:pt>
                <c:pt idx="6416">
                  <c:v>-3.0624211909999999</c:v>
                </c:pt>
                <c:pt idx="6417">
                  <c:v>2.3510740000000001</c:v>
                </c:pt>
                <c:pt idx="6418">
                  <c:v>-0.3515625</c:v>
                </c:pt>
                <c:pt idx="6419">
                  <c:v>-9.0087890000000002</c:v>
                </c:pt>
                <c:pt idx="6420">
                  <c:v>-0.703125</c:v>
                </c:pt>
                <c:pt idx="6421">
                  <c:v>3.845215</c:v>
                </c:pt>
                <c:pt idx="6422">
                  <c:v>-0.96679689999999996</c:v>
                </c:pt>
                <c:pt idx="6423">
                  <c:v>-0.26092616699999999</c:v>
                </c:pt>
                <c:pt idx="6424">
                  <c:v>1.5935785000000001E-2</c:v>
                </c:pt>
                <c:pt idx="6425">
                  <c:v>0.15931578599999999</c:v>
                </c:pt>
                <c:pt idx="6426">
                  <c:v>0.29937286600000002</c:v>
                </c:pt>
                <c:pt idx="6427">
                  <c:v>0.44607577199999998</c:v>
                </c:pt>
                <c:pt idx="6428">
                  <c:v>0.58719334599999995</c:v>
                </c:pt>
                <c:pt idx="6429">
                  <c:v>0.72286702800000002</c:v>
                </c:pt>
                <c:pt idx="6430">
                  <c:v>0.86518651899999999</c:v>
                </c:pt>
                <c:pt idx="6431">
                  <c:v>1.296387</c:v>
                </c:pt>
                <c:pt idx="6432">
                  <c:v>1.489284343</c:v>
                </c:pt>
                <c:pt idx="6433">
                  <c:v>1.5864874689999999</c:v>
                </c:pt>
                <c:pt idx="6434">
                  <c:v>1.6806240969999999</c:v>
                </c:pt>
                <c:pt idx="6435">
                  <c:v>1.7877081530000001</c:v>
                </c:pt>
                <c:pt idx="6436">
                  <c:v>1.878048173</c:v>
                </c:pt>
                <c:pt idx="6437">
                  <c:v>1.97374238</c:v>
                </c:pt>
                <c:pt idx="6438">
                  <c:v>1.9775389999999999</c:v>
                </c:pt>
                <c:pt idx="6439">
                  <c:v>-2.5354894140000002</c:v>
                </c:pt>
                <c:pt idx="6440">
                  <c:v>-2.5708009999999999</c:v>
                </c:pt>
                <c:pt idx="6441">
                  <c:v>-2.4354247529999999</c:v>
                </c:pt>
                <c:pt idx="6442">
                  <c:v>-2.2979496350000002</c:v>
                </c:pt>
                <c:pt idx="6443">
                  <c:v>-2.1527787329999999</c:v>
                </c:pt>
                <c:pt idx="6444">
                  <c:v>-2.0130648459999998</c:v>
                </c:pt>
                <c:pt idx="6445">
                  <c:v>-1.8723015240000001</c:v>
                </c:pt>
                <c:pt idx="6446">
                  <c:v>-1.8711821319999999</c:v>
                </c:pt>
                <c:pt idx="6447">
                  <c:v>-1.5961619549999999</c:v>
                </c:pt>
                <c:pt idx="6448">
                  <c:v>-1.3134459780000001</c:v>
                </c:pt>
                <c:pt idx="6449">
                  <c:v>-1.1726826560000001</c:v>
                </c:pt>
                <c:pt idx="6450">
                  <c:v>-0.75906798499999995</c:v>
                </c:pt>
                <c:pt idx="6451">
                  <c:v>-0.61389706600000005</c:v>
                </c:pt>
                <c:pt idx="6452">
                  <c:v>-0.47635199099999997</c:v>
                </c:pt>
                <c:pt idx="6453">
                  <c:v>-0.33887688999999999</c:v>
                </c:pt>
                <c:pt idx="6454">
                  <c:v>-0.193705971</c:v>
                </c:pt>
                <c:pt idx="6455">
                  <c:v>8.6771238000000001E-2</c:v>
                </c:pt>
                <c:pt idx="6456">
                  <c:v>8.7890629999999997E-2</c:v>
                </c:pt>
                <c:pt idx="6457">
                  <c:v>-3.472462991</c:v>
                </c:pt>
                <c:pt idx="6458">
                  <c:v>-6.9213870000000002</c:v>
                </c:pt>
                <c:pt idx="6459">
                  <c:v>-4.5285646990000004</c:v>
                </c:pt>
                <c:pt idx="6460">
                  <c:v>0.32958979999999999</c:v>
                </c:pt>
                <c:pt idx="6461">
                  <c:v>-1.1645509999999999</c:v>
                </c:pt>
                <c:pt idx="6462">
                  <c:v>15.93018</c:v>
                </c:pt>
                <c:pt idx="6463">
                  <c:v>-9.0087890000000002</c:v>
                </c:pt>
                <c:pt idx="6464">
                  <c:v>0.30761719999999998</c:v>
                </c:pt>
                <c:pt idx="6465">
                  <c:v>1.5358953479999999</c:v>
                </c:pt>
                <c:pt idx="6466">
                  <c:v>2.3818284759999999</c:v>
                </c:pt>
                <c:pt idx="6467">
                  <c:v>2.3950200000000001</c:v>
                </c:pt>
                <c:pt idx="6468">
                  <c:v>94.504390000000001</c:v>
                </c:pt>
                <c:pt idx="6469">
                  <c:v>125.2002</c:v>
                </c:pt>
                <c:pt idx="6470">
                  <c:v>97.976070000000007</c:v>
                </c:pt>
                <c:pt idx="6471">
                  <c:v>59.809570000000001</c:v>
                </c:pt>
                <c:pt idx="6472">
                  <c:v>74.267579999999995</c:v>
                </c:pt>
                <c:pt idx="6473">
                  <c:v>64.841309999999993</c:v>
                </c:pt>
                <c:pt idx="6474">
                  <c:v>73.43262</c:v>
                </c:pt>
                <c:pt idx="6475">
                  <c:v>-8.9648439999999994</c:v>
                </c:pt>
                <c:pt idx="6476">
                  <c:v>69.016109999999998</c:v>
                </c:pt>
                <c:pt idx="6477">
                  <c:v>19.66553</c:v>
                </c:pt>
                <c:pt idx="6478">
                  <c:v>-0.43945309999999999</c:v>
                </c:pt>
                <c:pt idx="6479">
                  <c:v>-7.8662109999999998</c:v>
                </c:pt>
                <c:pt idx="6480">
                  <c:v>-3.4716800000000001</c:v>
                </c:pt>
                <c:pt idx="6481">
                  <c:v>-3.7997299660000001</c:v>
                </c:pt>
                <c:pt idx="6482">
                  <c:v>-5.5371090000000001</c:v>
                </c:pt>
                <c:pt idx="6483">
                  <c:v>-2.8701866429999998</c:v>
                </c:pt>
                <c:pt idx="6484">
                  <c:v>-0.26367190000000001</c:v>
                </c:pt>
                <c:pt idx="6485">
                  <c:v>0.44840371600000001</c:v>
                </c:pt>
                <c:pt idx="6486">
                  <c:v>0.58876167599999996</c:v>
                </c:pt>
                <c:pt idx="6487">
                  <c:v>0.5932617</c:v>
                </c:pt>
                <c:pt idx="6488">
                  <c:v>7.1015971379999998</c:v>
                </c:pt>
                <c:pt idx="6489">
                  <c:v>13.982715949999999</c:v>
                </c:pt>
                <c:pt idx="6490">
                  <c:v>14.3042</c:v>
                </c:pt>
                <c:pt idx="6491">
                  <c:v>6.1799730549999996</c:v>
                </c:pt>
                <c:pt idx="6492">
                  <c:v>2.0214840000000001</c:v>
                </c:pt>
                <c:pt idx="6493">
                  <c:v>0.93292419100000001</c:v>
                </c:pt>
                <c:pt idx="6494">
                  <c:v>0.75416605000000003</c:v>
                </c:pt>
                <c:pt idx="6495">
                  <c:v>0.74707029999999996</c:v>
                </c:pt>
                <c:pt idx="6496">
                  <c:v>-8.7144160090000007</c:v>
                </c:pt>
                <c:pt idx="6497">
                  <c:v>-8.7890630000000005</c:v>
                </c:pt>
                <c:pt idx="6498">
                  <c:v>46.918079980000002</c:v>
                </c:pt>
                <c:pt idx="6499">
                  <c:v>105.4224864</c:v>
                </c:pt>
                <c:pt idx="6500">
                  <c:v>167.14076059999999</c:v>
                </c:pt>
                <c:pt idx="6501">
                  <c:v>227.96629999999999</c:v>
                </c:pt>
                <c:pt idx="6502">
                  <c:v>183.25200000000001</c:v>
                </c:pt>
                <c:pt idx="6503">
                  <c:v>119.9927</c:v>
                </c:pt>
                <c:pt idx="6504">
                  <c:v>74.487300000000005</c:v>
                </c:pt>
                <c:pt idx="6505">
                  <c:v>36.826169999999998</c:v>
                </c:pt>
                <c:pt idx="6506">
                  <c:v>18.962399999999999</c:v>
                </c:pt>
                <c:pt idx="6507">
                  <c:v>7.2070309999999997</c:v>
                </c:pt>
                <c:pt idx="6508">
                  <c:v>2.6586910000000001</c:v>
                </c:pt>
                <c:pt idx="6509">
                  <c:v>3.0761720000000001</c:v>
                </c:pt>
                <c:pt idx="6510">
                  <c:v>26.85059</c:v>
                </c:pt>
                <c:pt idx="6511">
                  <c:v>-9.0087890000000002</c:v>
                </c:pt>
                <c:pt idx="6512">
                  <c:v>12.392580000000001</c:v>
                </c:pt>
                <c:pt idx="6513">
                  <c:v>65.983890000000002</c:v>
                </c:pt>
                <c:pt idx="6514">
                  <c:v>62.270510000000002</c:v>
                </c:pt>
                <c:pt idx="6515">
                  <c:v>41.72607</c:v>
                </c:pt>
                <c:pt idx="6516">
                  <c:v>2.2192379999999998</c:v>
                </c:pt>
                <c:pt idx="6517">
                  <c:v>13.952640000000001</c:v>
                </c:pt>
                <c:pt idx="6518">
                  <c:v>-2.6147459999999998</c:v>
                </c:pt>
                <c:pt idx="6519">
                  <c:v>16.127929999999999</c:v>
                </c:pt>
                <c:pt idx="6520">
                  <c:v>-8.9868159999999992</c:v>
                </c:pt>
                <c:pt idx="6521">
                  <c:v>3.4057620000000002</c:v>
                </c:pt>
                <c:pt idx="6522">
                  <c:v>7.3608399999999996</c:v>
                </c:pt>
                <c:pt idx="6523">
                  <c:v>23.29102</c:v>
                </c:pt>
                <c:pt idx="6524">
                  <c:v>-8.9868159999999992</c:v>
                </c:pt>
                <c:pt idx="6525">
                  <c:v>22.367555920000001</c:v>
                </c:pt>
                <c:pt idx="6526">
                  <c:v>51.789549999999998</c:v>
                </c:pt>
                <c:pt idx="6527">
                  <c:v>144.8877</c:v>
                </c:pt>
                <c:pt idx="6528">
                  <c:v>101.1621</c:v>
                </c:pt>
                <c:pt idx="6529">
                  <c:v>77.321780000000004</c:v>
                </c:pt>
                <c:pt idx="6530">
                  <c:v>22.19238</c:v>
                </c:pt>
                <c:pt idx="6531">
                  <c:v>-8.9648439999999994</c:v>
                </c:pt>
                <c:pt idx="6532">
                  <c:v>11.535640000000001</c:v>
                </c:pt>
                <c:pt idx="6533">
                  <c:v>23.203130000000002</c:v>
                </c:pt>
                <c:pt idx="6534">
                  <c:v>25.13672</c:v>
                </c:pt>
                <c:pt idx="6535">
                  <c:v>19.929200000000002</c:v>
                </c:pt>
                <c:pt idx="6536">
                  <c:v>-1.3183590000000001</c:v>
                </c:pt>
                <c:pt idx="6537">
                  <c:v>-8.9868159999999992</c:v>
                </c:pt>
                <c:pt idx="6538">
                  <c:v>-8.1329712090000008</c:v>
                </c:pt>
                <c:pt idx="6539">
                  <c:v>-4.3725589999999999</c:v>
                </c:pt>
                <c:pt idx="6540">
                  <c:v>-1.110815219</c:v>
                </c:pt>
                <c:pt idx="6541">
                  <c:v>1.713867</c:v>
                </c:pt>
                <c:pt idx="6542">
                  <c:v>-8.5693359999999998</c:v>
                </c:pt>
                <c:pt idx="6543">
                  <c:v>0.703125</c:v>
                </c:pt>
                <c:pt idx="6544">
                  <c:v>-0.69643618600000001</c:v>
                </c:pt>
                <c:pt idx="6545">
                  <c:v>-0.91845725600000006</c:v>
                </c:pt>
                <c:pt idx="6546">
                  <c:v>-1.1605454120000001</c:v>
                </c:pt>
                <c:pt idx="6547">
                  <c:v>-1.393533379</c:v>
                </c:pt>
                <c:pt idx="6548">
                  <c:v>-1.617421156</c:v>
                </c:pt>
                <c:pt idx="6549">
                  <c:v>-2.1052141949999998</c:v>
                </c:pt>
                <c:pt idx="6550">
                  <c:v>-2.3253685850000001</c:v>
                </c:pt>
                <c:pt idx="6551">
                  <c:v>-2.3291019999999998</c:v>
                </c:pt>
                <c:pt idx="6552">
                  <c:v>-5.5656255760000004</c:v>
                </c:pt>
                <c:pt idx="6553">
                  <c:v>-9.0087890000000002</c:v>
                </c:pt>
                <c:pt idx="6554">
                  <c:v>-7.6900346229999998</c:v>
                </c:pt>
                <c:pt idx="6555">
                  <c:v>-6.3975687360000002</c:v>
                </c:pt>
                <c:pt idx="6556">
                  <c:v>-1.73584</c:v>
                </c:pt>
                <c:pt idx="6557">
                  <c:v>9.6679689999999994</c:v>
                </c:pt>
                <c:pt idx="6558">
                  <c:v>-0.57128909999999999</c:v>
                </c:pt>
                <c:pt idx="6559">
                  <c:v>2.5488279999999999</c:v>
                </c:pt>
                <c:pt idx="6560">
                  <c:v>-8.9648439999999994</c:v>
                </c:pt>
                <c:pt idx="6561">
                  <c:v>-1.6918949999999999</c:v>
                </c:pt>
                <c:pt idx="6562">
                  <c:v>-8.9648439999999994</c:v>
                </c:pt>
                <c:pt idx="6563">
                  <c:v>-4.2318992089999998</c:v>
                </c:pt>
                <c:pt idx="6564">
                  <c:v>-3.0102540000000002</c:v>
                </c:pt>
                <c:pt idx="6565">
                  <c:v>-2.087402</c:v>
                </c:pt>
                <c:pt idx="6566">
                  <c:v>-8.7890630000000005</c:v>
                </c:pt>
                <c:pt idx="6567">
                  <c:v>-1.8676759999999999</c:v>
                </c:pt>
                <c:pt idx="6568">
                  <c:v>-3.823242</c:v>
                </c:pt>
                <c:pt idx="6569">
                  <c:v>1.098633</c:v>
                </c:pt>
                <c:pt idx="6570">
                  <c:v>-1.9775389999999999</c:v>
                </c:pt>
                <c:pt idx="6571">
                  <c:v>-8.9868159999999992</c:v>
                </c:pt>
                <c:pt idx="6572">
                  <c:v>-7.5366210000000002</c:v>
                </c:pt>
                <c:pt idx="6573">
                  <c:v>1.8676759999999999</c:v>
                </c:pt>
                <c:pt idx="6574">
                  <c:v>-1.9555659999999999</c:v>
                </c:pt>
                <c:pt idx="6575">
                  <c:v>0.95917621500000005</c:v>
                </c:pt>
                <c:pt idx="6576">
                  <c:v>1.1645509999999999</c:v>
                </c:pt>
                <c:pt idx="6577">
                  <c:v>2.758941804</c:v>
                </c:pt>
                <c:pt idx="6578">
                  <c:v>4.3780520190000001</c:v>
                </c:pt>
                <c:pt idx="6579">
                  <c:v>7.6690065360000004</c:v>
                </c:pt>
                <c:pt idx="6580">
                  <c:v>9.3787538710000007</c:v>
                </c:pt>
                <c:pt idx="6581">
                  <c:v>9.4042969999999997</c:v>
                </c:pt>
                <c:pt idx="6582">
                  <c:v>8.4202483780000001</c:v>
                </c:pt>
                <c:pt idx="6583">
                  <c:v>0.4614258</c:v>
                </c:pt>
                <c:pt idx="6584">
                  <c:v>-2.3291019999999998</c:v>
                </c:pt>
                <c:pt idx="6585">
                  <c:v>-8.9868159999999992</c:v>
                </c:pt>
                <c:pt idx="6586">
                  <c:v>-6.6856012519999997</c:v>
                </c:pt>
                <c:pt idx="6587">
                  <c:v>-6.2361988699999999</c:v>
                </c:pt>
                <c:pt idx="6588">
                  <c:v>-5.7865677470000003</c:v>
                </c:pt>
                <c:pt idx="6589">
                  <c:v>-5.3264162610000003</c:v>
                </c:pt>
                <c:pt idx="6590">
                  <c:v>-1.6479490000000001</c:v>
                </c:pt>
                <c:pt idx="6591">
                  <c:v>1.3403320000000001</c:v>
                </c:pt>
                <c:pt idx="6592">
                  <c:v>-8.9868159999999992</c:v>
                </c:pt>
                <c:pt idx="6593">
                  <c:v>-4.4874483420000004</c:v>
                </c:pt>
                <c:pt idx="6594">
                  <c:v>-0.72509769999999996</c:v>
                </c:pt>
                <c:pt idx="6595">
                  <c:v>-0.39550780000000002</c:v>
                </c:pt>
                <c:pt idx="6596">
                  <c:v>-8.9868159999999992</c:v>
                </c:pt>
                <c:pt idx="6597">
                  <c:v>-8.5421300989999995</c:v>
                </c:pt>
                <c:pt idx="6598">
                  <c:v>-7.2290039999999998</c:v>
                </c:pt>
                <c:pt idx="6599">
                  <c:v>75.62988</c:v>
                </c:pt>
                <c:pt idx="6600">
                  <c:v>57.414549999999998</c:v>
                </c:pt>
                <c:pt idx="6601">
                  <c:v>-6.4875246210000004</c:v>
                </c:pt>
                <c:pt idx="6602">
                  <c:v>-8.9648439999999994</c:v>
                </c:pt>
                <c:pt idx="6603">
                  <c:v>3.6914060000000002</c:v>
                </c:pt>
                <c:pt idx="6604">
                  <c:v>5.7348629999999998</c:v>
                </c:pt>
                <c:pt idx="6605">
                  <c:v>-8.9868159999999992</c:v>
                </c:pt>
                <c:pt idx="6606">
                  <c:v>1.4941409999999999</c:v>
                </c:pt>
                <c:pt idx="6607">
                  <c:v>-0.48339840000000001</c:v>
                </c:pt>
                <c:pt idx="6608">
                  <c:v>15.029299999999999</c:v>
                </c:pt>
                <c:pt idx="6609">
                  <c:v>3.6474609999999998</c:v>
                </c:pt>
                <c:pt idx="6610">
                  <c:v>2.0654300000000001</c:v>
                </c:pt>
                <c:pt idx="6611">
                  <c:v>55.568849999999998</c:v>
                </c:pt>
                <c:pt idx="6612">
                  <c:v>-4.2846679999999999</c:v>
                </c:pt>
                <c:pt idx="6613">
                  <c:v>-8.9868159999999992</c:v>
                </c:pt>
                <c:pt idx="6614">
                  <c:v>9.4702149999999996</c:v>
                </c:pt>
                <c:pt idx="6615">
                  <c:v>2.2155756059999998</c:v>
                </c:pt>
                <c:pt idx="6616">
                  <c:v>-4.8120120000000002</c:v>
                </c:pt>
                <c:pt idx="6617">
                  <c:v>-8.9868159999999992</c:v>
                </c:pt>
                <c:pt idx="6618">
                  <c:v>-5.2626532680000002</c:v>
                </c:pt>
                <c:pt idx="6619">
                  <c:v>-4.649958356</c:v>
                </c:pt>
                <c:pt idx="6620">
                  <c:v>-4.0375751409999996</c:v>
                </c:pt>
                <c:pt idx="6621">
                  <c:v>-3.4248802290000002</c:v>
                </c:pt>
                <c:pt idx="6622">
                  <c:v>-2.7782159759999998</c:v>
                </c:pt>
                <c:pt idx="6623">
                  <c:v>-2.7685550000000001</c:v>
                </c:pt>
                <c:pt idx="6624">
                  <c:v>-1.308342594</c:v>
                </c:pt>
                <c:pt idx="6625">
                  <c:v>0.19775390000000001</c:v>
                </c:pt>
                <c:pt idx="6626">
                  <c:v>-0.8129883</c:v>
                </c:pt>
                <c:pt idx="6627">
                  <c:v>4.8120120000000002</c:v>
                </c:pt>
                <c:pt idx="6628">
                  <c:v>-8.9868159999999992</c:v>
                </c:pt>
                <c:pt idx="6629">
                  <c:v>-0.28564450000000002</c:v>
                </c:pt>
                <c:pt idx="6630">
                  <c:v>-0.25928391200000001</c:v>
                </c:pt>
                <c:pt idx="6631">
                  <c:v>-0.2416992</c:v>
                </c:pt>
                <c:pt idx="6632">
                  <c:v>-8.9648439999999994</c:v>
                </c:pt>
                <c:pt idx="6633">
                  <c:v>5.0537109999999998</c:v>
                </c:pt>
                <c:pt idx="6634">
                  <c:v>0.90087890000000004</c:v>
                </c:pt>
                <c:pt idx="6635">
                  <c:v>1.7384154190000001</c:v>
                </c:pt>
                <c:pt idx="6636">
                  <c:v>2.011843201</c:v>
                </c:pt>
                <c:pt idx="6637">
                  <c:v>2.2702262470000001</c:v>
                </c:pt>
                <c:pt idx="6638">
                  <c:v>2.5566284050000001</c:v>
                </c:pt>
                <c:pt idx="6639">
                  <c:v>2.834473</c:v>
                </c:pt>
                <c:pt idx="6640">
                  <c:v>-3.9883828769999998</c:v>
                </c:pt>
                <c:pt idx="6641">
                  <c:v>-4.2480228630000001</c:v>
                </c:pt>
                <c:pt idx="6642">
                  <c:v>-4.4933767270000002</c:v>
                </c:pt>
                <c:pt idx="6643">
                  <c:v>-4.7653367830000004</c:v>
                </c:pt>
                <c:pt idx="6644">
                  <c:v>-5.3173830000000004</c:v>
                </c:pt>
                <c:pt idx="6645">
                  <c:v>-4.1748050000000001</c:v>
                </c:pt>
                <c:pt idx="6646">
                  <c:v>-8.9868159999999992</c:v>
                </c:pt>
                <c:pt idx="6647">
                  <c:v>1.73584</c:v>
                </c:pt>
                <c:pt idx="6648">
                  <c:v>-9.0087890000000002</c:v>
                </c:pt>
                <c:pt idx="6649">
                  <c:v>21.379390000000001</c:v>
                </c:pt>
                <c:pt idx="6650">
                  <c:v>-8.8330079999999995</c:v>
                </c:pt>
                <c:pt idx="6651">
                  <c:v>41.132809999999999</c:v>
                </c:pt>
                <c:pt idx="6652">
                  <c:v>97.331619970000006</c:v>
                </c:pt>
                <c:pt idx="6653">
                  <c:v>98.217770000000002</c:v>
                </c:pt>
                <c:pt idx="6654">
                  <c:v>85.55009767</c:v>
                </c:pt>
                <c:pt idx="6655">
                  <c:v>85.451660000000004</c:v>
                </c:pt>
                <c:pt idx="6656">
                  <c:v>38.408200000000001</c:v>
                </c:pt>
                <c:pt idx="6657">
                  <c:v>19.81934</c:v>
                </c:pt>
                <c:pt idx="6658">
                  <c:v>3.911133</c:v>
                </c:pt>
                <c:pt idx="6659">
                  <c:v>-8.9648439999999994</c:v>
                </c:pt>
                <c:pt idx="6660">
                  <c:v>-6.5698239999999997</c:v>
                </c:pt>
                <c:pt idx="6661">
                  <c:v>5.5810550000000001</c:v>
                </c:pt>
                <c:pt idx="6662">
                  <c:v>1.4716163739999999</c:v>
                </c:pt>
                <c:pt idx="6663">
                  <c:v>0.39550780000000002</c:v>
                </c:pt>
                <c:pt idx="6664">
                  <c:v>-8.6572270000000007</c:v>
                </c:pt>
                <c:pt idx="6665">
                  <c:v>-8.4553816249999993</c:v>
                </c:pt>
                <c:pt idx="6666">
                  <c:v>-8.2551534419999992</c:v>
                </c:pt>
                <c:pt idx="6667">
                  <c:v>-7.6464840000000001</c:v>
                </c:pt>
                <c:pt idx="6668">
                  <c:v>-2.6367189999999998</c:v>
                </c:pt>
                <c:pt idx="6669">
                  <c:v>-8.5473630000000007</c:v>
                </c:pt>
                <c:pt idx="6670">
                  <c:v>15.029299999999999</c:v>
                </c:pt>
                <c:pt idx="6671">
                  <c:v>20.96191</c:v>
                </c:pt>
                <c:pt idx="6672">
                  <c:v>4.249267229</c:v>
                </c:pt>
                <c:pt idx="6673">
                  <c:v>4.1528320000000001</c:v>
                </c:pt>
                <c:pt idx="6674">
                  <c:v>2.618239634</c:v>
                </c:pt>
                <c:pt idx="6675">
                  <c:v>1.022263522</c:v>
                </c:pt>
                <c:pt idx="6676">
                  <c:v>-0.54931640000000004</c:v>
                </c:pt>
                <c:pt idx="6677">
                  <c:v>-0.29191303600000001</c:v>
                </c:pt>
                <c:pt idx="6678">
                  <c:v>-0.2416992</c:v>
                </c:pt>
                <c:pt idx="6679">
                  <c:v>-2.48291</c:v>
                </c:pt>
                <c:pt idx="6680">
                  <c:v>-8.9868159999999992</c:v>
                </c:pt>
                <c:pt idx="6681">
                  <c:v>11.25</c:v>
                </c:pt>
                <c:pt idx="6682">
                  <c:v>43.330080000000002</c:v>
                </c:pt>
                <c:pt idx="6683">
                  <c:v>37.705080000000002</c:v>
                </c:pt>
                <c:pt idx="6684">
                  <c:v>15.358890000000001</c:v>
                </c:pt>
                <c:pt idx="6685">
                  <c:v>46.032710000000002</c:v>
                </c:pt>
                <c:pt idx="6686">
                  <c:v>126.05710000000001</c:v>
                </c:pt>
                <c:pt idx="6687">
                  <c:v>100.459</c:v>
                </c:pt>
                <c:pt idx="6688">
                  <c:v>67.80762</c:v>
                </c:pt>
                <c:pt idx="6689">
                  <c:v>43.264159999999997</c:v>
                </c:pt>
                <c:pt idx="6690">
                  <c:v>27.290040000000001</c:v>
                </c:pt>
                <c:pt idx="6691">
                  <c:v>13.798830000000001</c:v>
                </c:pt>
                <c:pt idx="6692">
                  <c:v>0.54931640000000004</c:v>
                </c:pt>
                <c:pt idx="6693">
                  <c:v>0.9448242</c:v>
                </c:pt>
                <c:pt idx="6694">
                  <c:v>3.8536002999999999E-2</c:v>
                </c:pt>
                <c:pt idx="6695">
                  <c:v>-3.0478263000000001</c:v>
                </c:pt>
                <c:pt idx="6696">
                  <c:v>-3.2378485979999998</c:v>
                </c:pt>
                <c:pt idx="6697">
                  <c:v>-3.4165968609999999</c:v>
                </c:pt>
                <c:pt idx="6698">
                  <c:v>-3.599527411</c:v>
                </c:pt>
                <c:pt idx="6699">
                  <c:v>-3.7810941769999999</c:v>
                </c:pt>
                <c:pt idx="6700">
                  <c:v>-3.9641156620000002</c:v>
                </c:pt>
                <c:pt idx="6701">
                  <c:v>-4.1442277089999999</c:v>
                </c:pt>
                <c:pt idx="6702">
                  <c:v>-4.3286129999999998</c:v>
                </c:pt>
                <c:pt idx="6703">
                  <c:v>6.5917970000000006E-2</c:v>
                </c:pt>
                <c:pt idx="6704">
                  <c:v>1.6699219999999999</c:v>
                </c:pt>
                <c:pt idx="6705">
                  <c:v>63.071077150000001</c:v>
                </c:pt>
                <c:pt idx="6706">
                  <c:v>63.193359999999998</c:v>
                </c:pt>
                <c:pt idx="6707">
                  <c:v>48.867190000000001</c:v>
                </c:pt>
                <c:pt idx="6708">
                  <c:v>25.268550000000001</c:v>
                </c:pt>
                <c:pt idx="6709">
                  <c:v>44.165039999999998</c:v>
                </c:pt>
                <c:pt idx="6710">
                  <c:v>42.143549999999998</c:v>
                </c:pt>
                <c:pt idx="6711">
                  <c:v>29.86084</c:v>
                </c:pt>
                <c:pt idx="6712">
                  <c:v>39.287109999999998</c:v>
                </c:pt>
                <c:pt idx="6713">
                  <c:v>25.00488</c:v>
                </c:pt>
                <c:pt idx="6714">
                  <c:v>3.0322269999999998</c:v>
                </c:pt>
                <c:pt idx="6715">
                  <c:v>-3.8671880000000001</c:v>
                </c:pt>
                <c:pt idx="6716">
                  <c:v>-3.5336200550000001</c:v>
                </c:pt>
                <c:pt idx="6717">
                  <c:v>-3.4497070000000001</c:v>
                </c:pt>
                <c:pt idx="6718">
                  <c:v>18.566890000000001</c:v>
                </c:pt>
                <c:pt idx="6719">
                  <c:v>-8.9868159999999992</c:v>
                </c:pt>
                <c:pt idx="6720">
                  <c:v>-8.1100625120000007</c:v>
                </c:pt>
                <c:pt idx="6721">
                  <c:v>-6.3678535070000004</c:v>
                </c:pt>
                <c:pt idx="6722">
                  <c:v>-5.8007809999999997</c:v>
                </c:pt>
                <c:pt idx="6723">
                  <c:v>0.76904300000000003</c:v>
                </c:pt>
                <c:pt idx="6724">
                  <c:v>2.48291</c:v>
                </c:pt>
                <c:pt idx="6725">
                  <c:v>0.37353520000000001</c:v>
                </c:pt>
                <c:pt idx="6726">
                  <c:v>57.96387</c:v>
                </c:pt>
                <c:pt idx="6727">
                  <c:v>136.32271560000001</c:v>
                </c:pt>
                <c:pt idx="6728">
                  <c:v>136.9556</c:v>
                </c:pt>
                <c:pt idx="6729">
                  <c:v>114.47750000000001</c:v>
                </c:pt>
                <c:pt idx="6730">
                  <c:v>77.607420000000005</c:v>
                </c:pt>
                <c:pt idx="6731">
                  <c:v>49.174799999999998</c:v>
                </c:pt>
                <c:pt idx="6732">
                  <c:v>32.980960000000003</c:v>
                </c:pt>
                <c:pt idx="6733">
                  <c:v>16.787109999999998</c:v>
                </c:pt>
                <c:pt idx="6734">
                  <c:v>1.40625</c:v>
                </c:pt>
                <c:pt idx="6735">
                  <c:v>1.230469</c:v>
                </c:pt>
                <c:pt idx="6736">
                  <c:v>39.265140000000002</c:v>
                </c:pt>
                <c:pt idx="6737">
                  <c:v>49.438479999999998</c:v>
                </c:pt>
                <c:pt idx="6738">
                  <c:v>15.84229</c:v>
                </c:pt>
                <c:pt idx="6739">
                  <c:v>4.3725589999999999</c:v>
                </c:pt>
                <c:pt idx="6740">
                  <c:v>-8.8330079999999995</c:v>
                </c:pt>
                <c:pt idx="6741">
                  <c:v>4.1308590000000001</c:v>
                </c:pt>
                <c:pt idx="6742">
                  <c:v>0.15380859999999999</c:v>
                </c:pt>
                <c:pt idx="6743">
                  <c:v>-8.9868159999999992</c:v>
                </c:pt>
                <c:pt idx="6744">
                  <c:v>83.320310000000006</c:v>
                </c:pt>
                <c:pt idx="6745">
                  <c:v>154.1602</c:v>
                </c:pt>
                <c:pt idx="6746">
                  <c:v>137.98830000000001</c:v>
                </c:pt>
                <c:pt idx="6747">
                  <c:v>93.999020000000002</c:v>
                </c:pt>
                <c:pt idx="6748">
                  <c:v>38.979489999999998</c:v>
                </c:pt>
                <c:pt idx="6749">
                  <c:v>15.79834</c:v>
                </c:pt>
                <c:pt idx="6750">
                  <c:v>0.61523439999999996</c:v>
                </c:pt>
                <c:pt idx="6751">
                  <c:v>-0.47820703599999997</c:v>
                </c:pt>
                <c:pt idx="6752">
                  <c:v>-0.92285159999999999</c:v>
                </c:pt>
                <c:pt idx="6753">
                  <c:v>3.3398439999999998</c:v>
                </c:pt>
                <c:pt idx="6754">
                  <c:v>-3.3178709999999998</c:v>
                </c:pt>
                <c:pt idx="6755">
                  <c:v>-3.1729539400000002</c:v>
                </c:pt>
                <c:pt idx="6756">
                  <c:v>-3.124526023</c:v>
                </c:pt>
                <c:pt idx="6757">
                  <c:v>-3.0734334720000001</c:v>
                </c:pt>
                <c:pt idx="6758">
                  <c:v>-2.8793062100000002</c:v>
                </c:pt>
                <c:pt idx="6759">
                  <c:v>-2.831244989</c:v>
                </c:pt>
                <c:pt idx="6760">
                  <c:v>-2.6356265109999999</c:v>
                </c:pt>
                <c:pt idx="6761">
                  <c:v>-2.5868074550000002</c:v>
                </c:pt>
                <c:pt idx="6762">
                  <c:v>-2.4392257599999998</c:v>
                </c:pt>
                <c:pt idx="6763">
                  <c:v>-2.391164533</c:v>
                </c:pt>
                <c:pt idx="6764">
                  <c:v>-2.2458563329999999</c:v>
                </c:pt>
                <c:pt idx="6765">
                  <c:v>-2.1459447250000001</c:v>
                </c:pt>
                <c:pt idx="6766">
                  <c:v>-2.145553585</c:v>
                </c:pt>
                <c:pt idx="6767">
                  <c:v>-2.0978834979999998</c:v>
                </c:pt>
                <c:pt idx="6768">
                  <c:v>-2.0002698300000001</c:v>
                </c:pt>
                <c:pt idx="6769">
                  <c:v>-1.999512</c:v>
                </c:pt>
                <c:pt idx="6770">
                  <c:v>-2.0330098410000002</c:v>
                </c:pt>
                <c:pt idx="6771">
                  <c:v>-2.1250776309999999</c:v>
                </c:pt>
                <c:pt idx="6772">
                  <c:v>-2.1335661500000001</c:v>
                </c:pt>
                <c:pt idx="6773">
                  <c:v>-2.1752929999999999</c:v>
                </c:pt>
                <c:pt idx="6774">
                  <c:v>35.96860599</c:v>
                </c:pt>
                <c:pt idx="6775">
                  <c:v>73.240423210000003</c:v>
                </c:pt>
                <c:pt idx="6776">
                  <c:v>73.828130000000002</c:v>
                </c:pt>
                <c:pt idx="6777">
                  <c:v>33.156739999999999</c:v>
                </c:pt>
                <c:pt idx="6778">
                  <c:v>24.075681450000001</c:v>
                </c:pt>
                <c:pt idx="6779">
                  <c:v>15.205080000000001</c:v>
                </c:pt>
                <c:pt idx="6780">
                  <c:v>1.296387</c:v>
                </c:pt>
                <c:pt idx="6781">
                  <c:v>2.8125</c:v>
                </c:pt>
                <c:pt idx="6782">
                  <c:v>-0.63720699999999997</c:v>
                </c:pt>
                <c:pt idx="6783">
                  <c:v>6.5698239999999997</c:v>
                </c:pt>
                <c:pt idx="6784">
                  <c:v>3.0848879409999999</c:v>
                </c:pt>
                <c:pt idx="6785">
                  <c:v>-0.5932617</c:v>
                </c:pt>
                <c:pt idx="6786">
                  <c:v>0.43945309999999999</c:v>
                </c:pt>
                <c:pt idx="6787">
                  <c:v>30.695799999999998</c:v>
                </c:pt>
                <c:pt idx="6788">
                  <c:v>10.17334</c:v>
                </c:pt>
                <c:pt idx="6789">
                  <c:v>1.1425780000000001</c:v>
                </c:pt>
                <c:pt idx="6790">
                  <c:v>-2.48291</c:v>
                </c:pt>
                <c:pt idx="6791">
                  <c:v>-0.61523439999999996</c:v>
                </c:pt>
                <c:pt idx="6792">
                  <c:v>-8.9868159999999992</c:v>
                </c:pt>
                <c:pt idx="6793">
                  <c:v>-6.4469048259999999</c:v>
                </c:pt>
                <c:pt idx="6794">
                  <c:v>-4.8894748750000003</c:v>
                </c:pt>
                <c:pt idx="6795">
                  <c:v>-4.3864588219999998</c:v>
                </c:pt>
                <c:pt idx="6796">
                  <c:v>1.2524409999999999</c:v>
                </c:pt>
                <c:pt idx="6797">
                  <c:v>-0.2416992</c:v>
                </c:pt>
                <c:pt idx="6798">
                  <c:v>4.3725589999999999</c:v>
                </c:pt>
                <c:pt idx="6799">
                  <c:v>-1.186523</c:v>
                </c:pt>
                <c:pt idx="6800">
                  <c:v>-8.9868159999999992</c:v>
                </c:pt>
                <c:pt idx="6801">
                  <c:v>0.1757813</c:v>
                </c:pt>
                <c:pt idx="6802">
                  <c:v>-2.6806640000000002</c:v>
                </c:pt>
                <c:pt idx="6803">
                  <c:v>2.7685550000000001</c:v>
                </c:pt>
                <c:pt idx="6804">
                  <c:v>2.175693264</c:v>
                </c:pt>
                <c:pt idx="6805">
                  <c:v>2.1279315959999998</c:v>
                </c:pt>
                <c:pt idx="6806">
                  <c:v>2.0826379899999998</c:v>
                </c:pt>
                <c:pt idx="6807">
                  <c:v>2.039858159</c:v>
                </c:pt>
                <c:pt idx="6808">
                  <c:v>1.9924621300000001</c:v>
                </c:pt>
                <c:pt idx="6809">
                  <c:v>1.9471685240000001</c:v>
                </c:pt>
                <c:pt idx="6810">
                  <c:v>1.8534276759999999</c:v>
                </c:pt>
                <c:pt idx="6811">
                  <c:v>1.8099165639999999</c:v>
                </c:pt>
                <c:pt idx="6812">
                  <c:v>1.625977</c:v>
                </c:pt>
                <c:pt idx="6813">
                  <c:v>6.4819339999999999</c:v>
                </c:pt>
                <c:pt idx="6814">
                  <c:v>-8.2177729999999993</c:v>
                </c:pt>
                <c:pt idx="6815">
                  <c:v>-5.8553735409999996</c:v>
                </c:pt>
                <c:pt idx="6816">
                  <c:v>-4.6882391849999996</c:v>
                </c:pt>
                <c:pt idx="6817">
                  <c:v>-3.4277340000000001</c:v>
                </c:pt>
                <c:pt idx="6818">
                  <c:v>-3.37145115</c:v>
                </c:pt>
                <c:pt idx="6819">
                  <c:v>-3.3436492900000001</c:v>
                </c:pt>
                <c:pt idx="6820">
                  <c:v>-3.2864750800000002</c:v>
                </c:pt>
                <c:pt idx="6821">
                  <c:v>-3.2299799999999999</c:v>
                </c:pt>
                <c:pt idx="6822">
                  <c:v>1.7578130000000001</c:v>
                </c:pt>
                <c:pt idx="6823">
                  <c:v>-8.9868159999999992</c:v>
                </c:pt>
                <c:pt idx="6824">
                  <c:v>15.44678</c:v>
                </c:pt>
                <c:pt idx="6825">
                  <c:v>21.796880000000002</c:v>
                </c:pt>
                <c:pt idx="6826">
                  <c:v>17.076333730000002</c:v>
                </c:pt>
                <c:pt idx="6827">
                  <c:v>12.53461356</c:v>
                </c:pt>
                <c:pt idx="6828">
                  <c:v>8.0639649999999996</c:v>
                </c:pt>
                <c:pt idx="6829">
                  <c:v>6.9875723199999999</c:v>
                </c:pt>
                <c:pt idx="6830">
                  <c:v>5.9357888909999996</c:v>
                </c:pt>
                <c:pt idx="6831">
                  <c:v>3.7573240000000001</c:v>
                </c:pt>
                <c:pt idx="6832">
                  <c:v>31.84042505</c:v>
                </c:pt>
                <c:pt idx="6833">
                  <c:v>60.380859999999998</c:v>
                </c:pt>
                <c:pt idx="6834">
                  <c:v>-6.7016600000000004</c:v>
                </c:pt>
                <c:pt idx="6835">
                  <c:v>-1.032715</c:v>
                </c:pt>
                <c:pt idx="6836">
                  <c:v>-8.9208979999999993</c:v>
                </c:pt>
                <c:pt idx="6837">
                  <c:v>1.384277</c:v>
                </c:pt>
                <c:pt idx="6838">
                  <c:v>3.515625</c:v>
                </c:pt>
                <c:pt idx="6839">
                  <c:v>8.5913090000000008</c:v>
                </c:pt>
                <c:pt idx="6840">
                  <c:v>51.56982</c:v>
                </c:pt>
                <c:pt idx="6841">
                  <c:v>48.999020000000002</c:v>
                </c:pt>
                <c:pt idx="6842">
                  <c:v>15.79834</c:v>
                </c:pt>
                <c:pt idx="6843">
                  <c:v>3.1640630000000001</c:v>
                </c:pt>
                <c:pt idx="6844">
                  <c:v>-7.0973193000000004E-2</c:v>
                </c:pt>
                <c:pt idx="6845">
                  <c:v>-8.7890629999999997E-2</c:v>
                </c:pt>
                <c:pt idx="6846">
                  <c:v>13.337400000000001</c:v>
                </c:pt>
                <c:pt idx="6847">
                  <c:v>-8.9868159999999992</c:v>
                </c:pt>
                <c:pt idx="6848">
                  <c:v>-1.010742</c:v>
                </c:pt>
                <c:pt idx="6849">
                  <c:v>-0.91745005199999996</c:v>
                </c:pt>
                <c:pt idx="6850">
                  <c:v>-0.63864465299999995</c:v>
                </c:pt>
                <c:pt idx="6851">
                  <c:v>-0.61523439999999996</c:v>
                </c:pt>
                <c:pt idx="6852">
                  <c:v>-0.64102382099999999</c:v>
                </c:pt>
                <c:pt idx="6853">
                  <c:v>-0.66582423300000004</c:v>
                </c:pt>
                <c:pt idx="6854">
                  <c:v>-0.79101560000000004</c:v>
                </c:pt>
                <c:pt idx="6855">
                  <c:v>-0.87969893300000002</c:v>
                </c:pt>
                <c:pt idx="6856">
                  <c:v>-0.90148215700000001</c:v>
                </c:pt>
                <c:pt idx="6857">
                  <c:v>-1.010585201</c:v>
                </c:pt>
                <c:pt idx="6858">
                  <c:v>-1.0323684230000001</c:v>
                </c:pt>
                <c:pt idx="6859">
                  <c:v>-1.0761108029999999</c:v>
                </c:pt>
                <c:pt idx="6860">
                  <c:v>-1.1416364080000001</c:v>
                </c:pt>
                <c:pt idx="6861">
                  <c:v>-1.1644532620000001</c:v>
                </c:pt>
                <c:pt idx="6862">
                  <c:v>-1.186412421</c:v>
                </c:pt>
                <c:pt idx="6863">
                  <c:v>-1.2521139610000001</c:v>
                </c:pt>
                <c:pt idx="6864">
                  <c:v>-1.2744139999999999</c:v>
                </c:pt>
                <c:pt idx="6865">
                  <c:v>-8.6352539999999998</c:v>
                </c:pt>
                <c:pt idx="6866">
                  <c:v>1.3623050000000001</c:v>
                </c:pt>
                <c:pt idx="6867">
                  <c:v>-4.921875</c:v>
                </c:pt>
                <c:pt idx="6868">
                  <c:v>-0.68115230000000004</c:v>
                </c:pt>
                <c:pt idx="6869">
                  <c:v>17.781317699999999</c:v>
                </c:pt>
                <c:pt idx="6870">
                  <c:v>27.158200000000001</c:v>
                </c:pt>
                <c:pt idx="6871">
                  <c:v>-8.8110350000000004</c:v>
                </c:pt>
                <c:pt idx="6872">
                  <c:v>-3.6914060000000002</c:v>
                </c:pt>
                <c:pt idx="6873">
                  <c:v>-1.555497651</c:v>
                </c:pt>
                <c:pt idx="6874">
                  <c:v>-0.48339840000000001</c:v>
                </c:pt>
                <c:pt idx="6875">
                  <c:v>-4.3505859999999998</c:v>
                </c:pt>
                <c:pt idx="6876">
                  <c:v>1.2744139999999999</c:v>
                </c:pt>
                <c:pt idx="6877">
                  <c:v>-0.95425249599999995</c:v>
                </c:pt>
                <c:pt idx="6878">
                  <c:v>-3.3826746110000001</c:v>
                </c:pt>
                <c:pt idx="6879">
                  <c:v>-5.6647640729999997</c:v>
                </c:pt>
                <c:pt idx="6880">
                  <c:v>-8.0200200000000006</c:v>
                </c:pt>
                <c:pt idx="6881">
                  <c:v>-6.4842411049999997</c:v>
                </c:pt>
                <c:pt idx="6882">
                  <c:v>-4.924621771</c:v>
                </c:pt>
                <c:pt idx="6883">
                  <c:v>-0.32958979999999999</c:v>
                </c:pt>
                <c:pt idx="6884">
                  <c:v>-0.30906440899999998</c:v>
                </c:pt>
                <c:pt idx="6885">
                  <c:v>-0.30761719999999998</c:v>
                </c:pt>
                <c:pt idx="6886">
                  <c:v>-5.3436551229999996</c:v>
                </c:pt>
                <c:pt idx="6887">
                  <c:v>-7.8222659999999999</c:v>
                </c:pt>
                <c:pt idx="6888">
                  <c:v>1.5600590000000001</c:v>
                </c:pt>
                <c:pt idx="6889">
                  <c:v>1.2803464870000001</c:v>
                </c:pt>
                <c:pt idx="6890">
                  <c:v>0.99514942799999995</c:v>
                </c:pt>
                <c:pt idx="6891">
                  <c:v>0.71656197200000005</c:v>
                </c:pt>
                <c:pt idx="6892">
                  <c:v>0.57614320399999996</c:v>
                </c:pt>
                <c:pt idx="6893">
                  <c:v>0.15931673399999999</c:v>
                </c:pt>
                <c:pt idx="6894">
                  <c:v>-0.26299430000000001</c:v>
                </c:pt>
                <c:pt idx="6895">
                  <c:v>-0.40453810800000001</c:v>
                </c:pt>
                <c:pt idx="6896">
                  <c:v>-0.54383183599999996</c:v>
                </c:pt>
                <c:pt idx="6897">
                  <c:v>-0.54931640000000004</c:v>
                </c:pt>
                <c:pt idx="6898">
                  <c:v>2.536128E-2</c:v>
                </c:pt>
                <c:pt idx="6899">
                  <c:v>0.32729100900000002</c:v>
                </c:pt>
                <c:pt idx="6900">
                  <c:v>0.611307194</c:v>
                </c:pt>
                <c:pt idx="6901">
                  <c:v>0.88391069200000005</c:v>
                </c:pt>
                <c:pt idx="6902">
                  <c:v>1.4698565720000001</c:v>
                </c:pt>
                <c:pt idx="6903">
                  <c:v>1.4721679999999999</c:v>
                </c:pt>
                <c:pt idx="6904">
                  <c:v>34.138348440000001</c:v>
                </c:pt>
                <c:pt idx="6905">
                  <c:v>65.324709999999996</c:v>
                </c:pt>
                <c:pt idx="6906">
                  <c:v>130.166</c:v>
                </c:pt>
                <c:pt idx="6907">
                  <c:v>112.87350000000001</c:v>
                </c:pt>
                <c:pt idx="6908">
                  <c:v>40.737299999999998</c:v>
                </c:pt>
                <c:pt idx="6909">
                  <c:v>78.486329999999995</c:v>
                </c:pt>
                <c:pt idx="6910">
                  <c:v>52.822270000000003</c:v>
                </c:pt>
                <c:pt idx="6911">
                  <c:v>24.873049999999999</c:v>
                </c:pt>
                <c:pt idx="6912">
                  <c:v>8.1958009999999994</c:v>
                </c:pt>
                <c:pt idx="6913">
                  <c:v>4.7900390000000002</c:v>
                </c:pt>
                <c:pt idx="6914">
                  <c:v>-8.9868159999999992</c:v>
                </c:pt>
                <c:pt idx="6915">
                  <c:v>-1.1645509999999999</c:v>
                </c:pt>
                <c:pt idx="6916">
                  <c:v>-8.9868159999999992</c:v>
                </c:pt>
                <c:pt idx="6917">
                  <c:v>-7.1630980959999997</c:v>
                </c:pt>
                <c:pt idx="6918">
                  <c:v>-1.752966483</c:v>
                </c:pt>
                <c:pt idx="6919">
                  <c:v>-1.1496925629999999</c:v>
                </c:pt>
                <c:pt idx="6920">
                  <c:v>-0.53705388099999996</c:v>
                </c:pt>
                <c:pt idx="6921">
                  <c:v>6.5917970000000006E-2</c:v>
                </c:pt>
                <c:pt idx="6922">
                  <c:v>-0.1757813</c:v>
                </c:pt>
                <c:pt idx="6923">
                  <c:v>2.3264078289999999</c:v>
                </c:pt>
                <c:pt idx="6924">
                  <c:v>2.3291019999999998</c:v>
                </c:pt>
                <c:pt idx="6925">
                  <c:v>2.443684465</c:v>
                </c:pt>
                <c:pt idx="6926">
                  <c:v>2.5628502179999999</c:v>
                </c:pt>
                <c:pt idx="6927">
                  <c:v>2.6783728490000001</c:v>
                </c:pt>
                <c:pt idx="6928">
                  <c:v>3.0322269999999998</c:v>
                </c:pt>
                <c:pt idx="6929">
                  <c:v>-2.6147459999999998</c:v>
                </c:pt>
                <c:pt idx="6930">
                  <c:v>42.626950000000001</c:v>
                </c:pt>
                <c:pt idx="6931">
                  <c:v>58.293460000000003</c:v>
                </c:pt>
                <c:pt idx="6932">
                  <c:v>-8.6791990000000006</c:v>
                </c:pt>
                <c:pt idx="6933">
                  <c:v>46.56006</c:v>
                </c:pt>
                <c:pt idx="6934">
                  <c:v>88.374020000000002</c:v>
                </c:pt>
                <c:pt idx="6935">
                  <c:v>74.157709999999994</c:v>
                </c:pt>
                <c:pt idx="6936">
                  <c:v>18.89648</c:v>
                </c:pt>
                <c:pt idx="6937">
                  <c:v>21.906739999999999</c:v>
                </c:pt>
                <c:pt idx="6938">
                  <c:v>-5.603027</c:v>
                </c:pt>
                <c:pt idx="6939">
                  <c:v>-6.6796879999999996</c:v>
                </c:pt>
                <c:pt idx="6940">
                  <c:v>15.358890000000001</c:v>
                </c:pt>
                <c:pt idx="6941">
                  <c:v>50.712890000000002</c:v>
                </c:pt>
                <c:pt idx="6942">
                  <c:v>21.906739999999999</c:v>
                </c:pt>
                <c:pt idx="6943">
                  <c:v>13.44727</c:v>
                </c:pt>
                <c:pt idx="6944">
                  <c:v>-8.9868159999999992</c:v>
                </c:pt>
                <c:pt idx="6945">
                  <c:v>5.4711910000000001</c:v>
                </c:pt>
                <c:pt idx="6946">
                  <c:v>-8.9868159999999992</c:v>
                </c:pt>
                <c:pt idx="6947">
                  <c:v>-2.4361030129999999</c:v>
                </c:pt>
                <c:pt idx="6948">
                  <c:v>11.03027</c:v>
                </c:pt>
                <c:pt idx="6949">
                  <c:v>-4.7460940000000003</c:v>
                </c:pt>
                <c:pt idx="6950">
                  <c:v>0.85693359999999996</c:v>
                </c:pt>
                <c:pt idx="6951">
                  <c:v>0.90608059299999999</c:v>
                </c:pt>
                <c:pt idx="6952">
                  <c:v>0.922338879</c:v>
                </c:pt>
                <c:pt idx="6953">
                  <c:v>0.92285159999999999</c:v>
                </c:pt>
                <c:pt idx="6954">
                  <c:v>23.670820849999998</c:v>
                </c:pt>
                <c:pt idx="6955">
                  <c:v>23.840330000000002</c:v>
                </c:pt>
                <c:pt idx="6956">
                  <c:v>8.1518549999999994</c:v>
                </c:pt>
                <c:pt idx="6957">
                  <c:v>0</c:v>
                </c:pt>
                <c:pt idx="6958">
                  <c:v>-1.911621</c:v>
                </c:pt>
                <c:pt idx="6959">
                  <c:v>-8.9428710000000002</c:v>
                </c:pt>
                <c:pt idx="6960">
                  <c:v>-7.4485271749999997</c:v>
                </c:pt>
                <c:pt idx="6961">
                  <c:v>-5.9268492689999999</c:v>
                </c:pt>
                <c:pt idx="6962">
                  <c:v>-5.429821295</c:v>
                </c:pt>
                <c:pt idx="6963">
                  <c:v>-2.9223629999999998</c:v>
                </c:pt>
                <c:pt idx="6964">
                  <c:v>17.556149999999999</c:v>
                </c:pt>
                <c:pt idx="6965">
                  <c:v>-8.9868159999999992</c:v>
                </c:pt>
                <c:pt idx="6966">
                  <c:v>-3.9732685929999998</c:v>
                </c:pt>
                <c:pt idx="6967">
                  <c:v>-2.48291</c:v>
                </c:pt>
                <c:pt idx="6968">
                  <c:v>4.196777</c:v>
                </c:pt>
                <c:pt idx="6969">
                  <c:v>-1.2744139999999999</c:v>
                </c:pt>
                <c:pt idx="6970">
                  <c:v>18.808589999999999</c:v>
                </c:pt>
                <c:pt idx="6971">
                  <c:v>0.73399234899999999</c:v>
                </c:pt>
                <c:pt idx="6972">
                  <c:v>0.30761719999999998</c:v>
                </c:pt>
                <c:pt idx="6973">
                  <c:v>1.1206050000000001</c:v>
                </c:pt>
                <c:pt idx="6974">
                  <c:v>-3.7573240000000001</c:v>
                </c:pt>
                <c:pt idx="6975">
                  <c:v>-0.79101560000000004</c:v>
                </c:pt>
                <c:pt idx="6976">
                  <c:v>-0.112933308</c:v>
                </c:pt>
                <c:pt idx="6977">
                  <c:v>-0.1098633</c:v>
                </c:pt>
                <c:pt idx="6978">
                  <c:v>-8.8989259999999994</c:v>
                </c:pt>
                <c:pt idx="6979">
                  <c:v>-4.175209357</c:v>
                </c:pt>
                <c:pt idx="6980">
                  <c:v>-2.513858033</c:v>
                </c:pt>
                <c:pt idx="6981">
                  <c:v>2.2346906830000002</c:v>
                </c:pt>
                <c:pt idx="6982">
                  <c:v>2.2851560000000002</c:v>
                </c:pt>
                <c:pt idx="6983">
                  <c:v>-8.8542867760000004</c:v>
                </c:pt>
                <c:pt idx="6984">
                  <c:v>-8.9428710000000002</c:v>
                </c:pt>
                <c:pt idx="6985">
                  <c:v>-8.3957003859999997</c:v>
                </c:pt>
                <c:pt idx="6986">
                  <c:v>-8.3870017380000004</c:v>
                </c:pt>
                <c:pt idx="6987">
                  <c:v>-3.3398439999999998</c:v>
                </c:pt>
                <c:pt idx="6988">
                  <c:v>-8.6132810000000006</c:v>
                </c:pt>
                <c:pt idx="6989">
                  <c:v>-3.3837890000000002</c:v>
                </c:pt>
                <c:pt idx="6990">
                  <c:v>-5.646973</c:v>
                </c:pt>
                <c:pt idx="6991">
                  <c:v>-0.68115230000000004</c:v>
                </c:pt>
                <c:pt idx="6992">
                  <c:v>-1.582031</c:v>
                </c:pt>
                <c:pt idx="6993">
                  <c:v>2.9003909999999999</c:v>
                </c:pt>
                <c:pt idx="6994">
                  <c:v>17.468260000000001</c:v>
                </c:pt>
                <c:pt idx="6995">
                  <c:v>3.6035159999999999</c:v>
                </c:pt>
                <c:pt idx="6996">
                  <c:v>-4.1748050000000001</c:v>
                </c:pt>
                <c:pt idx="6997">
                  <c:v>-1.867675999999999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62CA-43D1-9B5E-DB9227CD45FB}"/>
            </c:ext>
          </c:extLst>
        </c:ser>
        <c:ser>
          <c:idx val="2"/>
          <c:order val="2"/>
          <c:tx>
            <c:strRef>
              <c:f>'Q6&amp;Q7'!$C$3</c:f>
              <c:strCache>
                <c:ptCount val="1"/>
                <c:pt idx="0">
                  <c:v>ROTATIONAL_PUMP_RPM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val>
            <c:numRef>
              <c:f>'Q6&amp;Q7'!$C$4:$C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-1</c:v>
                </c:pt>
                <c:pt idx="351">
                  <c:v>-1</c:v>
                </c:pt>
                <c:pt idx="352">
                  <c:v>-1</c:v>
                </c:pt>
                <c:pt idx="353">
                  <c:v>-1</c:v>
                </c:pt>
                <c:pt idx="354">
                  <c:v>-1</c:v>
                </c:pt>
                <c:pt idx="355">
                  <c:v>-1</c:v>
                </c:pt>
                <c:pt idx="356">
                  <c:v>-1</c:v>
                </c:pt>
                <c:pt idx="357">
                  <c:v>-1</c:v>
                </c:pt>
                <c:pt idx="358">
                  <c:v>-1</c:v>
                </c:pt>
                <c:pt idx="359">
                  <c:v>-1</c:v>
                </c:pt>
                <c:pt idx="360">
                  <c:v>-1</c:v>
                </c:pt>
                <c:pt idx="361">
                  <c:v>-1</c:v>
                </c:pt>
                <c:pt idx="362">
                  <c:v>-1</c:v>
                </c:pt>
                <c:pt idx="363">
                  <c:v>-1</c:v>
                </c:pt>
                <c:pt idx="364">
                  <c:v>-1</c:v>
                </c:pt>
                <c:pt idx="365">
                  <c:v>-1</c:v>
                </c:pt>
                <c:pt idx="366">
                  <c:v>-1</c:v>
                </c:pt>
                <c:pt idx="367">
                  <c:v>-1</c:v>
                </c:pt>
                <c:pt idx="368">
                  <c:v>-1</c:v>
                </c:pt>
                <c:pt idx="369">
                  <c:v>-1</c:v>
                </c:pt>
                <c:pt idx="370">
                  <c:v>-1</c:v>
                </c:pt>
                <c:pt idx="371">
                  <c:v>-1</c:v>
                </c:pt>
                <c:pt idx="372">
                  <c:v>-1</c:v>
                </c:pt>
                <c:pt idx="373">
                  <c:v>-1</c:v>
                </c:pt>
                <c:pt idx="374">
                  <c:v>-1</c:v>
                </c:pt>
                <c:pt idx="375">
                  <c:v>-1</c:v>
                </c:pt>
                <c:pt idx="376">
                  <c:v>-1</c:v>
                </c:pt>
                <c:pt idx="377">
                  <c:v>-1</c:v>
                </c:pt>
                <c:pt idx="378">
                  <c:v>-1</c:v>
                </c:pt>
                <c:pt idx="379">
                  <c:v>-1</c:v>
                </c:pt>
                <c:pt idx="380">
                  <c:v>-1</c:v>
                </c:pt>
                <c:pt idx="381">
                  <c:v>-1</c:v>
                </c:pt>
                <c:pt idx="382">
                  <c:v>-1</c:v>
                </c:pt>
                <c:pt idx="383">
                  <c:v>-1</c:v>
                </c:pt>
                <c:pt idx="384">
                  <c:v>-1</c:v>
                </c:pt>
                <c:pt idx="385">
                  <c:v>-1</c:v>
                </c:pt>
                <c:pt idx="386">
                  <c:v>-1</c:v>
                </c:pt>
                <c:pt idx="387">
                  <c:v>-1</c:v>
                </c:pt>
                <c:pt idx="388">
                  <c:v>-1</c:v>
                </c:pt>
                <c:pt idx="389">
                  <c:v>-1</c:v>
                </c:pt>
                <c:pt idx="390">
                  <c:v>-1</c:v>
                </c:pt>
                <c:pt idx="391">
                  <c:v>-1</c:v>
                </c:pt>
                <c:pt idx="392">
                  <c:v>-1</c:v>
                </c:pt>
                <c:pt idx="393">
                  <c:v>-1</c:v>
                </c:pt>
                <c:pt idx="394">
                  <c:v>-1</c:v>
                </c:pt>
                <c:pt idx="395">
                  <c:v>-1</c:v>
                </c:pt>
                <c:pt idx="396">
                  <c:v>-1</c:v>
                </c:pt>
                <c:pt idx="397">
                  <c:v>-1</c:v>
                </c:pt>
                <c:pt idx="398">
                  <c:v>-1</c:v>
                </c:pt>
                <c:pt idx="399">
                  <c:v>-1</c:v>
                </c:pt>
                <c:pt idx="400">
                  <c:v>-1</c:v>
                </c:pt>
                <c:pt idx="401">
                  <c:v>-1</c:v>
                </c:pt>
                <c:pt idx="402">
                  <c:v>-1</c:v>
                </c:pt>
                <c:pt idx="403">
                  <c:v>-1</c:v>
                </c:pt>
                <c:pt idx="404">
                  <c:v>-1</c:v>
                </c:pt>
                <c:pt idx="405">
                  <c:v>-1</c:v>
                </c:pt>
                <c:pt idx="406">
                  <c:v>-1</c:v>
                </c:pt>
                <c:pt idx="407">
                  <c:v>-1</c:v>
                </c:pt>
                <c:pt idx="408">
                  <c:v>-1</c:v>
                </c:pt>
                <c:pt idx="409">
                  <c:v>-1</c:v>
                </c:pt>
                <c:pt idx="410">
                  <c:v>-1</c:v>
                </c:pt>
                <c:pt idx="411">
                  <c:v>-1</c:v>
                </c:pt>
                <c:pt idx="412">
                  <c:v>-1</c:v>
                </c:pt>
                <c:pt idx="413">
                  <c:v>-1</c:v>
                </c:pt>
                <c:pt idx="414">
                  <c:v>-1</c:v>
                </c:pt>
                <c:pt idx="415">
                  <c:v>-1</c:v>
                </c:pt>
                <c:pt idx="416">
                  <c:v>-1</c:v>
                </c:pt>
                <c:pt idx="417">
                  <c:v>-1</c:v>
                </c:pt>
                <c:pt idx="418">
                  <c:v>-1</c:v>
                </c:pt>
                <c:pt idx="419">
                  <c:v>-1</c:v>
                </c:pt>
                <c:pt idx="420">
                  <c:v>-1</c:v>
                </c:pt>
                <c:pt idx="421">
                  <c:v>-1</c:v>
                </c:pt>
                <c:pt idx="422">
                  <c:v>-1</c:v>
                </c:pt>
                <c:pt idx="423">
                  <c:v>-1</c:v>
                </c:pt>
                <c:pt idx="424">
                  <c:v>-1</c:v>
                </c:pt>
                <c:pt idx="425">
                  <c:v>-1</c:v>
                </c:pt>
                <c:pt idx="426">
                  <c:v>-1</c:v>
                </c:pt>
                <c:pt idx="427">
                  <c:v>-1</c:v>
                </c:pt>
                <c:pt idx="428">
                  <c:v>-1</c:v>
                </c:pt>
                <c:pt idx="429">
                  <c:v>-1</c:v>
                </c:pt>
                <c:pt idx="430">
                  <c:v>-1</c:v>
                </c:pt>
                <c:pt idx="431">
                  <c:v>-1</c:v>
                </c:pt>
                <c:pt idx="432">
                  <c:v>-1</c:v>
                </c:pt>
                <c:pt idx="433">
                  <c:v>-1</c:v>
                </c:pt>
                <c:pt idx="434">
                  <c:v>-1</c:v>
                </c:pt>
                <c:pt idx="435">
                  <c:v>-1</c:v>
                </c:pt>
                <c:pt idx="436">
                  <c:v>-1</c:v>
                </c:pt>
                <c:pt idx="437">
                  <c:v>-1</c:v>
                </c:pt>
                <c:pt idx="438">
                  <c:v>-1</c:v>
                </c:pt>
                <c:pt idx="439">
                  <c:v>-1</c:v>
                </c:pt>
                <c:pt idx="440">
                  <c:v>-1</c:v>
                </c:pt>
                <c:pt idx="441">
                  <c:v>-1</c:v>
                </c:pt>
                <c:pt idx="442">
                  <c:v>-1</c:v>
                </c:pt>
                <c:pt idx="443">
                  <c:v>-1</c:v>
                </c:pt>
                <c:pt idx="444">
                  <c:v>-1</c:v>
                </c:pt>
                <c:pt idx="445">
                  <c:v>-1</c:v>
                </c:pt>
                <c:pt idx="446">
                  <c:v>-1</c:v>
                </c:pt>
                <c:pt idx="447">
                  <c:v>-1</c:v>
                </c:pt>
                <c:pt idx="448">
                  <c:v>-1</c:v>
                </c:pt>
                <c:pt idx="449">
                  <c:v>-1</c:v>
                </c:pt>
                <c:pt idx="450">
                  <c:v>-1</c:v>
                </c:pt>
                <c:pt idx="451">
                  <c:v>-1</c:v>
                </c:pt>
                <c:pt idx="452">
                  <c:v>-1</c:v>
                </c:pt>
                <c:pt idx="453">
                  <c:v>-1</c:v>
                </c:pt>
                <c:pt idx="454">
                  <c:v>-1</c:v>
                </c:pt>
                <c:pt idx="455">
                  <c:v>-1</c:v>
                </c:pt>
                <c:pt idx="456">
                  <c:v>-1</c:v>
                </c:pt>
                <c:pt idx="457">
                  <c:v>-1</c:v>
                </c:pt>
                <c:pt idx="458">
                  <c:v>-1</c:v>
                </c:pt>
                <c:pt idx="459">
                  <c:v>-1</c:v>
                </c:pt>
                <c:pt idx="460">
                  <c:v>-1</c:v>
                </c:pt>
                <c:pt idx="461">
                  <c:v>-1</c:v>
                </c:pt>
                <c:pt idx="462">
                  <c:v>-1</c:v>
                </c:pt>
                <c:pt idx="463">
                  <c:v>-1</c:v>
                </c:pt>
                <c:pt idx="464">
                  <c:v>-1</c:v>
                </c:pt>
                <c:pt idx="465">
                  <c:v>-1</c:v>
                </c:pt>
                <c:pt idx="466">
                  <c:v>-1</c:v>
                </c:pt>
                <c:pt idx="467">
                  <c:v>-1</c:v>
                </c:pt>
                <c:pt idx="468">
                  <c:v>-1</c:v>
                </c:pt>
                <c:pt idx="469">
                  <c:v>-1</c:v>
                </c:pt>
                <c:pt idx="470">
                  <c:v>-1</c:v>
                </c:pt>
                <c:pt idx="471">
                  <c:v>-1</c:v>
                </c:pt>
                <c:pt idx="472">
                  <c:v>-1</c:v>
                </c:pt>
                <c:pt idx="473">
                  <c:v>-1</c:v>
                </c:pt>
                <c:pt idx="474">
                  <c:v>-1</c:v>
                </c:pt>
                <c:pt idx="475">
                  <c:v>-1</c:v>
                </c:pt>
                <c:pt idx="476">
                  <c:v>-1</c:v>
                </c:pt>
                <c:pt idx="477">
                  <c:v>-1</c:v>
                </c:pt>
                <c:pt idx="478">
                  <c:v>-1</c:v>
                </c:pt>
                <c:pt idx="479">
                  <c:v>-1</c:v>
                </c:pt>
                <c:pt idx="480">
                  <c:v>-1</c:v>
                </c:pt>
                <c:pt idx="481">
                  <c:v>-1</c:v>
                </c:pt>
                <c:pt idx="482">
                  <c:v>-1</c:v>
                </c:pt>
                <c:pt idx="483">
                  <c:v>-1</c:v>
                </c:pt>
                <c:pt idx="484">
                  <c:v>-1</c:v>
                </c:pt>
                <c:pt idx="485">
                  <c:v>-1</c:v>
                </c:pt>
                <c:pt idx="486">
                  <c:v>-1</c:v>
                </c:pt>
                <c:pt idx="487">
                  <c:v>-1</c:v>
                </c:pt>
                <c:pt idx="488">
                  <c:v>-1</c:v>
                </c:pt>
                <c:pt idx="489">
                  <c:v>-1</c:v>
                </c:pt>
                <c:pt idx="490">
                  <c:v>-1</c:v>
                </c:pt>
                <c:pt idx="491">
                  <c:v>-1</c:v>
                </c:pt>
                <c:pt idx="492">
                  <c:v>-1</c:v>
                </c:pt>
                <c:pt idx="493">
                  <c:v>-1</c:v>
                </c:pt>
                <c:pt idx="494">
                  <c:v>-1</c:v>
                </c:pt>
                <c:pt idx="495">
                  <c:v>-1</c:v>
                </c:pt>
                <c:pt idx="496">
                  <c:v>-1</c:v>
                </c:pt>
                <c:pt idx="497">
                  <c:v>-1</c:v>
                </c:pt>
                <c:pt idx="498">
                  <c:v>-1</c:v>
                </c:pt>
                <c:pt idx="499">
                  <c:v>-1</c:v>
                </c:pt>
                <c:pt idx="500">
                  <c:v>-1</c:v>
                </c:pt>
                <c:pt idx="501">
                  <c:v>-1</c:v>
                </c:pt>
                <c:pt idx="502">
                  <c:v>-1</c:v>
                </c:pt>
                <c:pt idx="503">
                  <c:v>-1</c:v>
                </c:pt>
                <c:pt idx="504">
                  <c:v>-1</c:v>
                </c:pt>
                <c:pt idx="505">
                  <c:v>-1</c:v>
                </c:pt>
                <c:pt idx="506">
                  <c:v>-1</c:v>
                </c:pt>
                <c:pt idx="507">
                  <c:v>-1</c:v>
                </c:pt>
                <c:pt idx="508">
                  <c:v>-1</c:v>
                </c:pt>
                <c:pt idx="509">
                  <c:v>-1</c:v>
                </c:pt>
                <c:pt idx="510">
                  <c:v>-1</c:v>
                </c:pt>
                <c:pt idx="511">
                  <c:v>-1</c:v>
                </c:pt>
                <c:pt idx="512">
                  <c:v>-1</c:v>
                </c:pt>
                <c:pt idx="513">
                  <c:v>-1</c:v>
                </c:pt>
                <c:pt idx="514">
                  <c:v>-1</c:v>
                </c:pt>
                <c:pt idx="515">
                  <c:v>-1</c:v>
                </c:pt>
                <c:pt idx="516">
                  <c:v>-1</c:v>
                </c:pt>
                <c:pt idx="517">
                  <c:v>-1</c:v>
                </c:pt>
                <c:pt idx="518">
                  <c:v>-1</c:v>
                </c:pt>
                <c:pt idx="519">
                  <c:v>-1</c:v>
                </c:pt>
                <c:pt idx="520">
                  <c:v>-1</c:v>
                </c:pt>
                <c:pt idx="521">
                  <c:v>-1</c:v>
                </c:pt>
                <c:pt idx="522">
                  <c:v>-1</c:v>
                </c:pt>
                <c:pt idx="523">
                  <c:v>-1</c:v>
                </c:pt>
                <c:pt idx="524">
                  <c:v>-1</c:v>
                </c:pt>
                <c:pt idx="525">
                  <c:v>-1</c:v>
                </c:pt>
                <c:pt idx="526">
                  <c:v>-1</c:v>
                </c:pt>
                <c:pt idx="527">
                  <c:v>-1</c:v>
                </c:pt>
                <c:pt idx="528">
                  <c:v>-1</c:v>
                </c:pt>
                <c:pt idx="529">
                  <c:v>-1</c:v>
                </c:pt>
                <c:pt idx="530">
                  <c:v>-1</c:v>
                </c:pt>
                <c:pt idx="531">
                  <c:v>-1</c:v>
                </c:pt>
                <c:pt idx="532">
                  <c:v>-1</c:v>
                </c:pt>
                <c:pt idx="533">
                  <c:v>-1</c:v>
                </c:pt>
                <c:pt idx="534">
                  <c:v>-1</c:v>
                </c:pt>
                <c:pt idx="535">
                  <c:v>-1</c:v>
                </c:pt>
                <c:pt idx="536">
                  <c:v>-1</c:v>
                </c:pt>
                <c:pt idx="537">
                  <c:v>-1</c:v>
                </c:pt>
                <c:pt idx="538">
                  <c:v>-1</c:v>
                </c:pt>
                <c:pt idx="539">
                  <c:v>-1</c:v>
                </c:pt>
                <c:pt idx="540">
                  <c:v>-1</c:v>
                </c:pt>
                <c:pt idx="541">
                  <c:v>-1</c:v>
                </c:pt>
                <c:pt idx="542">
                  <c:v>-1</c:v>
                </c:pt>
                <c:pt idx="543">
                  <c:v>-1</c:v>
                </c:pt>
                <c:pt idx="544">
                  <c:v>-1</c:v>
                </c:pt>
                <c:pt idx="545">
                  <c:v>-1</c:v>
                </c:pt>
                <c:pt idx="546">
                  <c:v>-1</c:v>
                </c:pt>
                <c:pt idx="547">
                  <c:v>-1</c:v>
                </c:pt>
                <c:pt idx="548">
                  <c:v>-1</c:v>
                </c:pt>
                <c:pt idx="549">
                  <c:v>-1</c:v>
                </c:pt>
                <c:pt idx="550">
                  <c:v>-1</c:v>
                </c:pt>
                <c:pt idx="551">
                  <c:v>-1</c:v>
                </c:pt>
                <c:pt idx="552">
                  <c:v>-1</c:v>
                </c:pt>
                <c:pt idx="553">
                  <c:v>-1</c:v>
                </c:pt>
                <c:pt idx="554">
                  <c:v>-1</c:v>
                </c:pt>
                <c:pt idx="555">
                  <c:v>-1</c:v>
                </c:pt>
                <c:pt idx="556">
                  <c:v>-1</c:v>
                </c:pt>
                <c:pt idx="557">
                  <c:v>-1</c:v>
                </c:pt>
                <c:pt idx="558">
                  <c:v>-1</c:v>
                </c:pt>
                <c:pt idx="559">
                  <c:v>-1</c:v>
                </c:pt>
                <c:pt idx="560">
                  <c:v>-1</c:v>
                </c:pt>
                <c:pt idx="561">
                  <c:v>-1</c:v>
                </c:pt>
                <c:pt idx="562">
                  <c:v>-1</c:v>
                </c:pt>
                <c:pt idx="563">
                  <c:v>-1</c:v>
                </c:pt>
                <c:pt idx="564">
                  <c:v>-1</c:v>
                </c:pt>
                <c:pt idx="565">
                  <c:v>-1</c:v>
                </c:pt>
                <c:pt idx="566">
                  <c:v>-1</c:v>
                </c:pt>
                <c:pt idx="567">
                  <c:v>-1</c:v>
                </c:pt>
                <c:pt idx="568">
                  <c:v>-1</c:v>
                </c:pt>
                <c:pt idx="569">
                  <c:v>-1</c:v>
                </c:pt>
                <c:pt idx="570">
                  <c:v>-1</c:v>
                </c:pt>
                <c:pt idx="571">
                  <c:v>-1</c:v>
                </c:pt>
                <c:pt idx="572">
                  <c:v>-1</c:v>
                </c:pt>
                <c:pt idx="573">
                  <c:v>-1</c:v>
                </c:pt>
                <c:pt idx="574">
                  <c:v>-1</c:v>
                </c:pt>
                <c:pt idx="575">
                  <c:v>-1</c:v>
                </c:pt>
                <c:pt idx="576">
                  <c:v>-1</c:v>
                </c:pt>
                <c:pt idx="577">
                  <c:v>-1</c:v>
                </c:pt>
                <c:pt idx="578">
                  <c:v>-1</c:v>
                </c:pt>
                <c:pt idx="579">
                  <c:v>-1</c:v>
                </c:pt>
                <c:pt idx="580">
                  <c:v>-1</c:v>
                </c:pt>
                <c:pt idx="581">
                  <c:v>-1</c:v>
                </c:pt>
                <c:pt idx="582">
                  <c:v>-1</c:v>
                </c:pt>
                <c:pt idx="583">
                  <c:v>-1</c:v>
                </c:pt>
                <c:pt idx="584">
                  <c:v>-1</c:v>
                </c:pt>
                <c:pt idx="585">
                  <c:v>-1</c:v>
                </c:pt>
                <c:pt idx="586">
                  <c:v>-1</c:v>
                </c:pt>
                <c:pt idx="587">
                  <c:v>-1</c:v>
                </c:pt>
                <c:pt idx="588">
                  <c:v>-1</c:v>
                </c:pt>
                <c:pt idx="589">
                  <c:v>-1</c:v>
                </c:pt>
                <c:pt idx="590">
                  <c:v>-1</c:v>
                </c:pt>
                <c:pt idx="591">
                  <c:v>-1</c:v>
                </c:pt>
                <c:pt idx="592">
                  <c:v>-1</c:v>
                </c:pt>
                <c:pt idx="593">
                  <c:v>-1</c:v>
                </c:pt>
                <c:pt idx="594">
                  <c:v>-1</c:v>
                </c:pt>
                <c:pt idx="595">
                  <c:v>-1</c:v>
                </c:pt>
                <c:pt idx="596">
                  <c:v>-1</c:v>
                </c:pt>
                <c:pt idx="597">
                  <c:v>-1</c:v>
                </c:pt>
                <c:pt idx="598">
                  <c:v>-1</c:v>
                </c:pt>
                <c:pt idx="599">
                  <c:v>-1</c:v>
                </c:pt>
                <c:pt idx="600">
                  <c:v>-1</c:v>
                </c:pt>
                <c:pt idx="601">
                  <c:v>-1</c:v>
                </c:pt>
                <c:pt idx="602">
                  <c:v>-1</c:v>
                </c:pt>
                <c:pt idx="603">
                  <c:v>-1</c:v>
                </c:pt>
                <c:pt idx="604">
                  <c:v>-1</c:v>
                </c:pt>
                <c:pt idx="605">
                  <c:v>-1</c:v>
                </c:pt>
                <c:pt idx="606">
                  <c:v>-1</c:v>
                </c:pt>
                <c:pt idx="607">
                  <c:v>-1</c:v>
                </c:pt>
                <c:pt idx="608">
                  <c:v>-1</c:v>
                </c:pt>
                <c:pt idx="609">
                  <c:v>-1</c:v>
                </c:pt>
                <c:pt idx="610">
                  <c:v>-1</c:v>
                </c:pt>
                <c:pt idx="611">
                  <c:v>-1</c:v>
                </c:pt>
                <c:pt idx="612">
                  <c:v>-1</c:v>
                </c:pt>
                <c:pt idx="613">
                  <c:v>-1</c:v>
                </c:pt>
                <c:pt idx="614">
                  <c:v>-1</c:v>
                </c:pt>
                <c:pt idx="615">
                  <c:v>-1</c:v>
                </c:pt>
                <c:pt idx="616">
                  <c:v>-1</c:v>
                </c:pt>
                <c:pt idx="617">
                  <c:v>-1</c:v>
                </c:pt>
                <c:pt idx="618">
                  <c:v>-1</c:v>
                </c:pt>
                <c:pt idx="619">
                  <c:v>-1</c:v>
                </c:pt>
                <c:pt idx="620">
                  <c:v>-1</c:v>
                </c:pt>
                <c:pt idx="621">
                  <c:v>-1</c:v>
                </c:pt>
                <c:pt idx="622">
                  <c:v>-1</c:v>
                </c:pt>
                <c:pt idx="623">
                  <c:v>-1</c:v>
                </c:pt>
                <c:pt idx="624">
                  <c:v>-1</c:v>
                </c:pt>
                <c:pt idx="625">
                  <c:v>-1</c:v>
                </c:pt>
                <c:pt idx="626">
                  <c:v>-1</c:v>
                </c:pt>
                <c:pt idx="627">
                  <c:v>-1</c:v>
                </c:pt>
                <c:pt idx="628">
                  <c:v>-1</c:v>
                </c:pt>
                <c:pt idx="629">
                  <c:v>-1</c:v>
                </c:pt>
                <c:pt idx="630">
                  <c:v>-1</c:v>
                </c:pt>
                <c:pt idx="631">
                  <c:v>-1</c:v>
                </c:pt>
                <c:pt idx="632">
                  <c:v>-1</c:v>
                </c:pt>
                <c:pt idx="633">
                  <c:v>-1</c:v>
                </c:pt>
                <c:pt idx="634">
                  <c:v>-1</c:v>
                </c:pt>
                <c:pt idx="635">
                  <c:v>-1</c:v>
                </c:pt>
                <c:pt idx="636">
                  <c:v>-1</c:v>
                </c:pt>
                <c:pt idx="637">
                  <c:v>-1</c:v>
                </c:pt>
                <c:pt idx="638">
                  <c:v>-1</c:v>
                </c:pt>
                <c:pt idx="639">
                  <c:v>-1</c:v>
                </c:pt>
                <c:pt idx="640">
                  <c:v>-1</c:v>
                </c:pt>
                <c:pt idx="641">
                  <c:v>-1</c:v>
                </c:pt>
                <c:pt idx="642">
                  <c:v>-1</c:v>
                </c:pt>
                <c:pt idx="643">
                  <c:v>-1</c:v>
                </c:pt>
                <c:pt idx="644">
                  <c:v>-1</c:v>
                </c:pt>
                <c:pt idx="645">
                  <c:v>-1</c:v>
                </c:pt>
                <c:pt idx="646">
                  <c:v>-1</c:v>
                </c:pt>
                <c:pt idx="647">
                  <c:v>-1</c:v>
                </c:pt>
                <c:pt idx="648">
                  <c:v>-1</c:v>
                </c:pt>
                <c:pt idx="649">
                  <c:v>-1</c:v>
                </c:pt>
                <c:pt idx="650">
                  <c:v>-1</c:v>
                </c:pt>
                <c:pt idx="651">
                  <c:v>-1</c:v>
                </c:pt>
                <c:pt idx="652">
                  <c:v>-1</c:v>
                </c:pt>
                <c:pt idx="653">
                  <c:v>-1</c:v>
                </c:pt>
                <c:pt idx="654">
                  <c:v>-1</c:v>
                </c:pt>
                <c:pt idx="655">
                  <c:v>-1</c:v>
                </c:pt>
                <c:pt idx="656">
                  <c:v>-1</c:v>
                </c:pt>
                <c:pt idx="657">
                  <c:v>-1</c:v>
                </c:pt>
                <c:pt idx="658">
                  <c:v>-1</c:v>
                </c:pt>
                <c:pt idx="659">
                  <c:v>-1</c:v>
                </c:pt>
                <c:pt idx="660">
                  <c:v>-1</c:v>
                </c:pt>
                <c:pt idx="661">
                  <c:v>-1</c:v>
                </c:pt>
                <c:pt idx="662">
                  <c:v>-1</c:v>
                </c:pt>
                <c:pt idx="663">
                  <c:v>-1</c:v>
                </c:pt>
                <c:pt idx="664">
                  <c:v>-1</c:v>
                </c:pt>
                <c:pt idx="665">
                  <c:v>-1</c:v>
                </c:pt>
                <c:pt idx="666">
                  <c:v>-1</c:v>
                </c:pt>
                <c:pt idx="667">
                  <c:v>-1</c:v>
                </c:pt>
                <c:pt idx="668">
                  <c:v>-1</c:v>
                </c:pt>
                <c:pt idx="669">
                  <c:v>-1</c:v>
                </c:pt>
                <c:pt idx="670">
                  <c:v>-1</c:v>
                </c:pt>
                <c:pt idx="671">
                  <c:v>-1</c:v>
                </c:pt>
                <c:pt idx="672">
                  <c:v>-1</c:v>
                </c:pt>
                <c:pt idx="673">
                  <c:v>-1</c:v>
                </c:pt>
                <c:pt idx="674">
                  <c:v>-1</c:v>
                </c:pt>
                <c:pt idx="675">
                  <c:v>-1</c:v>
                </c:pt>
                <c:pt idx="676">
                  <c:v>-1</c:v>
                </c:pt>
                <c:pt idx="677">
                  <c:v>-1</c:v>
                </c:pt>
                <c:pt idx="678">
                  <c:v>-1</c:v>
                </c:pt>
                <c:pt idx="679">
                  <c:v>-1</c:v>
                </c:pt>
                <c:pt idx="680">
                  <c:v>-1</c:v>
                </c:pt>
                <c:pt idx="681">
                  <c:v>-1</c:v>
                </c:pt>
                <c:pt idx="682">
                  <c:v>-1</c:v>
                </c:pt>
                <c:pt idx="683">
                  <c:v>-1</c:v>
                </c:pt>
                <c:pt idx="684">
                  <c:v>-1</c:v>
                </c:pt>
                <c:pt idx="685">
                  <c:v>-1</c:v>
                </c:pt>
                <c:pt idx="686">
                  <c:v>-1</c:v>
                </c:pt>
                <c:pt idx="687">
                  <c:v>-1</c:v>
                </c:pt>
                <c:pt idx="688">
                  <c:v>-1</c:v>
                </c:pt>
                <c:pt idx="689">
                  <c:v>-1</c:v>
                </c:pt>
                <c:pt idx="690">
                  <c:v>-1</c:v>
                </c:pt>
                <c:pt idx="691">
                  <c:v>-1</c:v>
                </c:pt>
                <c:pt idx="692">
                  <c:v>-1</c:v>
                </c:pt>
                <c:pt idx="693">
                  <c:v>-1</c:v>
                </c:pt>
                <c:pt idx="694">
                  <c:v>-1</c:v>
                </c:pt>
                <c:pt idx="695">
                  <c:v>-1</c:v>
                </c:pt>
                <c:pt idx="696">
                  <c:v>-1</c:v>
                </c:pt>
                <c:pt idx="697">
                  <c:v>-1</c:v>
                </c:pt>
                <c:pt idx="698">
                  <c:v>-1</c:v>
                </c:pt>
                <c:pt idx="699">
                  <c:v>-1</c:v>
                </c:pt>
                <c:pt idx="700">
                  <c:v>-1</c:v>
                </c:pt>
                <c:pt idx="701">
                  <c:v>-1</c:v>
                </c:pt>
                <c:pt idx="702">
                  <c:v>-1</c:v>
                </c:pt>
                <c:pt idx="703">
                  <c:v>-1</c:v>
                </c:pt>
                <c:pt idx="704">
                  <c:v>-1</c:v>
                </c:pt>
                <c:pt idx="705">
                  <c:v>-1</c:v>
                </c:pt>
                <c:pt idx="706">
                  <c:v>-1</c:v>
                </c:pt>
                <c:pt idx="707">
                  <c:v>-1</c:v>
                </c:pt>
                <c:pt idx="708">
                  <c:v>-1</c:v>
                </c:pt>
                <c:pt idx="709">
                  <c:v>-1</c:v>
                </c:pt>
                <c:pt idx="710">
                  <c:v>-1</c:v>
                </c:pt>
                <c:pt idx="711">
                  <c:v>-1</c:v>
                </c:pt>
                <c:pt idx="712">
                  <c:v>-1</c:v>
                </c:pt>
                <c:pt idx="713">
                  <c:v>-1</c:v>
                </c:pt>
                <c:pt idx="714">
                  <c:v>-1</c:v>
                </c:pt>
                <c:pt idx="715">
                  <c:v>-1</c:v>
                </c:pt>
                <c:pt idx="716">
                  <c:v>-1</c:v>
                </c:pt>
                <c:pt idx="717">
                  <c:v>-1</c:v>
                </c:pt>
                <c:pt idx="718">
                  <c:v>-1</c:v>
                </c:pt>
                <c:pt idx="719">
                  <c:v>-1</c:v>
                </c:pt>
                <c:pt idx="720">
                  <c:v>-1</c:v>
                </c:pt>
                <c:pt idx="721">
                  <c:v>-1</c:v>
                </c:pt>
                <c:pt idx="722">
                  <c:v>-1</c:v>
                </c:pt>
                <c:pt idx="723">
                  <c:v>-1</c:v>
                </c:pt>
                <c:pt idx="724">
                  <c:v>-1</c:v>
                </c:pt>
                <c:pt idx="725">
                  <c:v>-1</c:v>
                </c:pt>
                <c:pt idx="726">
                  <c:v>-1</c:v>
                </c:pt>
                <c:pt idx="727">
                  <c:v>-1</c:v>
                </c:pt>
                <c:pt idx="728">
                  <c:v>-1</c:v>
                </c:pt>
                <c:pt idx="729">
                  <c:v>-1</c:v>
                </c:pt>
                <c:pt idx="730">
                  <c:v>-1</c:v>
                </c:pt>
                <c:pt idx="731">
                  <c:v>-1</c:v>
                </c:pt>
                <c:pt idx="732">
                  <c:v>-1</c:v>
                </c:pt>
                <c:pt idx="733">
                  <c:v>-1</c:v>
                </c:pt>
                <c:pt idx="734">
                  <c:v>-1</c:v>
                </c:pt>
                <c:pt idx="735">
                  <c:v>-1</c:v>
                </c:pt>
                <c:pt idx="736">
                  <c:v>-1</c:v>
                </c:pt>
                <c:pt idx="737">
                  <c:v>-1</c:v>
                </c:pt>
                <c:pt idx="738">
                  <c:v>-1</c:v>
                </c:pt>
                <c:pt idx="739">
                  <c:v>-1</c:v>
                </c:pt>
                <c:pt idx="740">
                  <c:v>-1</c:v>
                </c:pt>
                <c:pt idx="741">
                  <c:v>-1</c:v>
                </c:pt>
                <c:pt idx="742">
                  <c:v>-1</c:v>
                </c:pt>
                <c:pt idx="743">
                  <c:v>-1</c:v>
                </c:pt>
                <c:pt idx="744">
                  <c:v>-1</c:v>
                </c:pt>
                <c:pt idx="745">
                  <c:v>-1</c:v>
                </c:pt>
                <c:pt idx="746">
                  <c:v>-1</c:v>
                </c:pt>
                <c:pt idx="747">
                  <c:v>-1</c:v>
                </c:pt>
                <c:pt idx="748">
                  <c:v>-1</c:v>
                </c:pt>
                <c:pt idx="749">
                  <c:v>-1</c:v>
                </c:pt>
                <c:pt idx="750">
                  <c:v>-1</c:v>
                </c:pt>
                <c:pt idx="751">
                  <c:v>-1</c:v>
                </c:pt>
                <c:pt idx="752">
                  <c:v>-1</c:v>
                </c:pt>
                <c:pt idx="753">
                  <c:v>-1</c:v>
                </c:pt>
                <c:pt idx="754">
                  <c:v>-1</c:v>
                </c:pt>
                <c:pt idx="755">
                  <c:v>-1</c:v>
                </c:pt>
                <c:pt idx="756">
                  <c:v>-1</c:v>
                </c:pt>
                <c:pt idx="757">
                  <c:v>-1</c:v>
                </c:pt>
                <c:pt idx="758">
                  <c:v>-1</c:v>
                </c:pt>
                <c:pt idx="759">
                  <c:v>-1</c:v>
                </c:pt>
                <c:pt idx="760">
                  <c:v>-1</c:v>
                </c:pt>
                <c:pt idx="761">
                  <c:v>-1</c:v>
                </c:pt>
                <c:pt idx="762">
                  <c:v>-1</c:v>
                </c:pt>
                <c:pt idx="763">
                  <c:v>-1</c:v>
                </c:pt>
                <c:pt idx="764">
                  <c:v>-1</c:v>
                </c:pt>
                <c:pt idx="765">
                  <c:v>-1</c:v>
                </c:pt>
                <c:pt idx="766">
                  <c:v>-1</c:v>
                </c:pt>
                <c:pt idx="767">
                  <c:v>-1</c:v>
                </c:pt>
                <c:pt idx="768">
                  <c:v>-1</c:v>
                </c:pt>
                <c:pt idx="769">
                  <c:v>-1</c:v>
                </c:pt>
                <c:pt idx="770">
                  <c:v>-1</c:v>
                </c:pt>
                <c:pt idx="771">
                  <c:v>-1</c:v>
                </c:pt>
                <c:pt idx="772">
                  <c:v>-1</c:v>
                </c:pt>
                <c:pt idx="773">
                  <c:v>-1</c:v>
                </c:pt>
                <c:pt idx="774">
                  <c:v>-1</c:v>
                </c:pt>
                <c:pt idx="775">
                  <c:v>-1</c:v>
                </c:pt>
                <c:pt idx="776">
                  <c:v>-1</c:v>
                </c:pt>
                <c:pt idx="777">
                  <c:v>-1</c:v>
                </c:pt>
                <c:pt idx="778">
                  <c:v>-1</c:v>
                </c:pt>
                <c:pt idx="779">
                  <c:v>-1</c:v>
                </c:pt>
                <c:pt idx="780">
                  <c:v>-1</c:v>
                </c:pt>
                <c:pt idx="781">
                  <c:v>-1</c:v>
                </c:pt>
                <c:pt idx="782">
                  <c:v>-1</c:v>
                </c:pt>
                <c:pt idx="783">
                  <c:v>-1</c:v>
                </c:pt>
                <c:pt idx="784">
                  <c:v>-1</c:v>
                </c:pt>
                <c:pt idx="785">
                  <c:v>-1</c:v>
                </c:pt>
                <c:pt idx="786">
                  <c:v>-1</c:v>
                </c:pt>
                <c:pt idx="787">
                  <c:v>-1</c:v>
                </c:pt>
                <c:pt idx="788">
                  <c:v>-1</c:v>
                </c:pt>
                <c:pt idx="789">
                  <c:v>-1</c:v>
                </c:pt>
                <c:pt idx="790">
                  <c:v>-1</c:v>
                </c:pt>
                <c:pt idx="791">
                  <c:v>-1</c:v>
                </c:pt>
                <c:pt idx="792">
                  <c:v>-1</c:v>
                </c:pt>
                <c:pt idx="793">
                  <c:v>-1</c:v>
                </c:pt>
                <c:pt idx="794">
                  <c:v>-1</c:v>
                </c:pt>
                <c:pt idx="795">
                  <c:v>-1</c:v>
                </c:pt>
                <c:pt idx="796">
                  <c:v>-1</c:v>
                </c:pt>
                <c:pt idx="797">
                  <c:v>-1</c:v>
                </c:pt>
                <c:pt idx="798">
                  <c:v>-1</c:v>
                </c:pt>
                <c:pt idx="799">
                  <c:v>-1</c:v>
                </c:pt>
                <c:pt idx="800">
                  <c:v>-1</c:v>
                </c:pt>
                <c:pt idx="801">
                  <c:v>-1</c:v>
                </c:pt>
                <c:pt idx="802">
                  <c:v>-1</c:v>
                </c:pt>
                <c:pt idx="803">
                  <c:v>-1</c:v>
                </c:pt>
                <c:pt idx="804">
                  <c:v>-1</c:v>
                </c:pt>
                <c:pt idx="805">
                  <c:v>-1</c:v>
                </c:pt>
                <c:pt idx="806">
                  <c:v>-1</c:v>
                </c:pt>
                <c:pt idx="807">
                  <c:v>-1</c:v>
                </c:pt>
                <c:pt idx="808">
                  <c:v>-1</c:v>
                </c:pt>
                <c:pt idx="809">
                  <c:v>-1</c:v>
                </c:pt>
                <c:pt idx="810">
                  <c:v>-1</c:v>
                </c:pt>
                <c:pt idx="811">
                  <c:v>-1</c:v>
                </c:pt>
                <c:pt idx="812">
                  <c:v>-1</c:v>
                </c:pt>
                <c:pt idx="813">
                  <c:v>-1</c:v>
                </c:pt>
                <c:pt idx="814">
                  <c:v>-1</c:v>
                </c:pt>
                <c:pt idx="815">
                  <c:v>-1</c:v>
                </c:pt>
                <c:pt idx="816">
                  <c:v>-1</c:v>
                </c:pt>
                <c:pt idx="817">
                  <c:v>-1</c:v>
                </c:pt>
                <c:pt idx="818">
                  <c:v>-1</c:v>
                </c:pt>
                <c:pt idx="819">
                  <c:v>-1</c:v>
                </c:pt>
                <c:pt idx="820">
                  <c:v>-1</c:v>
                </c:pt>
                <c:pt idx="821">
                  <c:v>-1</c:v>
                </c:pt>
                <c:pt idx="822">
                  <c:v>-1</c:v>
                </c:pt>
                <c:pt idx="823">
                  <c:v>-1</c:v>
                </c:pt>
                <c:pt idx="824">
                  <c:v>-1</c:v>
                </c:pt>
                <c:pt idx="825">
                  <c:v>-1</c:v>
                </c:pt>
                <c:pt idx="826">
                  <c:v>-1</c:v>
                </c:pt>
                <c:pt idx="827">
                  <c:v>-1</c:v>
                </c:pt>
                <c:pt idx="828">
                  <c:v>-1</c:v>
                </c:pt>
                <c:pt idx="829">
                  <c:v>-1</c:v>
                </c:pt>
                <c:pt idx="830">
                  <c:v>-1</c:v>
                </c:pt>
                <c:pt idx="831">
                  <c:v>-1</c:v>
                </c:pt>
                <c:pt idx="832">
                  <c:v>-1</c:v>
                </c:pt>
                <c:pt idx="833">
                  <c:v>-1</c:v>
                </c:pt>
                <c:pt idx="834">
                  <c:v>-1</c:v>
                </c:pt>
                <c:pt idx="835">
                  <c:v>-1</c:v>
                </c:pt>
                <c:pt idx="836">
                  <c:v>-1</c:v>
                </c:pt>
                <c:pt idx="837">
                  <c:v>-1</c:v>
                </c:pt>
                <c:pt idx="838">
                  <c:v>-1</c:v>
                </c:pt>
                <c:pt idx="839">
                  <c:v>-1</c:v>
                </c:pt>
                <c:pt idx="840">
                  <c:v>-1</c:v>
                </c:pt>
                <c:pt idx="841">
                  <c:v>-1</c:v>
                </c:pt>
                <c:pt idx="842">
                  <c:v>-1</c:v>
                </c:pt>
                <c:pt idx="843">
                  <c:v>-1</c:v>
                </c:pt>
                <c:pt idx="844">
                  <c:v>-1</c:v>
                </c:pt>
                <c:pt idx="845">
                  <c:v>-1</c:v>
                </c:pt>
                <c:pt idx="846">
                  <c:v>-1</c:v>
                </c:pt>
                <c:pt idx="847">
                  <c:v>-1</c:v>
                </c:pt>
                <c:pt idx="848">
                  <c:v>-1</c:v>
                </c:pt>
                <c:pt idx="849">
                  <c:v>-1</c:v>
                </c:pt>
                <c:pt idx="850">
                  <c:v>-1</c:v>
                </c:pt>
                <c:pt idx="851">
                  <c:v>-1</c:v>
                </c:pt>
                <c:pt idx="852">
                  <c:v>-1</c:v>
                </c:pt>
                <c:pt idx="853">
                  <c:v>-1</c:v>
                </c:pt>
                <c:pt idx="854">
                  <c:v>-1</c:v>
                </c:pt>
                <c:pt idx="855">
                  <c:v>-1</c:v>
                </c:pt>
                <c:pt idx="856">
                  <c:v>-1</c:v>
                </c:pt>
                <c:pt idx="857">
                  <c:v>-1</c:v>
                </c:pt>
                <c:pt idx="858">
                  <c:v>-1</c:v>
                </c:pt>
                <c:pt idx="859">
                  <c:v>-1</c:v>
                </c:pt>
                <c:pt idx="860">
                  <c:v>-1</c:v>
                </c:pt>
                <c:pt idx="861">
                  <c:v>-1</c:v>
                </c:pt>
                <c:pt idx="862">
                  <c:v>-1</c:v>
                </c:pt>
                <c:pt idx="863">
                  <c:v>-1</c:v>
                </c:pt>
                <c:pt idx="864">
                  <c:v>-1</c:v>
                </c:pt>
                <c:pt idx="865">
                  <c:v>-1</c:v>
                </c:pt>
                <c:pt idx="866">
                  <c:v>-1</c:v>
                </c:pt>
                <c:pt idx="867">
                  <c:v>-1</c:v>
                </c:pt>
                <c:pt idx="868">
                  <c:v>-1</c:v>
                </c:pt>
                <c:pt idx="869">
                  <c:v>-1</c:v>
                </c:pt>
                <c:pt idx="870">
                  <c:v>-1</c:v>
                </c:pt>
                <c:pt idx="871">
                  <c:v>-1</c:v>
                </c:pt>
                <c:pt idx="872">
                  <c:v>-1</c:v>
                </c:pt>
                <c:pt idx="873">
                  <c:v>-1</c:v>
                </c:pt>
                <c:pt idx="874">
                  <c:v>-1</c:v>
                </c:pt>
                <c:pt idx="875">
                  <c:v>-1</c:v>
                </c:pt>
                <c:pt idx="876">
                  <c:v>-1</c:v>
                </c:pt>
                <c:pt idx="877">
                  <c:v>-1</c:v>
                </c:pt>
                <c:pt idx="878">
                  <c:v>-1</c:v>
                </c:pt>
                <c:pt idx="879">
                  <c:v>-1</c:v>
                </c:pt>
                <c:pt idx="880">
                  <c:v>-1</c:v>
                </c:pt>
                <c:pt idx="881">
                  <c:v>-1</c:v>
                </c:pt>
                <c:pt idx="882">
                  <c:v>-1</c:v>
                </c:pt>
                <c:pt idx="883">
                  <c:v>-1</c:v>
                </c:pt>
                <c:pt idx="884">
                  <c:v>-1</c:v>
                </c:pt>
                <c:pt idx="885">
                  <c:v>-1</c:v>
                </c:pt>
                <c:pt idx="886">
                  <c:v>-1</c:v>
                </c:pt>
                <c:pt idx="887">
                  <c:v>-1</c:v>
                </c:pt>
                <c:pt idx="888">
                  <c:v>-1</c:v>
                </c:pt>
                <c:pt idx="889">
                  <c:v>-1</c:v>
                </c:pt>
                <c:pt idx="890">
                  <c:v>-1</c:v>
                </c:pt>
                <c:pt idx="891">
                  <c:v>-1</c:v>
                </c:pt>
                <c:pt idx="892">
                  <c:v>-1</c:v>
                </c:pt>
                <c:pt idx="893">
                  <c:v>-1</c:v>
                </c:pt>
                <c:pt idx="894">
                  <c:v>-1</c:v>
                </c:pt>
                <c:pt idx="895">
                  <c:v>-1</c:v>
                </c:pt>
                <c:pt idx="896">
                  <c:v>-1</c:v>
                </c:pt>
                <c:pt idx="897">
                  <c:v>-1</c:v>
                </c:pt>
                <c:pt idx="898">
                  <c:v>-1</c:v>
                </c:pt>
                <c:pt idx="899">
                  <c:v>-1</c:v>
                </c:pt>
                <c:pt idx="900">
                  <c:v>-1</c:v>
                </c:pt>
                <c:pt idx="901">
                  <c:v>-1</c:v>
                </c:pt>
                <c:pt idx="902">
                  <c:v>-1</c:v>
                </c:pt>
                <c:pt idx="903">
                  <c:v>-1</c:v>
                </c:pt>
                <c:pt idx="904">
                  <c:v>-1</c:v>
                </c:pt>
                <c:pt idx="905">
                  <c:v>-1</c:v>
                </c:pt>
                <c:pt idx="906">
                  <c:v>-1</c:v>
                </c:pt>
                <c:pt idx="907">
                  <c:v>-1</c:v>
                </c:pt>
                <c:pt idx="908">
                  <c:v>-1</c:v>
                </c:pt>
                <c:pt idx="909">
                  <c:v>-1</c:v>
                </c:pt>
                <c:pt idx="910">
                  <c:v>-1</c:v>
                </c:pt>
                <c:pt idx="911">
                  <c:v>-1</c:v>
                </c:pt>
                <c:pt idx="912">
                  <c:v>-1</c:v>
                </c:pt>
                <c:pt idx="913">
                  <c:v>-1</c:v>
                </c:pt>
                <c:pt idx="914">
                  <c:v>-1</c:v>
                </c:pt>
                <c:pt idx="915">
                  <c:v>-1</c:v>
                </c:pt>
                <c:pt idx="916">
                  <c:v>-1</c:v>
                </c:pt>
                <c:pt idx="917">
                  <c:v>-1</c:v>
                </c:pt>
                <c:pt idx="918">
                  <c:v>-1</c:v>
                </c:pt>
                <c:pt idx="919">
                  <c:v>-1</c:v>
                </c:pt>
                <c:pt idx="920">
                  <c:v>-1</c:v>
                </c:pt>
                <c:pt idx="921">
                  <c:v>-1</c:v>
                </c:pt>
                <c:pt idx="922">
                  <c:v>-1</c:v>
                </c:pt>
                <c:pt idx="923">
                  <c:v>-1</c:v>
                </c:pt>
                <c:pt idx="924">
                  <c:v>-1</c:v>
                </c:pt>
                <c:pt idx="925">
                  <c:v>-1</c:v>
                </c:pt>
                <c:pt idx="926">
                  <c:v>-1</c:v>
                </c:pt>
                <c:pt idx="927">
                  <c:v>-1</c:v>
                </c:pt>
                <c:pt idx="928">
                  <c:v>-1</c:v>
                </c:pt>
                <c:pt idx="929">
                  <c:v>-1</c:v>
                </c:pt>
                <c:pt idx="930">
                  <c:v>-1</c:v>
                </c:pt>
                <c:pt idx="931">
                  <c:v>-1</c:v>
                </c:pt>
                <c:pt idx="932">
                  <c:v>-1</c:v>
                </c:pt>
                <c:pt idx="933">
                  <c:v>-1</c:v>
                </c:pt>
                <c:pt idx="934">
                  <c:v>-1</c:v>
                </c:pt>
                <c:pt idx="935">
                  <c:v>-1</c:v>
                </c:pt>
                <c:pt idx="936">
                  <c:v>-1</c:v>
                </c:pt>
                <c:pt idx="937">
                  <c:v>-1</c:v>
                </c:pt>
                <c:pt idx="938">
                  <c:v>-1</c:v>
                </c:pt>
                <c:pt idx="939">
                  <c:v>-1</c:v>
                </c:pt>
                <c:pt idx="940">
                  <c:v>-1</c:v>
                </c:pt>
                <c:pt idx="941">
                  <c:v>-1</c:v>
                </c:pt>
                <c:pt idx="942">
                  <c:v>-1</c:v>
                </c:pt>
                <c:pt idx="943">
                  <c:v>-1</c:v>
                </c:pt>
                <c:pt idx="944">
                  <c:v>-1</c:v>
                </c:pt>
                <c:pt idx="945">
                  <c:v>-1</c:v>
                </c:pt>
                <c:pt idx="946">
                  <c:v>-1</c:v>
                </c:pt>
                <c:pt idx="947">
                  <c:v>-1</c:v>
                </c:pt>
                <c:pt idx="948">
                  <c:v>-1</c:v>
                </c:pt>
                <c:pt idx="949">
                  <c:v>-1</c:v>
                </c:pt>
                <c:pt idx="950">
                  <c:v>-1</c:v>
                </c:pt>
                <c:pt idx="951">
                  <c:v>-1</c:v>
                </c:pt>
                <c:pt idx="952">
                  <c:v>-1</c:v>
                </c:pt>
                <c:pt idx="953">
                  <c:v>-1</c:v>
                </c:pt>
                <c:pt idx="954">
                  <c:v>-1</c:v>
                </c:pt>
                <c:pt idx="955">
                  <c:v>-1</c:v>
                </c:pt>
                <c:pt idx="956">
                  <c:v>-1</c:v>
                </c:pt>
                <c:pt idx="957">
                  <c:v>-1</c:v>
                </c:pt>
                <c:pt idx="958">
                  <c:v>-1</c:v>
                </c:pt>
                <c:pt idx="959">
                  <c:v>-1</c:v>
                </c:pt>
                <c:pt idx="960">
                  <c:v>-1</c:v>
                </c:pt>
                <c:pt idx="961">
                  <c:v>-1</c:v>
                </c:pt>
                <c:pt idx="962">
                  <c:v>-1</c:v>
                </c:pt>
                <c:pt idx="963">
                  <c:v>-1</c:v>
                </c:pt>
                <c:pt idx="964">
                  <c:v>-1</c:v>
                </c:pt>
                <c:pt idx="965">
                  <c:v>-1</c:v>
                </c:pt>
                <c:pt idx="966">
                  <c:v>-1</c:v>
                </c:pt>
                <c:pt idx="967">
                  <c:v>-1</c:v>
                </c:pt>
                <c:pt idx="968">
                  <c:v>-1</c:v>
                </c:pt>
                <c:pt idx="969">
                  <c:v>-1</c:v>
                </c:pt>
                <c:pt idx="970">
                  <c:v>-1</c:v>
                </c:pt>
                <c:pt idx="971">
                  <c:v>-1</c:v>
                </c:pt>
                <c:pt idx="972">
                  <c:v>-1</c:v>
                </c:pt>
                <c:pt idx="973">
                  <c:v>-1</c:v>
                </c:pt>
                <c:pt idx="974">
                  <c:v>-1</c:v>
                </c:pt>
                <c:pt idx="975">
                  <c:v>-1</c:v>
                </c:pt>
                <c:pt idx="976">
                  <c:v>-1</c:v>
                </c:pt>
                <c:pt idx="977">
                  <c:v>-1</c:v>
                </c:pt>
                <c:pt idx="978">
                  <c:v>-1</c:v>
                </c:pt>
                <c:pt idx="979">
                  <c:v>-1</c:v>
                </c:pt>
                <c:pt idx="980">
                  <c:v>-1</c:v>
                </c:pt>
                <c:pt idx="981">
                  <c:v>-1</c:v>
                </c:pt>
                <c:pt idx="982">
                  <c:v>-1</c:v>
                </c:pt>
                <c:pt idx="983">
                  <c:v>-1</c:v>
                </c:pt>
                <c:pt idx="984">
                  <c:v>-1</c:v>
                </c:pt>
                <c:pt idx="985">
                  <c:v>-1</c:v>
                </c:pt>
                <c:pt idx="986">
                  <c:v>-1</c:v>
                </c:pt>
                <c:pt idx="987">
                  <c:v>-1</c:v>
                </c:pt>
                <c:pt idx="988">
                  <c:v>-1</c:v>
                </c:pt>
                <c:pt idx="989">
                  <c:v>-1</c:v>
                </c:pt>
                <c:pt idx="990">
                  <c:v>-1</c:v>
                </c:pt>
                <c:pt idx="991">
                  <c:v>-1</c:v>
                </c:pt>
                <c:pt idx="992">
                  <c:v>-1</c:v>
                </c:pt>
                <c:pt idx="993">
                  <c:v>-1</c:v>
                </c:pt>
                <c:pt idx="994">
                  <c:v>-1</c:v>
                </c:pt>
                <c:pt idx="995">
                  <c:v>-1</c:v>
                </c:pt>
                <c:pt idx="996">
                  <c:v>-1</c:v>
                </c:pt>
                <c:pt idx="997">
                  <c:v>-1</c:v>
                </c:pt>
                <c:pt idx="998">
                  <c:v>-1</c:v>
                </c:pt>
                <c:pt idx="999">
                  <c:v>-1</c:v>
                </c:pt>
                <c:pt idx="1000">
                  <c:v>-1</c:v>
                </c:pt>
                <c:pt idx="1001">
                  <c:v>-1</c:v>
                </c:pt>
                <c:pt idx="1002">
                  <c:v>-1</c:v>
                </c:pt>
                <c:pt idx="1003">
                  <c:v>-1</c:v>
                </c:pt>
                <c:pt idx="1004">
                  <c:v>-1</c:v>
                </c:pt>
                <c:pt idx="1005">
                  <c:v>-1</c:v>
                </c:pt>
                <c:pt idx="1006">
                  <c:v>-1</c:v>
                </c:pt>
                <c:pt idx="1007">
                  <c:v>-1</c:v>
                </c:pt>
                <c:pt idx="1008">
                  <c:v>-1</c:v>
                </c:pt>
                <c:pt idx="1009">
                  <c:v>-1</c:v>
                </c:pt>
                <c:pt idx="1010">
                  <c:v>-1</c:v>
                </c:pt>
                <c:pt idx="1011">
                  <c:v>-1</c:v>
                </c:pt>
                <c:pt idx="1012">
                  <c:v>-1</c:v>
                </c:pt>
                <c:pt idx="1013">
                  <c:v>-1</c:v>
                </c:pt>
                <c:pt idx="1014">
                  <c:v>-1</c:v>
                </c:pt>
                <c:pt idx="1015">
                  <c:v>-1</c:v>
                </c:pt>
                <c:pt idx="1016">
                  <c:v>-1</c:v>
                </c:pt>
                <c:pt idx="1017">
                  <c:v>-1</c:v>
                </c:pt>
                <c:pt idx="1018">
                  <c:v>-1</c:v>
                </c:pt>
                <c:pt idx="1019">
                  <c:v>-1</c:v>
                </c:pt>
                <c:pt idx="1020">
                  <c:v>-1</c:v>
                </c:pt>
                <c:pt idx="1021">
                  <c:v>-1</c:v>
                </c:pt>
                <c:pt idx="1022">
                  <c:v>-1</c:v>
                </c:pt>
                <c:pt idx="1023">
                  <c:v>-1</c:v>
                </c:pt>
                <c:pt idx="1024">
                  <c:v>-1</c:v>
                </c:pt>
                <c:pt idx="1025">
                  <c:v>-1</c:v>
                </c:pt>
                <c:pt idx="1026">
                  <c:v>-1</c:v>
                </c:pt>
                <c:pt idx="1027">
                  <c:v>-1</c:v>
                </c:pt>
                <c:pt idx="1028">
                  <c:v>-1</c:v>
                </c:pt>
                <c:pt idx="1029">
                  <c:v>-1</c:v>
                </c:pt>
                <c:pt idx="1030">
                  <c:v>-1</c:v>
                </c:pt>
                <c:pt idx="1031">
                  <c:v>-1</c:v>
                </c:pt>
                <c:pt idx="1032">
                  <c:v>-1</c:v>
                </c:pt>
                <c:pt idx="1033">
                  <c:v>-1</c:v>
                </c:pt>
                <c:pt idx="1034">
                  <c:v>-1</c:v>
                </c:pt>
                <c:pt idx="1035">
                  <c:v>-1</c:v>
                </c:pt>
                <c:pt idx="1036">
                  <c:v>-1</c:v>
                </c:pt>
                <c:pt idx="1037">
                  <c:v>-1</c:v>
                </c:pt>
                <c:pt idx="1038">
                  <c:v>-1</c:v>
                </c:pt>
                <c:pt idx="1039">
                  <c:v>-1</c:v>
                </c:pt>
                <c:pt idx="1040">
                  <c:v>-1</c:v>
                </c:pt>
                <c:pt idx="1041">
                  <c:v>-1</c:v>
                </c:pt>
                <c:pt idx="1042">
                  <c:v>-1</c:v>
                </c:pt>
                <c:pt idx="1043">
                  <c:v>-1</c:v>
                </c:pt>
                <c:pt idx="1044">
                  <c:v>-1</c:v>
                </c:pt>
                <c:pt idx="1045">
                  <c:v>-1</c:v>
                </c:pt>
                <c:pt idx="1046">
                  <c:v>-1</c:v>
                </c:pt>
                <c:pt idx="1047">
                  <c:v>-1</c:v>
                </c:pt>
                <c:pt idx="1048">
                  <c:v>-1</c:v>
                </c:pt>
                <c:pt idx="1049">
                  <c:v>-1</c:v>
                </c:pt>
                <c:pt idx="1050">
                  <c:v>-1</c:v>
                </c:pt>
                <c:pt idx="1051">
                  <c:v>-1</c:v>
                </c:pt>
                <c:pt idx="1052">
                  <c:v>-1</c:v>
                </c:pt>
                <c:pt idx="1053">
                  <c:v>-1</c:v>
                </c:pt>
                <c:pt idx="1054">
                  <c:v>-1</c:v>
                </c:pt>
                <c:pt idx="1055">
                  <c:v>-1</c:v>
                </c:pt>
                <c:pt idx="1056">
                  <c:v>-1</c:v>
                </c:pt>
                <c:pt idx="1057">
                  <c:v>-1</c:v>
                </c:pt>
                <c:pt idx="1058">
                  <c:v>-1</c:v>
                </c:pt>
                <c:pt idx="1059">
                  <c:v>-1</c:v>
                </c:pt>
                <c:pt idx="1060">
                  <c:v>-1</c:v>
                </c:pt>
                <c:pt idx="1061">
                  <c:v>-1</c:v>
                </c:pt>
                <c:pt idx="1062">
                  <c:v>-1</c:v>
                </c:pt>
                <c:pt idx="1063">
                  <c:v>-1</c:v>
                </c:pt>
                <c:pt idx="1064">
                  <c:v>-1</c:v>
                </c:pt>
                <c:pt idx="1065">
                  <c:v>-1</c:v>
                </c:pt>
                <c:pt idx="1066">
                  <c:v>-1</c:v>
                </c:pt>
                <c:pt idx="1067">
                  <c:v>-1</c:v>
                </c:pt>
                <c:pt idx="1068">
                  <c:v>-1</c:v>
                </c:pt>
                <c:pt idx="1069">
                  <c:v>-1</c:v>
                </c:pt>
                <c:pt idx="1070">
                  <c:v>-1</c:v>
                </c:pt>
                <c:pt idx="1071">
                  <c:v>-1</c:v>
                </c:pt>
                <c:pt idx="1072">
                  <c:v>-1</c:v>
                </c:pt>
                <c:pt idx="1073">
                  <c:v>-1</c:v>
                </c:pt>
                <c:pt idx="1074">
                  <c:v>-1</c:v>
                </c:pt>
                <c:pt idx="1075">
                  <c:v>-1</c:v>
                </c:pt>
                <c:pt idx="1076">
                  <c:v>-1</c:v>
                </c:pt>
                <c:pt idx="1077">
                  <c:v>-1</c:v>
                </c:pt>
                <c:pt idx="1078">
                  <c:v>-1</c:v>
                </c:pt>
                <c:pt idx="1079">
                  <c:v>-1</c:v>
                </c:pt>
                <c:pt idx="1080">
                  <c:v>-1</c:v>
                </c:pt>
                <c:pt idx="1081">
                  <c:v>-1</c:v>
                </c:pt>
                <c:pt idx="1082">
                  <c:v>-1</c:v>
                </c:pt>
                <c:pt idx="1083">
                  <c:v>-1</c:v>
                </c:pt>
                <c:pt idx="1084">
                  <c:v>-1</c:v>
                </c:pt>
                <c:pt idx="1085">
                  <c:v>-1</c:v>
                </c:pt>
                <c:pt idx="1086">
                  <c:v>-1</c:v>
                </c:pt>
                <c:pt idx="1087">
                  <c:v>-1</c:v>
                </c:pt>
                <c:pt idx="1088">
                  <c:v>-1</c:v>
                </c:pt>
                <c:pt idx="1089">
                  <c:v>-1</c:v>
                </c:pt>
                <c:pt idx="1090">
                  <c:v>-1</c:v>
                </c:pt>
                <c:pt idx="1091">
                  <c:v>-1</c:v>
                </c:pt>
                <c:pt idx="1092">
                  <c:v>-1</c:v>
                </c:pt>
                <c:pt idx="1093">
                  <c:v>-1</c:v>
                </c:pt>
                <c:pt idx="1094">
                  <c:v>-1</c:v>
                </c:pt>
                <c:pt idx="1095">
                  <c:v>-1</c:v>
                </c:pt>
                <c:pt idx="1096">
                  <c:v>-1</c:v>
                </c:pt>
                <c:pt idx="1097">
                  <c:v>-1</c:v>
                </c:pt>
                <c:pt idx="1098">
                  <c:v>-1</c:v>
                </c:pt>
                <c:pt idx="1099">
                  <c:v>-1</c:v>
                </c:pt>
                <c:pt idx="1100">
                  <c:v>-1</c:v>
                </c:pt>
                <c:pt idx="1101">
                  <c:v>-1</c:v>
                </c:pt>
                <c:pt idx="1102">
                  <c:v>-1</c:v>
                </c:pt>
                <c:pt idx="1103">
                  <c:v>-1</c:v>
                </c:pt>
                <c:pt idx="1104">
                  <c:v>-1</c:v>
                </c:pt>
                <c:pt idx="1105">
                  <c:v>-1</c:v>
                </c:pt>
                <c:pt idx="1106">
                  <c:v>-1</c:v>
                </c:pt>
                <c:pt idx="1107">
                  <c:v>-1</c:v>
                </c:pt>
                <c:pt idx="1108">
                  <c:v>-1</c:v>
                </c:pt>
                <c:pt idx="1109">
                  <c:v>-1</c:v>
                </c:pt>
                <c:pt idx="1110">
                  <c:v>-1</c:v>
                </c:pt>
                <c:pt idx="1111">
                  <c:v>-1</c:v>
                </c:pt>
                <c:pt idx="1112">
                  <c:v>-1</c:v>
                </c:pt>
                <c:pt idx="1113">
                  <c:v>-1</c:v>
                </c:pt>
                <c:pt idx="1114">
                  <c:v>-1</c:v>
                </c:pt>
                <c:pt idx="1115">
                  <c:v>-1</c:v>
                </c:pt>
                <c:pt idx="1116">
                  <c:v>-1</c:v>
                </c:pt>
                <c:pt idx="1117">
                  <c:v>-1</c:v>
                </c:pt>
                <c:pt idx="1118">
                  <c:v>-1</c:v>
                </c:pt>
                <c:pt idx="1119">
                  <c:v>-1</c:v>
                </c:pt>
                <c:pt idx="1120">
                  <c:v>-1</c:v>
                </c:pt>
                <c:pt idx="1121">
                  <c:v>-1</c:v>
                </c:pt>
                <c:pt idx="1122">
                  <c:v>-1</c:v>
                </c:pt>
                <c:pt idx="1123">
                  <c:v>-1</c:v>
                </c:pt>
                <c:pt idx="1124">
                  <c:v>-1</c:v>
                </c:pt>
                <c:pt idx="1125">
                  <c:v>-1</c:v>
                </c:pt>
                <c:pt idx="1126">
                  <c:v>-1</c:v>
                </c:pt>
                <c:pt idx="1127">
                  <c:v>-1</c:v>
                </c:pt>
                <c:pt idx="1128">
                  <c:v>-1</c:v>
                </c:pt>
                <c:pt idx="1129">
                  <c:v>-1</c:v>
                </c:pt>
                <c:pt idx="1130">
                  <c:v>-1</c:v>
                </c:pt>
                <c:pt idx="1131">
                  <c:v>-1</c:v>
                </c:pt>
                <c:pt idx="1132">
                  <c:v>-1</c:v>
                </c:pt>
                <c:pt idx="1133">
                  <c:v>-1</c:v>
                </c:pt>
                <c:pt idx="1134">
                  <c:v>-1</c:v>
                </c:pt>
                <c:pt idx="1135">
                  <c:v>-1</c:v>
                </c:pt>
                <c:pt idx="1136">
                  <c:v>-1</c:v>
                </c:pt>
                <c:pt idx="1137">
                  <c:v>-1</c:v>
                </c:pt>
                <c:pt idx="1138">
                  <c:v>-1</c:v>
                </c:pt>
                <c:pt idx="1139">
                  <c:v>-1</c:v>
                </c:pt>
                <c:pt idx="1140">
                  <c:v>-1</c:v>
                </c:pt>
                <c:pt idx="1141">
                  <c:v>-1</c:v>
                </c:pt>
                <c:pt idx="1142">
                  <c:v>-1</c:v>
                </c:pt>
                <c:pt idx="1143">
                  <c:v>-1</c:v>
                </c:pt>
                <c:pt idx="1144">
                  <c:v>-1</c:v>
                </c:pt>
                <c:pt idx="1145">
                  <c:v>-1</c:v>
                </c:pt>
                <c:pt idx="1146">
                  <c:v>-1</c:v>
                </c:pt>
                <c:pt idx="1147">
                  <c:v>-1</c:v>
                </c:pt>
                <c:pt idx="1148">
                  <c:v>-1</c:v>
                </c:pt>
                <c:pt idx="1149">
                  <c:v>-1</c:v>
                </c:pt>
                <c:pt idx="1150">
                  <c:v>-1</c:v>
                </c:pt>
                <c:pt idx="1151">
                  <c:v>-1</c:v>
                </c:pt>
                <c:pt idx="1152">
                  <c:v>-1</c:v>
                </c:pt>
                <c:pt idx="1153">
                  <c:v>-1</c:v>
                </c:pt>
                <c:pt idx="1154">
                  <c:v>-1</c:v>
                </c:pt>
                <c:pt idx="1155">
                  <c:v>-1</c:v>
                </c:pt>
                <c:pt idx="1156">
                  <c:v>-1</c:v>
                </c:pt>
                <c:pt idx="1157">
                  <c:v>-1</c:v>
                </c:pt>
                <c:pt idx="1158">
                  <c:v>-1</c:v>
                </c:pt>
                <c:pt idx="1159">
                  <c:v>-1</c:v>
                </c:pt>
                <c:pt idx="1160">
                  <c:v>-1</c:v>
                </c:pt>
                <c:pt idx="1161">
                  <c:v>-1</c:v>
                </c:pt>
                <c:pt idx="1162">
                  <c:v>-1</c:v>
                </c:pt>
                <c:pt idx="1163">
                  <c:v>-1</c:v>
                </c:pt>
                <c:pt idx="1164">
                  <c:v>-1</c:v>
                </c:pt>
                <c:pt idx="1165">
                  <c:v>-1</c:v>
                </c:pt>
                <c:pt idx="1166">
                  <c:v>-1</c:v>
                </c:pt>
                <c:pt idx="1167">
                  <c:v>-1</c:v>
                </c:pt>
                <c:pt idx="1168">
                  <c:v>-1</c:v>
                </c:pt>
                <c:pt idx="1169">
                  <c:v>-1</c:v>
                </c:pt>
                <c:pt idx="1170">
                  <c:v>-1</c:v>
                </c:pt>
                <c:pt idx="1171">
                  <c:v>-1</c:v>
                </c:pt>
                <c:pt idx="1172">
                  <c:v>-1</c:v>
                </c:pt>
                <c:pt idx="1173">
                  <c:v>-1</c:v>
                </c:pt>
                <c:pt idx="1174">
                  <c:v>-1</c:v>
                </c:pt>
                <c:pt idx="1175">
                  <c:v>-1</c:v>
                </c:pt>
                <c:pt idx="1176">
                  <c:v>-1</c:v>
                </c:pt>
                <c:pt idx="1177">
                  <c:v>-1</c:v>
                </c:pt>
                <c:pt idx="1178">
                  <c:v>-1</c:v>
                </c:pt>
                <c:pt idx="1179">
                  <c:v>-1</c:v>
                </c:pt>
                <c:pt idx="1180">
                  <c:v>-1</c:v>
                </c:pt>
                <c:pt idx="1181">
                  <c:v>-1</c:v>
                </c:pt>
                <c:pt idx="1182">
                  <c:v>-1</c:v>
                </c:pt>
                <c:pt idx="1183">
                  <c:v>-1</c:v>
                </c:pt>
                <c:pt idx="1184">
                  <c:v>-1</c:v>
                </c:pt>
                <c:pt idx="1185">
                  <c:v>-1</c:v>
                </c:pt>
                <c:pt idx="1186">
                  <c:v>-1</c:v>
                </c:pt>
                <c:pt idx="1187">
                  <c:v>-1</c:v>
                </c:pt>
                <c:pt idx="1188">
                  <c:v>-1</c:v>
                </c:pt>
                <c:pt idx="1189">
                  <c:v>-1</c:v>
                </c:pt>
                <c:pt idx="1190">
                  <c:v>-1</c:v>
                </c:pt>
                <c:pt idx="1191">
                  <c:v>-1</c:v>
                </c:pt>
                <c:pt idx="1192">
                  <c:v>-1</c:v>
                </c:pt>
                <c:pt idx="1193">
                  <c:v>-1</c:v>
                </c:pt>
                <c:pt idx="1194">
                  <c:v>-1</c:v>
                </c:pt>
                <c:pt idx="1195">
                  <c:v>-1</c:v>
                </c:pt>
                <c:pt idx="1196">
                  <c:v>-1</c:v>
                </c:pt>
                <c:pt idx="1197">
                  <c:v>-1</c:v>
                </c:pt>
                <c:pt idx="1198">
                  <c:v>-1</c:v>
                </c:pt>
                <c:pt idx="1199">
                  <c:v>-1</c:v>
                </c:pt>
                <c:pt idx="1200">
                  <c:v>-1</c:v>
                </c:pt>
                <c:pt idx="1201">
                  <c:v>-1</c:v>
                </c:pt>
                <c:pt idx="1202">
                  <c:v>-1</c:v>
                </c:pt>
                <c:pt idx="1203">
                  <c:v>-1</c:v>
                </c:pt>
                <c:pt idx="1204">
                  <c:v>-1</c:v>
                </c:pt>
                <c:pt idx="1205">
                  <c:v>-1</c:v>
                </c:pt>
                <c:pt idx="1206">
                  <c:v>-1</c:v>
                </c:pt>
                <c:pt idx="1207">
                  <c:v>-1</c:v>
                </c:pt>
                <c:pt idx="1208">
                  <c:v>-1</c:v>
                </c:pt>
                <c:pt idx="1209">
                  <c:v>-1</c:v>
                </c:pt>
                <c:pt idx="1210">
                  <c:v>-1</c:v>
                </c:pt>
                <c:pt idx="1211">
                  <c:v>-1</c:v>
                </c:pt>
                <c:pt idx="1212">
                  <c:v>-1</c:v>
                </c:pt>
                <c:pt idx="1213">
                  <c:v>-1</c:v>
                </c:pt>
                <c:pt idx="1214">
                  <c:v>-1</c:v>
                </c:pt>
                <c:pt idx="1215">
                  <c:v>-1</c:v>
                </c:pt>
                <c:pt idx="1216">
                  <c:v>-1</c:v>
                </c:pt>
                <c:pt idx="1217">
                  <c:v>-1</c:v>
                </c:pt>
                <c:pt idx="1218">
                  <c:v>-1</c:v>
                </c:pt>
                <c:pt idx="1219">
                  <c:v>-1</c:v>
                </c:pt>
                <c:pt idx="1220">
                  <c:v>-1</c:v>
                </c:pt>
                <c:pt idx="1221">
                  <c:v>-1</c:v>
                </c:pt>
                <c:pt idx="1222">
                  <c:v>-1</c:v>
                </c:pt>
                <c:pt idx="1223">
                  <c:v>-1</c:v>
                </c:pt>
                <c:pt idx="1224">
                  <c:v>-1</c:v>
                </c:pt>
                <c:pt idx="1225">
                  <c:v>-1</c:v>
                </c:pt>
                <c:pt idx="1226">
                  <c:v>-1</c:v>
                </c:pt>
                <c:pt idx="1227">
                  <c:v>-1</c:v>
                </c:pt>
                <c:pt idx="1228">
                  <c:v>-1</c:v>
                </c:pt>
                <c:pt idx="1229">
                  <c:v>-1</c:v>
                </c:pt>
                <c:pt idx="1230">
                  <c:v>-1</c:v>
                </c:pt>
                <c:pt idx="1231">
                  <c:v>-1</c:v>
                </c:pt>
                <c:pt idx="1232">
                  <c:v>-1</c:v>
                </c:pt>
                <c:pt idx="1233">
                  <c:v>-1</c:v>
                </c:pt>
                <c:pt idx="1234">
                  <c:v>-1</c:v>
                </c:pt>
                <c:pt idx="1235">
                  <c:v>-1</c:v>
                </c:pt>
                <c:pt idx="1236">
                  <c:v>-1</c:v>
                </c:pt>
                <c:pt idx="1237">
                  <c:v>-1</c:v>
                </c:pt>
                <c:pt idx="1238">
                  <c:v>-1</c:v>
                </c:pt>
                <c:pt idx="1239">
                  <c:v>-1</c:v>
                </c:pt>
                <c:pt idx="1240">
                  <c:v>-1</c:v>
                </c:pt>
                <c:pt idx="1241">
                  <c:v>-1</c:v>
                </c:pt>
                <c:pt idx="1242">
                  <c:v>-1</c:v>
                </c:pt>
                <c:pt idx="1243">
                  <c:v>-1</c:v>
                </c:pt>
                <c:pt idx="1244">
                  <c:v>-1</c:v>
                </c:pt>
                <c:pt idx="1245">
                  <c:v>-1</c:v>
                </c:pt>
                <c:pt idx="1246">
                  <c:v>-1</c:v>
                </c:pt>
                <c:pt idx="1247">
                  <c:v>-1</c:v>
                </c:pt>
                <c:pt idx="1248">
                  <c:v>-1</c:v>
                </c:pt>
                <c:pt idx="1249">
                  <c:v>-1</c:v>
                </c:pt>
                <c:pt idx="1250">
                  <c:v>-1</c:v>
                </c:pt>
                <c:pt idx="1251">
                  <c:v>-1</c:v>
                </c:pt>
                <c:pt idx="1252">
                  <c:v>-1</c:v>
                </c:pt>
                <c:pt idx="1253">
                  <c:v>-1</c:v>
                </c:pt>
                <c:pt idx="1254">
                  <c:v>-1</c:v>
                </c:pt>
                <c:pt idx="1255">
                  <c:v>-1</c:v>
                </c:pt>
                <c:pt idx="1256">
                  <c:v>-1</c:v>
                </c:pt>
                <c:pt idx="1257">
                  <c:v>-1</c:v>
                </c:pt>
                <c:pt idx="1258">
                  <c:v>-1</c:v>
                </c:pt>
                <c:pt idx="1259">
                  <c:v>-1</c:v>
                </c:pt>
                <c:pt idx="1260">
                  <c:v>-1</c:v>
                </c:pt>
                <c:pt idx="1261">
                  <c:v>-1</c:v>
                </c:pt>
                <c:pt idx="1262">
                  <c:v>-1</c:v>
                </c:pt>
                <c:pt idx="1263">
                  <c:v>-1</c:v>
                </c:pt>
                <c:pt idx="1264">
                  <c:v>-1</c:v>
                </c:pt>
                <c:pt idx="1265">
                  <c:v>-1</c:v>
                </c:pt>
                <c:pt idx="1266">
                  <c:v>-1</c:v>
                </c:pt>
                <c:pt idx="1267">
                  <c:v>-1</c:v>
                </c:pt>
                <c:pt idx="1268">
                  <c:v>-1</c:v>
                </c:pt>
                <c:pt idx="1269">
                  <c:v>-1</c:v>
                </c:pt>
                <c:pt idx="1270">
                  <c:v>-1</c:v>
                </c:pt>
                <c:pt idx="1271">
                  <c:v>-1</c:v>
                </c:pt>
                <c:pt idx="1272">
                  <c:v>-1</c:v>
                </c:pt>
                <c:pt idx="1273">
                  <c:v>-1</c:v>
                </c:pt>
                <c:pt idx="1274">
                  <c:v>-1</c:v>
                </c:pt>
                <c:pt idx="1275">
                  <c:v>-1</c:v>
                </c:pt>
                <c:pt idx="1276">
                  <c:v>-1</c:v>
                </c:pt>
                <c:pt idx="1277">
                  <c:v>-1</c:v>
                </c:pt>
                <c:pt idx="1278">
                  <c:v>-1</c:v>
                </c:pt>
                <c:pt idx="1279">
                  <c:v>-1</c:v>
                </c:pt>
                <c:pt idx="1280">
                  <c:v>-1</c:v>
                </c:pt>
                <c:pt idx="1281">
                  <c:v>-1</c:v>
                </c:pt>
                <c:pt idx="1282">
                  <c:v>-1</c:v>
                </c:pt>
                <c:pt idx="1283">
                  <c:v>-1</c:v>
                </c:pt>
                <c:pt idx="1284">
                  <c:v>-1</c:v>
                </c:pt>
                <c:pt idx="1285">
                  <c:v>-1</c:v>
                </c:pt>
                <c:pt idx="1286">
                  <c:v>-1</c:v>
                </c:pt>
                <c:pt idx="1287">
                  <c:v>-1</c:v>
                </c:pt>
                <c:pt idx="1288">
                  <c:v>-1</c:v>
                </c:pt>
                <c:pt idx="1289">
                  <c:v>-1</c:v>
                </c:pt>
                <c:pt idx="1290">
                  <c:v>-1</c:v>
                </c:pt>
                <c:pt idx="1291">
                  <c:v>-1</c:v>
                </c:pt>
                <c:pt idx="1292">
                  <c:v>-1</c:v>
                </c:pt>
                <c:pt idx="1293">
                  <c:v>-1</c:v>
                </c:pt>
                <c:pt idx="1294">
                  <c:v>-1</c:v>
                </c:pt>
                <c:pt idx="1295">
                  <c:v>-1</c:v>
                </c:pt>
                <c:pt idx="1296">
                  <c:v>-1</c:v>
                </c:pt>
                <c:pt idx="1297">
                  <c:v>-1</c:v>
                </c:pt>
                <c:pt idx="1298">
                  <c:v>-1</c:v>
                </c:pt>
                <c:pt idx="1299">
                  <c:v>-1</c:v>
                </c:pt>
                <c:pt idx="1300">
                  <c:v>-1</c:v>
                </c:pt>
                <c:pt idx="1301">
                  <c:v>-1</c:v>
                </c:pt>
                <c:pt idx="1302">
                  <c:v>-1</c:v>
                </c:pt>
                <c:pt idx="1303">
                  <c:v>-1</c:v>
                </c:pt>
                <c:pt idx="1304">
                  <c:v>-1</c:v>
                </c:pt>
                <c:pt idx="1305">
                  <c:v>-1</c:v>
                </c:pt>
                <c:pt idx="1306">
                  <c:v>-1</c:v>
                </c:pt>
                <c:pt idx="1307">
                  <c:v>-1</c:v>
                </c:pt>
                <c:pt idx="1308">
                  <c:v>-1</c:v>
                </c:pt>
                <c:pt idx="1309">
                  <c:v>-1</c:v>
                </c:pt>
                <c:pt idx="1310">
                  <c:v>-1</c:v>
                </c:pt>
                <c:pt idx="1311">
                  <c:v>-1</c:v>
                </c:pt>
                <c:pt idx="1312">
                  <c:v>-1</c:v>
                </c:pt>
                <c:pt idx="1313">
                  <c:v>-1</c:v>
                </c:pt>
                <c:pt idx="1314">
                  <c:v>-1</c:v>
                </c:pt>
                <c:pt idx="1315">
                  <c:v>-1</c:v>
                </c:pt>
                <c:pt idx="1316">
                  <c:v>-1</c:v>
                </c:pt>
                <c:pt idx="1317">
                  <c:v>-1</c:v>
                </c:pt>
                <c:pt idx="1318">
                  <c:v>-1</c:v>
                </c:pt>
                <c:pt idx="1319">
                  <c:v>-1</c:v>
                </c:pt>
                <c:pt idx="1320">
                  <c:v>-1</c:v>
                </c:pt>
                <c:pt idx="1321">
                  <c:v>-1</c:v>
                </c:pt>
                <c:pt idx="1322">
                  <c:v>-1</c:v>
                </c:pt>
                <c:pt idx="1323">
                  <c:v>-1</c:v>
                </c:pt>
                <c:pt idx="1324">
                  <c:v>-1</c:v>
                </c:pt>
                <c:pt idx="1325">
                  <c:v>-1</c:v>
                </c:pt>
                <c:pt idx="1326">
                  <c:v>-1</c:v>
                </c:pt>
                <c:pt idx="1327">
                  <c:v>-1</c:v>
                </c:pt>
                <c:pt idx="1328">
                  <c:v>-1</c:v>
                </c:pt>
                <c:pt idx="1329">
                  <c:v>-1</c:v>
                </c:pt>
                <c:pt idx="1330">
                  <c:v>-1</c:v>
                </c:pt>
                <c:pt idx="1331">
                  <c:v>-1</c:v>
                </c:pt>
                <c:pt idx="1332">
                  <c:v>-1</c:v>
                </c:pt>
                <c:pt idx="1333">
                  <c:v>-1</c:v>
                </c:pt>
                <c:pt idx="1334">
                  <c:v>-1</c:v>
                </c:pt>
                <c:pt idx="1335">
                  <c:v>-1</c:v>
                </c:pt>
                <c:pt idx="1336">
                  <c:v>-1</c:v>
                </c:pt>
                <c:pt idx="1337">
                  <c:v>-1</c:v>
                </c:pt>
                <c:pt idx="1338">
                  <c:v>-1</c:v>
                </c:pt>
                <c:pt idx="1339">
                  <c:v>-1</c:v>
                </c:pt>
                <c:pt idx="1340">
                  <c:v>-1</c:v>
                </c:pt>
                <c:pt idx="1341">
                  <c:v>-1</c:v>
                </c:pt>
                <c:pt idx="1342">
                  <c:v>-1</c:v>
                </c:pt>
                <c:pt idx="1343">
                  <c:v>-1</c:v>
                </c:pt>
                <c:pt idx="1344">
                  <c:v>-1</c:v>
                </c:pt>
                <c:pt idx="1345">
                  <c:v>-1</c:v>
                </c:pt>
                <c:pt idx="1346">
                  <c:v>-1</c:v>
                </c:pt>
                <c:pt idx="1347">
                  <c:v>-1</c:v>
                </c:pt>
                <c:pt idx="1348">
                  <c:v>-1</c:v>
                </c:pt>
                <c:pt idx="1349">
                  <c:v>-1</c:v>
                </c:pt>
                <c:pt idx="1350">
                  <c:v>-1</c:v>
                </c:pt>
                <c:pt idx="1351">
                  <c:v>-1</c:v>
                </c:pt>
                <c:pt idx="1352">
                  <c:v>-1</c:v>
                </c:pt>
                <c:pt idx="1353">
                  <c:v>-1</c:v>
                </c:pt>
                <c:pt idx="1354">
                  <c:v>-1</c:v>
                </c:pt>
                <c:pt idx="1355">
                  <c:v>-1</c:v>
                </c:pt>
                <c:pt idx="1356">
                  <c:v>-1</c:v>
                </c:pt>
                <c:pt idx="1357">
                  <c:v>-1</c:v>
                </c:pt>
                <c:pt idx="1358">
                  <c:v>-1</c:v>
                </c:pt>
                <c:pt idx="1359">
                  <c:v>-1</c:v>
                </c:pt>
                <c:pt idx="1360">
                  <c:v>-1</c:v>
                </c:pt>
                <c:pt idx="1361">
                  <c:v>-1</c:v>
                </c:pt>
                <c:pt idx="1362">
                  <c:v>-1</c:v>
                </c:pt>
                <c:pt idx="1363">
                  <c:v>-1</c:v>
                </c:pt>
                <c:pt idx="1364">
                  <c:v>-1</c:v>
                </c:pt>
                <c:pt idx="1365">
                  <c:v>-1</c:v>
                </c:pt>
                <c:pt idx="1366">
                  <c:v>-1</c:v>
                </c:pt>
                <c:pt idx="1367">
                  <c:v>-1</c:v>
                </c:pt>
                <c:pt idx="1368">
                  <c:v>-1</c:v>
                </c:pt>
                <c:pt idx="1369">
                  <c:v>-1</c:v>
                </c:pt>
                <c:pt idx="1370">
                  <c:v>-1</c:v>
                </c:pt>
                <c:pt idx="1371">
                  <c:v>-1</c:v>
                </c:pt>
                <c:pt idx="1372">
                  <c:v>-1</c:v>
                </c:pt>
                <c:pt idx="1373">
                  <c:v>-1</c:v>
                </c:pt>
                <c:pt idx="1374">
                  <c:v>-1</c:v>
                </c:pt>
                <c:pt idx="1375">
                  <c:v>-1</c:v>
                </c:pt>
                <c:pt idx="1376">
                  <c:v>-1</c:v>
                </c:pt>
                <c:pt idx="1377">
                  <c:v>-1</c:v>
                </c:pt>
                <c:pt idx="1378">
                  <c:v>-1</c:v>
                </c:pt>
                <c:pt idx="1379">
                  <c:v>-1</c:v>
                </c:pt>
                <c:pt idx="1380">
                  <c:v>-1</c:v>
                </c:pt>
                <c:pt idx="1381">
                  <c:v>-1</c:v>
                </c:pt>
                <c:pt idx="1382">
                  <c:v>-1</c:v>
                </c:pt>
                <c:pt idx="1383">
                  <c:v>-1</c:v>
                </c:pt>
                <c:pt idx="1384">
                  <c:v>-1</c:v>
                </c:pt>
                <c:pt idx="1385">
                  <c:v>-1</c:v>
                </c:pt>
                <c:pt idx="1386">
                  <c:v>-1</c:v>
                </c:pt>
                <c:pt idx="1387">
                  <c:v>-1</c:v>
                </c:pt>
                <c:pt idx="1388">
                  <c:v>-1</c:v>
                </c:pt>
                <c:pt idx="1389">
                  <c:v>-1</c:v>
                </c:pt>
                <c:pt idx="1390">
                  <c:v>-1</c:v>
                </c:pt>
                <c:pt idx="1391">
                  <c:v>-1</c:v>
                </c:pt>
                <c:pt idx="1392">
                  <c:v>-1</c:v>
                </c:pt>
                <c:pt idx="1393">
                  <c:v>-1</c:v>
                </c:pt>
                <c:pt idx="1394">
                  <c:v>-1</c:v>
                </c:pt>
                <c:pt idx="1395">
                  <c:v>-1</c:v>
                </c:pt>
                <c:pt idx="1396">
                  <c:v>-1</c:v>
                </c:pt>
                <c:pt idx="1397">
                  <c:v>-1</c:v>
                </c:pt>
                <c:pt idx="1398">
                  <c:v>-1</c:v>
                </c:pt>
                <c:pt idx="1399">
                  <c:v>-1</c:v>
                </c:pt>
                <c:pt idx="1400">
                  <c:v>-1</c:v>
                </c:pt>
                <c:pt idx="1401">
                  <c:v>-1</c:v>
                </c:pt>
                <c:pt idx="1402">
                  <c:v>-1</c:v>
                </c:pt>
                <c:pt idx="1403">
                  <c:v>-1</c:v>
                </c:pt>
                <c:pt idx="1404">
                  <c:v>-1</c:v>
                </c:pt>
                <c:pt idx="1405">
                  <c:v>-1</c:v>
                </c:pt>
                <c:pt idx="1406">
                  <c:v>-1</c:v>
                </c:pt>
                <c:pt idx="1407">
                  <c:v>-1</c:v>
                </c:pt>
                <c:pt idx="1408">
                  <c:v>-1</c:v>
                </c:pt>
                <c:pt idx="1409">
                  <c:v>-1</c:v>
                </c:pt>
                <c:pt idx="1410">
                  <c:v>-1</c:v>
                </c:pt>
                <c:pt idx="1411">
                  <c:v>-1</c:v>
                </c:pt>
                <c:pt idx="1412">
                  <c:v>-1</c:v>
                </c:pt>
                <c:pt idx="1413">
                  <c:v>-1</c:v>
                </c:pt>
                <c:pt idx="1414">
                  <c:v>-1</c:v>
                </c:pt>
                <c:pt idx="1415">
                  <c:v>-1</c:v>
                </c:pt>
                <c:pt idx="1416">
                  <c:v>-1</c:v>
                </c:pt>
                <c:pt idx="1417">
                  <c:v>-1</c:v>
                </c:pt>
                <c:pt idx="1418">
                  <c:v>-1</c:v>
                </c:pt>
                <c:pt idx="1419">
                  <c:v>-1</c:v>
                </c:pt>
                <c:pt idx="1420">
                  <c:v>-1</c:v>
                </c:pt>
                <c:pt idx="1421">
                  <c:v>-1</c:v>
                </c:pt>
                <c:pt idx="1422">
                  <c:v>-1</c:v>
                </c:pt>
                <c:pt idx="1423">
                  <c:v>-1</c:v>
                </c:pt>
                <c:pt idx="1424">
                  <c:v>-1</c:v>
                </c:pt>
                <c:pt idx="1425">
                  <c:v>-1</c:v>
                </c:pt>
                <c:pt idx="1426">
                  <c:v>-1</c:v>
                </c:pt>
                <c:pt idx="1427">
                  <c:v>-1</c:v>
                </c:pt>
                <c:pt idx="1428">
                  <c:v>-1</c:v>
                </c:pt>
                <c:pt idx="1429">
                  <c:v>-1</c:v>
                </c:pt>
                <c:pt idx="1430">
                  <c:v>-1</c:v>
                </c:pt>
                <c:pt idx="1431">
                  <c:v>-1</c:v>
                </c:pt>
                <c:pt idx="1432">
                  <c:v>-1</c:v>
                </c:pt>
                <c:pt idx="1433">
                  <c:v>-1</c:v>
                </c:pt>
                <c:pt idx="1434">
                  <c:v>-1</c:v>
                </c:pt>
                <c:pt idx="1435">
                  <c:v>-1</c:v>
                </c:pt>
                <c:pt idx="1436">
                  <c:v>-1</c:v>
                </c:pt>
                <c:pt idx="1437">
                  <c:v>-1</c:v>
                </c:pt>
                <c:pt idx="1438">
                  <c:v>-1</c:v>
                </c:pt>
                <c:pt idx="1439">
                  <c:v>-1</c:v>
                </c:pt>
                <c:pt idx="1440">
                  <c:v>-1</c:v>
                </c:pt>
                <c:pt idx="1441">
                  <c:v>-1</c:v>
                </c:pt>
                <c:pt idx="1442">
                  <c:v>-1</c:v>
                </c:pt>
                <c:pt idx="1443">
                  <c:v>-1</c:v>
                </c:pt>
                <c:pt idx="1444">
                  <c:v>-1</c:v>
                </c:pt>
                <c:pt idx="1445">
                  <c:v>-1</c:v>
                </c:pt>
                <c:pt idx="1446">
                  <c:v>-1</c:v>
                </c:pt>
                <c:pt idx="1447">
                  <c:v>-1</c:v>
                </c:pt>
                <c:pt idx="1448">
                  <c:v>-1</c:v>
                </c:pt>
                <c:pt idx="1449">
                  <c:v>-1</c:v>
                </c:pt>
                <c:pt idx="1450">
                  <c:v>-1</c:v>
                </c:pt>
                <c:pt idx="1451">
                  <c:v>-1</c:v>
                </c:pt>
                <c:pt idx="1452">
                  <c:v>-1</c:v>
                </c:pt>
                <c:pt idx="1453">
                  <c:v>-1</c:v>
                </c:pt>
                <c:pt idx="1454">
                  <c:v>-1</c:v>
                </c:pt>
                <c:pt idx="1455">
                  <c:v>-1</c:v>
                </c:pt>
                <c:pt idx="1456">
                  <c:v>-1</c:v>
                </c:pt>
                <c:pt idx="1457">
                  <c:v>-1</c:v>
                </c:pt>
                <c:pt idx="1458">
                  <c:v>-1</c:v>
                </c:pt>
                <c:pt idx="1459">
                  <c:v>-1</c:v>
                </c:pt>
                <c:pt idx="1460">
                  <c:v>-1</c:v>
                </c:pt>
                <c:pt idx="1461">
                  <c:v>-1</c:v>
                </c:pt>
                <c:pt idx="1462">
                  <c:v>-1</c:v>
                </c:pt>
                <c:pt idx="1463">
                  <c:v>-1</c:v>
                </c:pt>
                <c:pt idx="1464">
                  <c:v>-1</c:v>
                </c:pt>
                <c:pt idx="1465">
                  <c:v>-1</c:v>
                </c:pt>
                <c:pt idx="1466">
                  <c:v>-1</c:v>
                </c:pt>
                <c:pt idx="1467">
                  <c:v>-1</c:v>
                </c:pt>
                <c:pt idx="1468">
                  <c:v>-1</c:v>
                </c:pt>
                <c:pt idx="1469">
                  <c:v>-1</c:v>
                </c:pt>
                <c:pt idx="1470">
                  <c:v>-1</c:v>
                </c:pt>
                <c:pt idx="1471">
                  <c:v>-1</c:v>
                </c:pt>
                <c:pt idx="1472">
                  <c:v>-1</c:v>
                </c:pt>
                <c:pt idx="1473">
                  <c:v>-1</c:v>
                </c:pt>
                <c:pt idx="1474">
                  <c:v>-1</c:v>
                </c:pt>
                <c:pt idx="1475">
                  <c:v>-1</c:v>
                </c:pt>
                <c:pt idx="1476">
                  <c:v>-1</c:v>
                </c:pt>
                <c:pt idx="1477">
                  <c:v>-1</c:v>
                </c:pt>
                <c:pt idx="1478">
                  <c:v>-1</c:v>
                </c:pt>
                <c:pt idx="1479">
                  <c:v>-1</c:v>
                </c:pt>
                <c:pt idx="1480">
                  <c:v>-1</c:v>
                </c:pt>
                <c:pt idx="1481">
                  <c:v>-1</c:v>
                </c:pt>
                <c:pt idx="1482">
                  <c:v>-1</c:v>
                </c:pt>
                <c:pt idx="1483">
                  <c:v>-1</c:v>
                </c:pt>
                <c:pt idx="1484">
                  <c:v>-1</c:v>
                </c:pt>
                <c:pt idx="1485">
                  <c:v>-1</c:v>
                </c:pt>
                <c:pt idx="1486">
                  <c:v>-1</c:v>
                </c:pt>
                <c:pt idx="1487">
                  <c:v>-1</c:v>
                </c:pt>
                <c:pt idx="1488">
                  <c:v>-1</c:v>
                </c:pt>
                <c:pt idx="1489">
                  <c:v>-1</c:v>
                </c:pt>
                <c:pt idx="1490">
                  <c:v>-1</c:v>
                </c:pt>
                <c:pt idx="1491">
                  <c:v>-1</c:v>
                </c:pt>
                <c:pt idx="1492">
                  <c:v>-1</c:v>
                </c:pt>
                <c:pt idx="1493">
                  <c:v>-1</c:v>
                </c:pt>
                <c:pt idx="1494">
                  <c:v>-1</c:v>
                </c:pt>
                <c:pt idx="1495">
                  <c:v>-1</c:v>
                </c:pt>
                <c:pt idx="1496">
                  <c:v>-1</c:v>
                </c:pt>
                <c:pt idx="1497">
                  <c:v>-1</c:v>
                </c:pt>
                <c:pt idx="1498">
                  <c:v>-1</c:v>
                </c:pt>
                <c:pt idx="1499">
                  <c:v>-1</c:v>
                </c:pt>
                <c:pt idx="1500">
                  <c:v>-1</c:v>
                </c:pt>
                <c:pt idx="1501">
                  <c:v>-1</c:v>
                </c:pt>
                <c:pt idx="1502">
                  <c:v>-1</c:v>
                </c:pt>
                <c:pt idx="1503">
                  <c:v>-1</c:v>
                </c:pt>
                <c:pt idx="1504">
                  <c:v>-1</c:v>
                </c:pt>
                <c:pt idx="1505">
                  <c:v>-1</c:v>
                </c:pt>
                <c:pt idx="1506">
                  <c:v>-1</c:v>
                </c:pt>
                <c:pt idx="1507">
                  <c:v>-1</c:v>
                </c:pt>
                <c:pt idx="1508">
                  <c:v>-1</c:v>
                </c:pt>
                <c:pt idx="1509">
                  <c:v>-1</c:v>
                </c:pt>
                <c:pt idx="1510">
                  <c:v>-1</c:v>
                </c:pt>
                <c:pt idx="1511">
                  <c:v>-1</c:v>
                </c:pt>
                <c:pt idx="1512">
                  <c:v>-1</c:v>
                </c:pt>
                <c:pt idx="1513">
                  <c:v>-1</c:v>
                </c:pt>
                <c:pt idx="1514">
                  <c:v>-1</c:v>
                </c:pt>
                <c:pt idx="1515">
                  <c:v>-1</c:v>
                </c:pt>
                <c:pt idx="1516">
                  <c:v>-1</c:v>
                </c:pt>
                <c:pt idx="1517">
                  <c:v>-1</c:v>
                </c:pt>
                <c:pt idx="1518">
                  <c:v>-1</c:v>
                </c:pt>
                <c:pt idx="1519">
                  <c:v>-1</c:v>
                </c:pt>
                <c:pt idx="1520">
                  <c:v>-1</c:v>
                </c:pt>
                <c:pt idx="1521">
                  <c:v>-1</c:v>
                </c:pt>
                <c:pt idx="1522">
                  <c:v>-1</c:v>
                </c:pt>
                <c:pt idx="1523">
                  <c:v>-1</c:v>
                </c:pt>
                <c:pt idx="1524">
                  <c:v>-1</c:v>
                </c:pt>
                <c:pt idx="1525">
                  <c:v>-1</c:v>
                </c:pt>
                <c:pt idx="1526">
                  <c:v>-1</c:v>
                </c:pt>
                <c:pt idx="1527">
                  <c:v>-1</c:v>
                </c:pt>
                <c:pt idx="1528">
                  <c:v>-1</c:v>
                </c:pt>
                <c:pt idx="1529">
                  <c:v>-1</c:v>
                </c:pt>
                <c:pt idx="1530">
                  <c:v>-1</c:v>
                </c:pt>
                <c:pt idx="1531">
                  <c:v>-1</c:v>
                </c:pt>
                <c:pt idx="1532">
                  <c:v>-1</c:v>
                </c:pt>
                <c:pt idx="1533">
                  <c:v>-1</c:v>
                </c:pt>
                <c:pt idx="1534">
                  <c:v>-1</c:v>
                </c:pt>
                <c:pt idx="1535">
                  <c:v>-1</c:v>
                </c:pt>
                <c:pt idx="1536">
                  <c:v>-1</c:v>
                </c:pt>
                <c:pt idx="1537">
                  <c:v>-1</c:v>
                </c:pt>
                <c:pt idx="1538">
                  <c:v>-1</c:v>
                </c:pt>
                <c:pt idx="1539">
                  <c:v>-1</c:v>
                </c:pt>
                <c:pt idx="1540">
                  <c:v>-1</c:v>
                </c:pt>
                <c:pt idx="1541">
                  <c:v>-1</c:v>
                </c:pt>
                <c:pt idx="1542">
                  <c:v>-1</c:v>
                </c:pt>
                <c:pt idx="1543">
                  <c:v>-1</c:v>
                </c:pt>
                <c:pt idx="1544">
                  <c:v>-1</c:v>
                </c:pt>
                <c:pt idx="1545">
                  <c:v>-1</c:v>
                </c:pt>
                <c:pt idx="1546">
                  <c:v>-1</c:v>
                </c:pt>
                <c:pt idx="1547">
                  <c:v>-1</c:v>
                </c:pt>
                <c:pt idx="1548">
                  <c:v>-1</c:v>
                </c:pt>
                <c:pt idx="1549">
                  <c:v>-1</c:v>
                </c:pt>
                <c:pt idx="1550">
                  <c:v>-1</c:v>
                </c:pt>
                <c:pt idx="1551">
                  <c:v>-1</c:v>
                </c:pt>
                <c:pt idx="1552">
                  <c:v>-1</c:v>
                </c:pt>
                <c:pt idx="1553">
                  <c:v>-1</c:v>
                </c:pt>
                <c:pt idx="1554">
                  <c:v>-1</c:v>
                </c:pt>
                <c:pt idx="1555">
                  <c:v>-1</c:v>
                </c:pt>
                <c:pt idx="1556">
                  <c:v>-1</c:v>
                </c:pt>
                <c:pt idx="1557">
                  <c:v>-1</c:v>
                </c:pt>
                <c:pt idx="1558">
                  <c:v>-1</c:v>
                </c:pt>
                <c:pt idx="1559">
                  <c:v>-1</c:v>
                </c:pt>
                <c:pt idx="1560">
                  <c:v>-1</c:v>
                </c:pt>
                <c:pt idx="1561">
                  <c:v>-1</c:v>
                </c:pt>
                <c:pt idx="1562">
                  <c:v>-1</c:v>
                </c:pt>
                <c:pt idx="1563">
                  <c:v>-1</c:v>
                </c:pt>
                <c:pt idx="1564">
                  <c:v>-1</c:v>
                </c:pt>
                <c:pt idx="1565">
                  <c:v>-1</c:v>
                </c:pt>
                <c:pt idx="1566">
                  <c:v>-1</c:v>
                </c:pt>
                <c:pt idx="1567">
                  <c:v>-1</c:v>
                </c:pt>
                <c:pt idx="1568">
                  <c:v>-1</c:v>
                </c:pt>
                <c:pt idx="1569">
                  <c:v>-1</c:v>
                </c:pt>
                <c:pt idx="1570">
                  <c:v>-1</c:v>
                </c:pt>
                <c:pt idx="1571">
                  <c:v>-1</c:v>
                </c:pt>
                <c:pt idx="1572">
                  <c:v>-1</c:v>
                </c:pt>
                <c:pt idx="1573">
                  <c:v>-1</c:v>
                </c:pt>
                <c:pt idx="1574">
                  <c:v>-1</c:v>
                </c:pt>
                <c:pt idx="1575">
                  <c:v>-1</c:v>
                </c:pt>
                <c:pt idx="1576">
                  <c:v>-1</c:v>
                </c:pt>
                <c:pt idx="1577">
                  <c:v>-1</c:v>
                </c:pt>
                <c:pt idx="1578">
                  <c:v>-1</c:v>
                </c:pt>
                <c:pt idx="1579">
                  <c:v>-1</c:v>
                </c:pt>
                <c:pt idx="1580">
                  <c:v>-1</c:v>
                </c:pt>
                <c:pt idx="1581">
                  <c:v>-1</c:v>
                </c:pt>
                <c:pt idx="1582">
                  <c:v>-1</c:v>
                </c:pt>
                <c:pt idx="1583">
                  <c:v>-1</c:v>
                </c:pt>
                <c:pt idx="1584">
                  <c:v>-1</c:v>
                </c:pt>
                <c:pt idx="1585">
                  <c:v>-1</c:v>
                </c:pt>
                <c:pt idx="1586">
                  <c:v>-1</c:v>
                </c:pt>
                <c:pt idx="1587">
                  <c:v>-1</c:v>
                </c:pt>
                <c:pt idx="1588">
                  <c:v>-1</c:v>
                </c:pt>
                <c:pt idx="1589">
                  <c:v>-1</c:v>
                </c:pt>
                <c:pt idx="1590">
                  <c:v>-1</c:v>
                </c:pt>
                <c:pt idx="1591">
                  <c:v>-1</c:v>
                </c:pt>
                <c:pt idx="1592">
                  <c:v>-1</c:v>
                </c:pt>
                <c:pt idx="1593">
                  <c:v>-1</c:v>
                </c:pt>
                <c:pt idx="1594">
                  <c:v>-1</c:v>
                </c:pt>
                <c:pt idx="1595">
                  <c:v>-1</c:v>
                </c:pt>
                <c:pt idx="1596">
                  <c:v>-1</c:v>
                </c:pt>
                <c:pt idx="1597">
                  <c:v>-1</c:v>
                </c:pt>
                <c:pt idx="1598">
                  <c:v>-1</c:v>
                </c:pt>
                <c:pt idx="1599">
                  <c:v>-1</c:v>
                </c:pt>
                <c:pt idx="1600">
                  <c:v>-1</c:v>
                </c:pt>
                <c:pt idx="1601">
                  <c:v>-1</c:v>
                </c:pt>
                <c:pt idx="1602">
                  <c:v>-1</c:v>
                </c:pt>
                <c:pt idx="1603">
                  <c:v>-1</c:v>
                </c:pt>
                <c:pt idx="1604">
                  <c:v>-1</c:v>
                </c:pt>
                <c:pt idx="1605">
                  <c:v>-1</c:v>
                </c:pt>
                <c:pt idx="1606">
                  <c:v>-1</c:v>
                </c:pt>
                <c:pt idx="1607">
                  <c:v>-1</c:v>
                </c:pt>
                <c:pt idx="1608">
                  <c:v>-1</c:v>
                </c:pt>
                <c:pt idx="1609">
                  <c:v>-1</c:v>
                </c:pt>
                <c:pt idx="1610">
                  <c:v>-1</c:v>
                </c:pt>
                <c:pt idx="1611">
                  <c:v>-1</c:v>
                </c:pt>
                <c:pt idx="1612">
                  <c:v>-1</c:v>
                </c:pt>
                <c:pt idx="1613">
                  <c:v>-1</c:v>
                </c:pt>
                <c:pt idx="1614">
                  <c:v>-1</c:v>
                </c:pt>
                <c:pt idx="1615">
                  <c:v>-1</c:v>
                </c:pt>
                <c:pt idx="1616">
                  <c:v>-1</c:v>
                </c:pt>
                <c:pt idx="1617">
                  <c:v>-1</c:v>
                </c:pt>
                <c:pt idx="1618">
                  <c:v>-1</c:v>
                </c:pt>
                <c:pt idx="1619">
                  <c:v>-1</c:v>
                </c:pt>
                <c:pt idx="1620">
                  <c:v>-1</c:v>
                </c:pt>
                <c:pt idx="1621">
                  <c:v>-1</c:v>
                </c:pt>
                <c:pt idx="1622">
                  <c:v>-1</c:v>
                </c:pt>
                <c:pt idx="1623">
                  <c:v>-1</c:v>
                </c:pt>
                <c:pt idx="1624">
                  <c:v>-1</c:v>
                </c:pt>
                <c:pt idx="1625">
                  <c:v>-1</c:v>
                </c:pt>
                <c:pt idx="1626">
                  <c:v>-1</c:v>
                </c:pt>
                <c:pt idx="1627">
                  <c:v>-1</c:v>
                </c:pt>
                <c:pt idx="1628">
                  <c:v>-1</c:v>
                </c:pt>
                <c:pt idx="1629">
                  <c:v>-1</c:v>
                </c:pt>
                <c:pt idx="1630">
                  <c:v>-1</c:v>
                </c:pt>
                <c:pt idx="1631">
                  <c:v>-1</c:v>
                </c:pt>
                <c:pt idx="1632">
                  <c:v>-1</c:v>
                </c:pt>
                <c:pt idx="1633">
                  <c:v>-1</c:v>
                </c:pt>
                <c:pt idx="1634">
                  <c:v>-1</c:v>
                </c:pt>
                <c:pt idx="1635">
                  <c:v>-1</c:v>
                </c:pt>
                <c:pt idx="1636">
                  <c:v>-1</c:v>
                </c:pt>
                <c:pt idx="1637">
                  <c:v>-1</c:v>
                </c:pt>
                <c:pt idx="1638">
                  <c:v>-1</c:v>
                </c:pt>
                <c:pt idx="1639">
                  <c:v>-1</c:v>
                </c:pt>
                <c:pt idx="1640">
                  <c:v>-1</c:v>
                </c:pt>
                <c:pt idx="1641">
                  <c:v>-1</c:v>
                </c:pt>
                <c:pt idx="1642">
                  <c:v>-1</c:v>
                </c:pt>
                <c:pt idx="1643">
                  <c:v>-1</c:v>
                </c:pt>
                <c:pt idx="1644">
                  <c:v>-1</c:v>
                </c:pt>
                <c:pt idx="1645">
                  <c:v>-1</c:v>
                </c:pt>
                <c:pt idx="1646">
                  <c:v>-1</c:v>
                </c:pt>
                <c:pt idx="1647">
                  <c:v>-1</c:v>
                </c:pt>
                <c:pt idx="1648">
                  <c:v>-1</c:v>
                </c:pt>
                <c:pt idx="1649">
                  <c:v>-1</c:v>
                </c:pt>
                <c:pt idx="1650">
                  <c:v>-1</c:v>
                </c:pt>
                <c:pt idx="1651">
                  <c:v>-1</c:v>
                </c:pt>
                <c:pt idx="1652">
                  <c:v>-1</c:v>
                </c:pt>
                <c:pt idx="1653">
                  <c:v>1.5328156319999999</c:v>
                </c:pt>
                <c:pt idx="1654">
                  <c:v>3.0378256170000002</c:v>
                </c:pt>
                <c:pt idx="1655">
                  <c:v>3.510771509</c:v>
                </c:pt>
                <c:pt idx="1656">
                  <c:v>5</c:v>
                </c:pt>
                <c:pt idx="1657">
                  <c:v>33</c:v>
                </c:pt>
                <c:pt idx="1658">
                  <c:v>33.496151220000002</c:v>
                </c:pt>
                <c:pt idx="1659">
                  <c:v>33.99605734</c:v>
                </c:pt>
                <c:pt idx="1660">
                  <c:v>34.69522499</c:v>
                </c:pt>
                <c:pt idx="1661">
                  <c:v>35.539082559999997</c:v>
                </c:pt>
                <c:pt idx="1662">
                  <c:v>37</c:v>
                </c:pt>
                <c:pt idx="1663">
                  <c:v>49</c:v>
                </c:pt>
                <c:pt idx="1664">
                  <c:v>49.399500150000001</c:v>
                </c:pt>
                <c:pt idx="1665">
                  <c:v>50.210697340000003</c:v>
                </c:pt>
                <c:pt idx="1666">
                  <c:v>50.600599870000003</c:v>
                </c:pt>
                <c:pt idx="1667">
                  <c:v>51.39620094</c:v>
                </c:pt>
                <c:pt idx="1668">
                  <c:v>51.798700320000002</c:v>
                </c:pt>
                <c:pt idx="1669">
                  <c:v>52.213796539999997</c:v>
                </c:pt>
                <c:pt idx="1670">
                  <c:v>52.603699079999998</c:v>
                </c:pt>
                <c:pt idx="1671">
                  <c:v>53.000000020000002</c:v>
                </c:pt>
                <c:pt idx="1672">
                  <c:v>53.399300189999998</c:v>
                </c:pt>
                <c:pt idx="1673">
                  <c:v>53.80179957</c:v>
                </c:pt>
                <c:pt idx="1674">
                  <c:v>54.19510125</c:v>
                </c:pt>
                <c:pt idx="1675">
                  <c:v>54.999900019999998</c:v>
                </c:pt>
                <c:pt idx="1676">
                  <c:v>55.39940017</c:v>
                </c:pt>
                <c:pt idx="1677">
                  <c:v>56.195001240000003</c:v>
                </c:pt>
                <c:pt idx="1678">
                  <c:v>56.597500619999998</c:v>
                </c:pt>
                <c:pt idx="1679">
                  <c:v>56.600499890000002</c:v>
                </c:pt>
                <c:pt idx="1680">
                  <c:v>57</c:v>
                </c:pt>
                <c:pt idx="1681">
                  <c:v>66</c:v>
                </c:pt>
                <c:pt idx="1682">
                  <c:v>66</c:v>
                </c:pt>
                <c:pt idx="1683">
                  <c:v>66</c:v>
                </c:pt>
                <c:pt idx="1684">
                  <c:v>66</c:v>
                </c:pt>
                <c:pt idx="1685">
                  <c:v>66</c:v>
                </c:pt>
                <c:pt idx="1686">
                  <c:v>66</c:v>
                </c:pt>
                <c:pt idx="1687">
                  <c:v>66</c:v>
                </c:pt>
                <c:pt idx="1688">
                  <c:v>66</c:v>
                </c:pt>
                <c:pt idx="1689">
                  <c:v>66</c:v>
                </c:pt>
                <c:pt idx="1690">
                  <c:v>66</c:v>
                </c:pt>
                <c:pt idx="1691">
                  <c:v>66</c:v>
                </c:pt>
                <c:pt idx="1692">
                  <c:v>66</c:v>
                </c:pt>
                <c:pt idx="1693">
                  <c:v>66</c:v>
                </c:pt>
                <c:pt idx="1694">
                  <c:v>66</c:v>
                </c:pt>
                <c:pt idx="1695">
                  <c:v>66</c:v>
                </c:pt>
                <c:pt idx="1696">
                  <c:v>66</c:v>
                </c:pt>
                <c:pt idx="1697">
                  <c:v>66</c:v>
                </c:pt>
                <c:pt idx="1698">
                  <c:v>66</c:v>
                </c:pt>
                <c:pt idx="1699">
                  <c:v>66</c:v>
                </c:pt>
                <c:pt idx="1700">
                  <c:v>66</c:v>
                </c:pt>
                <c:pt idx="1701">
                  <c:v>66</c:v>
                </c:pt>
                <c:pt idx="1702">
                  <c:v>66</c:v>
                </c:pt>
                <c:pt idx="1703">
                  <c:v>66</c:v>
                </c:pt>
                <c:pt idx="1704">
                  <c:v>66</c:v>
                </c:pt>
                <c:pt idx="1705">
                  <c:v>66</c:v>
                </c:pt>
                <c:pt idx="1706">
                  <c:v>66</c:v>
                </c:pt>
                <c:pt idx="1707">
                  <c:v>66</c:v>
                </c:pt>
                <c:pt idx="1708">
                  <c:v>66</c:v>
                </c:pt>
                <c:pt idx="1709">
                  <c:v>66</c:v>
                </c:pt>
                <c:pt idx="1710">
                  <c:v>66</c:v>
                </c:pt>
                <c:pt idx="1711">
                  <c:v>66</c:v>
                </c:pt>
                <c:pt idx="1712">
                  <c:v>66</c:v>
                </c:pt>
                <c:pt idx="1713">
                  <c:v>66</c:v>
                </c:pt>
                <c:pt idx="1714">
                  <c:v>66</c:v>
                </c:pt>
                <c:pt idx="1715">
                  <c:v>66</c:v>
                </c:pt>
                <c:pt idx="1716">
                  <c:v>66</c:v>
                </c:pt>
                <c:pt idx="1717">
                  <c:v>64.328905849999998</c:v>
                </c:pt>
                <c:pt idx="1718">
                  <c:v>61</c:v>
                </c:pt>
                <c:pt idx="1719">
                  <c:v>56.60299157</c:v>
                </c:pt>
                <c:pt idx="1720">
                  <c:v>46.192535059999997</c:v>
                </c:pt>
                <c:pt idx="1721">
                  <c:v>16.57760519</c:v>
                </c:pt>
                <c:pt idx="1722">
                  <c:v>2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4.0015998670000004</c:v>
                </c:pt>
                <c:pt idx="1727">
                  <c:v>5</c:v>
                </c:pt>
                <c:pt idx="1728">
                  <c:v>14.235430920000001</c:v>
                </c:pt>
                <c:pt idx="1729">
                  <c:v>23.545454070000002</c:v>
                </c:pt>
                <c:pt idx="1730">
                  <c:v>33</c:v>
                </c:pt>
                <c:pt idx="1731">
                  <c:v>33</c:v>
                </c:pt>
                <c:pt idx="1732">
                  <c:v>33</c:v>
                </c:pt>
                <c:pt idx="1733">
                  <c:v>33</c:v>
                </c:pt>
                <c:pt idx="1734">
                  <c:v>33</c:v>
                </c:pt>
                <c:pt idx="1735">
                  <c:v>33</c:v>
                </c:pt>
                <c:pt idx="1736">
                  <c:v>33</c:v>
                </c:pt>
                <c:pt idx="1737">
                  <c:v>33</c:v>
                </c:pt>
                <c:pt idx="1738">
                  <c:v>33</c:v>
                </c:pt>
                <c:pt idx="1739">
                  <c:v>33</c:v>
                </c:pt>
                <c:pt idx="1740">
                  <c:v>33</c:v>
                </c:pt>
                <c:pt idx="1741">
                  <c:v>33</c:v>
                </c:pt>
                <c:pt idx="1742">
                  <c:v>33</c:v>
                </c:pt>
                <c:pt idx="1743">
                  <c:v>33</c:v>
                </c:pt>
                <c:pt idx="1744">
                  <c:v>33</c:v>
                </c:pt>
                <c:pt idx="1745">
                  <c:v>33</c:v>
                </c:pt>
                <c:pt idx="1746">
                  <c:v>33</c:v>
                </c:pt>
                <c:pt idx="1747">
                  <c:v>33</c:v>
                </c:pt>
                <c:pt idx="1748">
                  <c:v>33</c:v>
                </c:pt>
                <c:pt idx="1749">
                  <c:v>33</c:v>
                </c:pt>
                <c:pt idx="1750">
                  <c:v>33</c:v>
                </c:pt>
                <c:pt idx="1751">
                  <c:v>33</c:v>
                </c:pt>
                <c:pt idx="1752">
                  <c:v>33</c:v>
                </c:pt>
                <c:pt idx="1753">
                  <c:v>33</c:v>
                </c:pt>
                <c:pt idx="1754">
                  <c:v>33</c:v>
                </c:pt>
                <c:pt idx="1755">
                  <c:v>33</c:v>
                </c:pt>
                <c:pt idx="1756">
                  <c:v>33</c:v>
                </c:pt>
                <c:pt idx="1757">
                  <c:v>33</c:v>
                </c:pt>
                <c:pt idx="1758">
                  <c:v>33</c:v>
                </c:pt>
                <c:pt idx="1759">
                  <c:v>33</c:v>
                </c:pt>
                <c:pt idx="1760">
                  <c:v>33</c:v>
                </c:pt>
                <c:pt idx="1761">
                  <c:v>33</c:v>
                </c:pt>
                <c:pt idx="1762">
                  <c:v>33</c:v>
                </c:pt>
                <c:pt idx="1763">
                  <c:v>33</c:v>
                </c:pt>
                <c:pt idx="1764">
                  <c:v>33</c:v>
                </c:pt>
                <c:pt idx="1765">
                  <c:v>33</c:v>
                </c:pt>
                <c:pt idx="1766">
                  <c:v>33</c:v>
                </c:pt>
                <c:pt idx="1767">
                  <c:v>33</c:v>
                </c:pt>
                <c:pt idx="1768">
                  <c:v>33</c:v>
                </c:pt>
                <c:pt idx="1769">
                  <c:v>33</c:v>
                </c:pt>
                <c:pt idx="1770">
                  <c:v>33</c:v>
                </c:pt>
                <c:pt idx="1771">
                  <c:v>33</c:v>
                </c:pt>
                <c:pt idx="1772">
                  <c:v>33</c:v>
                </c:pt>
                <c:pt idx="1773">
                  <c:v>33</c:v>
                </c:pt>
                <c:pt idx="1774">
                  <c:v>33</c:v>
                </c:pt>
                <c:pt idx="1775">
                  <c:v>33</c:v>
                </c:pt>
                <c:pt idx="1776">
                  <c:v>33</c:v>
                </c:pt>
                <c:pt idx="1777">
                  <c:v>33</c:v>
                </c:pt>
                <c:pt idx="1778">
                  <c:v>33</c:v>
                </c:pt>
                <c:pt idx="1779">
                  <c:v>33</c:v>
                </c:pt>
                <c:pt idx="1780">
                  <c:v>33</c:v>
                </c:pt>
                <c:pt idx="1781">
                  <c:v>33</c:v>
                </c:pt>
                <c:pt idx="1782">
                  <c:v>33</c:v>
                </c:pt>
                <c:pt idx="1783">
                  <c:v>33</c:v>
                </c:pt>
                <c:pt idx="1784">
                  <c:v>33</c:v>
                </c:pt>
                <c:pt idx="1785">
                  <c:v>33</c:v>
                </c:pt>
                <c:pt idx="1786">
                  <c:v>33</c:v>
                </c:pt>
                <c:pt idx="1787">
                  <c:v>33</c:v>
                </c:pt>
                <c:pt idx="1788">
                  <c:v>33</c:v>
                </c:pt>
                <c:pt idx="1789">
                  <c:v>33</c:v>
                </c:pt>
                <c:pt idx="1790">
                  <c:v>33</c:v>
                </c:pt>
                <c:pt idx="1791">
                  <c:v>33</c:v>
                </c:pt>
                <c:pt idx="1792">
                  <c:v>33</c:v>
                </c:pt>
                <c:pt idx="1793">
                  <c:v>33</c:v>
                </c:pt>
                <c:pt idx="1794">
                  <c:v>33</c:v>
                </c:pt>
                <c:pt idx="1795">
                  <c:v>33</c:v>
                </c:pt>
                <c:pt idx="1796">
                  <c:v>33</c:v>
                </c:pt>
                <c:pt idx="1797">
                  <c:v>33</c:v>
                </c:pt>
                <c:pt idx="1798">
                  <c:v>33</c:v>
                </c:pt>
                <c:pt idx="1799">
                  <c:v>33</c:v>
                </c:pt>
                <c:pt idx="1800">
                  <c:v>33</c:v>
                </c:pt>
                <c:pt idx="1801">
                  <c:v>33</c:v>
                </c:pt>
                <c:pt idx="1802">
                  <c:v>33</c:v>
                </c:pt>
                <c:pt idx="1803">
                  <c:v>33</c:v>
                </c:pt>
                <c:pt idx="1804">
                  <c:v>33</c:v>
                </c:pt>
                <c:pt idx="1805">
                  <c:v>33</c:v>
                </c:pt>
                <c:pt idx="1806">
                  <c:v>33</c:v>
                </c:pt>
                <c:pt idx="1807">
                  <c:v>33</c:v>
                </c:pt>
                <c:pt idx="1808">
                  <c:v>33</c:v>
                </c:pt>
                <c:pt idx="1809">
                  <c:v>33</c:v>
                </c:pt>
                <c:pt idx="1810">
                  <c:v>33</c:v>
                </c:pt>
                <c:pt idx="1811">
                  <c:v>33</c:v>
                </c:pt>
                <c:pt idx="1812">
                  <c:v>33</c:v>
                </c:pt>
                <c:pt idx="1813">
                  <c:v>33</c:v>
                </c:pt>
                <c:pt idx="1814">
                  <c:v>33</c:v>
                </c:pt>
                <c:pt idx="1815">
                  <c:v>33</c:v>
                </c:pt>
                <c:pt idx="1816">
                  <c:v>33</c:v>
                </c:pt>
                <c:pt idx="1817">
                  <c:v>33</c:v>
                </c:pt>
                <c:pt idx="1818">
                  <c:v>33</c:v>
                </c:pt>
                <c:pt idx="1819">
                  <c:v>33</c:v>
                </c:pt>
                <c:pt idx="1820">
                  <c:v>33</c:v>
                </c:pt>
                <c:pt idx="1821">
                  <c:v>33</c:v>
                </c:pt>
                <c:pt idx="1822">
                  <c:v>33</c:v>
                </c:pt>
                <c:pt idx="1823">
                  <c:v>33</c:v>
                </c:pt>
                <c:pt idx="1824">
                  <c:v>33</c:v>
                </c:pt>
                <c:pt idx="1825">
                  <c:v>33</c:v>
                </c:pt>
                <c:pt idx="1826">
                  <c:v>33</c:v>
                </c:pt>
                <c:pt idx="1827">
                  <c:v>33</c:v>
                </c:pt>
                <c:pt idx="1828">
                  <c:v>33</c:v>
                </c:pt>
                <c:pt idx="1829">
                  <c:v>33</c:v>
                </c:pt>
                <c:pt idx="1830">
                  <c:v>33</c:v>
                </c:pt>
                <c:pt idx="1831">
                  <c:v>33</c:v>
                </c:pt>
                <c:pt idx="1832">
                  <c:v>33</c:v>
                </c:pt>
                <c:pt idx="1833">
                  <c:v>33</c:v>
                </c:pt>
                <c:pt idx="1834">
                  <c:v>33</c:v>
                </c:pt>
                <c:pt idx="1835">
                  <c:v>33</c:v>
                </c:pt>
                <c:pt idx="1836">
                  <c:v>33</c:v>
                </c:pt>
                <c:pt idx="1837">
                  <c:v>33</c:v>
                </c:pt>
                <c:pt idx="1838">
                  <c:v>33</c:v>
                </c:pt>
                <c:pt idx="1839">
                  <c:v>33</c:v>
                </c:pt>
                <c:pt idx="1840">
                  <c:v>33</c:v>
                </c:pt>
                <c:pt idx="1841">
                  <c:v>33</c:v>
                </c:pt>
                <c:pt idx="1842">
                  <c:v>33</c:v>
                </c:pt>
                <c:pt idx="1843">
                  <c:v>33</c:v>
                </c:pt>
                <c:pt idx="1844">
                  <c:v>33</c:v>
                </c:pt>
                <c:pt idx="1845">
                  <c:v>33</c:v>
                </c:pt>
                <c:pt idx="1846">
                  <c:v>33</c:v>
                </c:pt>
                <c:pt idx="1847">
                  <c:v>33</c:v>
                </c:pt>
                <c:pt idx="1848">
                  <c:v>33</c:v>
                </c:pt>
                <c:pt idx="1849">
                  <c:v>33</c:v>
                </c:pt>
                <c:pt idx="1850">
                  <c:v>33</c:v>
                </c:pt>
                <c:pt idx="1851">
                  <c:v>33</c:v>
                </c:pt>
                <c:pt idx="1852">
                  <c:v>33</c:v>
                </c:pt>
                <c:pt idx="1853">
                  <c:v>33</c:v>
                </c:pt>
                <c:pt idx="1854">
                  <c:v>33</c:v>
                </c:pt>
                <c:pt idx="1855">
                  <c:v>33</c:v>
                </c:pt>
                <c:pt idx="1856">
                  <c:v>33</c:v>
                </c:pt>
                <c:pt idx="1857">
                  <c:v>33</c:v>
                </c:pt>
                <c:pt idx="1858">
                  <c:v>33</c:v>
                </c:pt>
                <c:pt idx="1859">
                  <c:v>33</c:v>
                </c:pt>
                <c:pt idx="1860">
                  <c:v>33</c:v>
                </c:pt>
                <c:pt idx="1861">
                  <c:v>33</c:v>
                </c:pt>
                <c:pt idx="1862">
                  <c:v>33</c:v>
                </c:pt>
                <c:pt idx="1863">
                  <c:v>33</c:v>
                </c:pt>
                <c:pt idx="1864">
                  <c:v>33</c:v>
                </c:pt>
                <c:pt idx="1865">
                  <c:v>33</c:v>
                </c:pt>
                <c:pt idx="1866">
                  <c:v>33</c:v>
                </c:pt>
                <c:pt idx="1867">
                  <c:v>33</c:v>
                </c:pt>
                <c:pt idx="1868">
                  <c:v>33</c:v>
                </c:pt>
                <c:pt idx="1869">
                  <c:v>33</c:v>
                </c:pt>
                <c:pt idx="1870">
                  <c:v>33</c:v>
                </c:pt>
                <c:pt idx="1871">
                  <c:v>33</c:v>
                </c:pt>
                <c:pt idx="1872">
                  <c:v>33</c:v>
                </c:pt>
                <c:pt idx="1873">
                  <c:v>33</c:v>
                </c:pt>
                <c:pt idx="1874">
                  <c:v>33</c:v>
                </c:pt>
                <c:pt idx="1875">
                  <c:v>33</c:v>
                </c:pt>
                <c:pt idx="1876">
                  <c:v>33</c:v>
                </c:pt>
                <c:pt idx="1877">
                  <c:v>33</c:v>
                </c:pt>
                <c:pt idx="1878">
                  <c:v>33</c:v>
                </c:pt>
                <c:pt idx="1879">
                  <c:v>33</c:v>
                </c:pt>
                <c:pt idx="1880">
                  <c:v>33</c:v>
                </c:pt>
                <c:pt idx="1881">
                  <c:v>33</c:v>
                </c:pt>
                <c:pt idx="1882">
                  <c:v>33</c:v>
                </c:pt>
                <c:pt idx="1883">
                  <c:v>33</c:v>
                </c:pt>
                <c:pt idx="1884">
                  <c:v>33</c:v>
                </c:pt>
                <c:pt idx="1885">
                  <c:v>33</c:v>
                </c:pt>
                <c:pt idx="1886">
                  <c:v>33</c:v>
                </c:pt>
                <c:pt idx="1887">
                  <c:v>33</c:v>
                </c:pt>
                <c:pt idx="1888">
                  <c:v>33</c:v>
                </c:pt>
                <c:pt idx="1889">
                  <c:v>33</c:v>
                </c:pt>
                <c:pt idx="1890">
                  <c:v>33</c:v>
                </c:pt>
                <c:pt idx="1891">
                  <c:v>33</c:v>
                </c:pt>
                <c:pt idx="1892">
                  <c:v>33</c:v>
                </c:pt>
                <c:pt idx="1893">
                  <c:v>33</c:v>
                </c:pt>
                <c:pt idx="1894">
                  <c:v>33</c:v>
                </c:pt>
                <c:pt idx="1895">
                  <c:v>33</c:v>
                </c:pt>
                <c:pt idx="1896">
                  <c:v>33</c:v>
                </c:pt>
                <c:pt idx="1897">
                  <c:v>33</c:v>
                </c:pt>
                <c:pt idx="1898">
                  <c:v>33</c:v>
                </c:pt>
                <c:pt idx="1899">
                  <c:v>33</c:v>
                </c:pt>
                <c:pt idx="1900">
                  <c:v>33</c:v>
                </c:pt>
                <c:pt idx="1901">
                  <c:v>33</c:v>
                </c:pt>
                <c:pt idx="1902">
                  <c:v>33</c:v>
                </c:pt>
                <c:pt idx="1903">
                  <c:v>33</c:v>
                </c:pt>
                <c:pt idx="1904">
                  <c:v>33</c:v>
                </c:pt>
                <c:pt idx="1905">
                  <c:v>33</c:v>
                </c:pt>
                <c:pt idx="1906">
                  <c:v>33</c:v>
                </c:pt>
                <c:pt idx="1907">
                  <c:v>33</c:v>
                </c:pt>
                <c:pt idx="1908">
                  <c:v>33</c:v>
                </c:pt>
                <c:pt idx="1909">
                  <c:v>33</c:v>
                </c:pt>
                <c:pt idx="1910">
                  <c:v>33</c:v>
                </c:pt>
                <c:pt idx="1911">
                  <c:v>33</c:v>
                </c:pt>
                <c:pt idx="1912">
                  <c:v>33</c:v>
                </c:pt>
                <c:pt idx="1913">
                  <c:v>33</c:v>
                </c:pt>
                <c:pt idx="1914">
                  <c:v>33</c:v>
                </c:pt>
                <c:pt idx="1915">
                  <c:v>33</c:v>
                </c:pt>
                <c:pt idx="1916">
                  <c:v>33</c:v>
                </c:pt>
                <c:pt idx="1917">
                  <c:v>33</c:v>
                </c:pt>
                <c:pt idx="1918">
                  <c:v>33</c:v>
                </c:pt>
                <c:pt idx="1919">
                  <c:v>33</c:v>
                </c:pt>
                <c:pt idx="1920">
                  <c:v>33</c:v>
                </c:pt>
                <c:pt idx="1921">
                  <c:v>33</c:v>
                </c:pt>
                <c:pt idx="1922">
                  <c:v>33</c:v>
                </c:pt>
                <c:pt idx="1923">
                  <c:v>33</c:v>
                </c:pt>
                <c:pt idx="1924">
                  <c:v>33</c:v>
                </c:pt>
                <c:pt idx="1925">
                  <c:v>33</c:v>
                </c:pt>
                <c:pt idx="1926">
                  <c:v>33</c:v>
                </c:pt>
                <c:pt idx="1927">
                  <c:v>33</c:v>
                </c:pt>
                <c:pt idx="1928">
                  <c:v>33</c:v>
                </c:pt>
                <c:pt idx="1929">
                  <c:v>33</c:v>
                </c:pt>
                <c:pt idx="1930">
                  <c:v>33</c:v>
                </c:pt>
                <c:pt idx="1931">
                  <c:v>33</c:v>
                </c:pt>
                <c:pt idx="1932">
                  <c:v>33</c:v>
                </c:pt>
                <c:pt idx="1933">
                  <c:v>33</c:v>
                </c:pt>
                <c:pt idx="1934">
                  <c:v>33</c:v>
                </c:pt>
                <c:pt idx="1935">
                  <c:v>33</c:v>
                </c:pt>
                <c:pt idx="1936">
                  <c:v>33</c:v>
                </c:pt>
                <c:pt idx="1937">
                  <c:v>33</c:v>
                </c:pt>
                <c:pt idx="1938">
                  <c:v>33</c:v>
                </c:pt>
                <c:pt idx="1939">
                  <c:v>33</c:v>
                </c:pt>
                <c:pt idx="1940">
                  <c:v>33</c:v>
                </c:pt>
                <c:pt idx="1941">
                  <c:v>33</c:v>
                </c:pt>
                <c:pt idx="1942">
                  <c:v>33</c:v>
                </c:pt>
                <c:pt idx="1943">
                  <c:v>33</c:v>
                </c:pt>
                <c:pt idx="1944">
                  <c:v>33</c:v>
                </c:pt>
                <c:pt idx="1945">
                  <c:v>33</c:v>
                </c:pt>
                <c:pt idx="1946">
                  <c:v>33</c:v>
                </c:pt>
                <c:pt idx="1947">
                  <c:v>33</c:v>
                </c:pt>
                <c:pt idx="1948">
                  <c:v>33</c:v>
                </c:pt>
                <c:pt idx="1949">
                  <c:v>33</c:v>
                </c:pt>
                <c:pt idx="1950">
                  <c:v>33</c:v>
                </c:pt>
                <c:pt idx="1951">
                  <c:v>33</c:v>
                </c:pt>
                <c:pt idx="1952">
                  <c:v>33</c:v>
                </c:pt>
                <c:pt idx="1953">
                  <c:v>33</c:v>
                </c:pt>
                <c:pt idx="1954">
                  <c:v>33</c:v>
                </c:pt>
                <c:pt idx="1955">
                  <c:v>33</c:v>
                </c:pt>
                <c:pt idx="1956">
                  <c:v>33</c:v>
                </c:pt>
                <c:pt idx="1957">
                  <c:v>33</c:v>
                </c:pt>
                <c:pt idx="1958">
                  <c:v>33</c:v>
                </c:pt>
                <c:pt idx="1959">
                  <c:v>33</c:v>
                </c:pt>
                <c:pt idx="1960">
                  <c:v>33</c:v>
                </c:pt>
                <c:pt idx="1961">
                  <c:v>33</c:v>
                </c:pt>
                <c:pt idx="1962">
                  <c:v>33</c:v>
                </c:pt>
                <c:pt idx="1963">
                  <c:v>33</c:v>
                </c:pt>
                <c:pt idx="1964">
                  <c:v>33</c:v>
                </c:pt>
                <c:pt idx="1965">
                  <c:v>33</c:v>
                </c:pt>
                <c:pt idx="1966">
                  <c:v>33</c:v>
                </c:pt>
                <c:pt idx="1967">
                  <c:v>33</c:v>
                </c:pt>
                <c:pt idx="1968">
                  <c:v>33</c:v>
                </c:pt>
                <c:pt idx="1969">
                  <c:v>33</c:v>
                </c:pt>
                <c:pt idx="1970">
                  <c:v>33</c:v>
                </c:pt>
                <c:pt idx="1971">
                  <c:v>33</c:v>
                </c:pt>
                <c:pt idx="1972">
                  <c:v>33</c:v>
                </c:pt>
                <c:pt idx="1973">
                  <c:v>33</c:v>
                </c:pt>
                <c:pt idx="1974">
                  <c:v>33</c:v>
                </c:pt>
                <c:pt idx="1975">
                  <c:v>33</c:v>
                </c:pt>
                <c:pt idx="1976">
                  <c:v>33</c:v>
                </c:pt>
                <c:pt idx="1977">
                  <c:v>33</c:v>
                </c:pt>
                <c:pt idx="1978">
                  <c:v>33</c:v>
                </c:pt>
                <c:pt idx="1979">
                  <c:v>33</c:v>
                </c:pt>
                <c:pt idx="1980">
                  <c:v>33</c:v>
                </c:pt>
                <c:pt idx="1981">
                  <c:v>33</c:v>
                </c:pt>
                <c:pt idx="1982">
                  <c:v>33</c:v>
                </c:pt>
                <c:pt idx="1983">
                  <c:v>33</c:v>
                </c:pt>
                <c:pt idx="1984">
                  <c:v>33</c:v>
                </c:pt>
                <c:pt idx="1985">
                  <c:v>33</c:v>
                </c:pt>
                <c:pt idx="1986">
                  <c:v>33</c:v>
                </c:pt>
                <c:pt idx="1987">
                  <c:v>33</c:v>
                </c:pt>
                <c:pt idx="1988">
                  <c:v>33</c:v>
                </c:pt>
                <c:pt idx="1989">
                  <c:v>33</c:v>
                </c:pt>
                <c:pt idx="1990">
                  <c:v>33</c:v>
                </c:pt>
                <c:pt idx="1991">
                  <c:v>33</c:v>
                </c:pt>
                <c:pt idx="1992">
                  <c:v>33</c:v>
                </c:pt>
                <c:pt idx="1993">
                  <c:v>33</c:v>
                </c:pt>
                <c:pt idx="1994">
                  <c:v>33</c:v>
                </c:pt>
                <c:pt idx="1995">
                  <c:v>33</c:v>
                </c:pt>
                <c:pt idx="1996">
                  <c:v>33</c:v>
                </c:pt>
                <c:pt idx="1997">
                  <c:v>33</c:v>
                </c:pt>
                <c:pt idx="1998">
                  <c:v>33</c:v>
                </c:pt>
                <c:pt idx="1999">
                  <c:v>33</c:v>
                </c:pt>
                <c:pt idx="2000">
                  <c:v>33</c:v>
                </c:pt>
                <c:pt idx="2001">
                  <c:v>33</c:v>
                </c:pt>
                <c:pt idx="2002">
                  <c:v>33</c:v>
                </c:pt>
                <c:pt idx="2003">
                  <c:v>33</c:v>
                </c:pt>
                <c:pt idx="2004">
                  <c:v>33</c:v>
                </c:pt>
                <c:pt idx="2005">
                  <c:v>33</c:v>
                </c:pt>
                <c:pt idx="2006">
                  <c:v>33</c:v>
                </c:pt>
                <c:pt idx="2007">
                  <c:v>33</c:v>
                </c:pt>
                <c:pt idx="2008">
                  <c:v>33</c:v>
                </c:pt>
                <c:pt idx="2009">
                  <c:v>33</c:v>
                </c:pt>
                <c:pt idx="2010">
                  <c:v>33</c:v>
                </c:pt>
                <c:pt idx="2011">
                  <c:v>33</c:v>
                </c:pt>
                <c:pt idx="2012">
                  <c:v>33</c:v>
                </c:pt>
                <c:pt idx="2013">
                  <c:v>33</c:v>
                </c:pt>
                <c:pt idx="2014">
                  <c:v>33</c:v>
                </c:pt>
                <c:pt idx="2015">
                  <c:v>33</c:v>
                </c:pt>
                <c:pt idx="2016">
                  <c:v>33</c:v>
                </c:pt>
                <c:pt idx="2017">
                  <c:v>33</c:v>
                </c:pt>
                <c:pt idx="2018">
                  <c:v>33</c:v>
                </c:pt>
                <c:pt idx="2019">
                  <c:v>33</c:v>
                </c:pt>
                <c:pt idx="2020">
                  <c:v>33</c:v>
                </c:pt>
                <c:pt idx="2021">
                  <c:v>33</c:v>
                </c:pt>
                <c:pt idx="2022">
                  <c:v>33</c:v>
                </c:pt>
                <c:pt idx="2023">
                  <c:v>33</c:v>
                </c:pt>
                <c:pt idx="2024">
                  <c:v>33</c:v>
                </c:pt>
                <c:pt idx="2025">
                  <c:v>33</c:v>
                </c:pt>
                <c:pt idx="2026">
                  <c:v>33</c:v>
                </c:pt>
                <c:pt idx="2027">
                  <c:v>33</c:v>
                </c:pt>
                <c:pt idx="2028">
                  <c:v>33</c:v>
                </c:pt>
                <c:pt idx="2029">
                  <c:v>33</c:v>
                </c:pt>
                <c:pt idx="2030">
                  <c:v>33</c:v>
                </c:pt>
                <c:pt idx="2031">
                  <c:v>33</c:v>
                </c:pt>
                <c:pt idx="2032">
                  <c:v>33</c:v>
                </c:pt>
                <c:pt idx="2033">
                  <c:v>33</c:v>
                </c:pt>
                <c:pt idx="2034">
                  <c:v>33</c:v>
                </c:pt>
                <c:pt idx="2035">
                  <c:v>33</c:v>
                </c:pt>
                <c:pt idx="2036">
                  <c:v>33</c:v>
                </c:pt>
                <c:pt idx="2037">
                  <c:v>33</c:v>
                </c:pt>
                <c:pt idx="2038">
                  <c:v>33</c:v>
                </c:pt>
                <c:pt idx="2039">
                  <c:v>33</c:v>
                </c:pt>
                <c:pt idx="2040">
                  <c:v>33</c:v>
                </c:pt>
                <c:pt idx="2041">
                  <c:v>33</c:v>
                </c:pt>
                <c:pt idx="2042">
                  <c:v>33</c:v>
                </c:pt>
                <c:pt idx="2043">
                  <c:v>33</c:v>
                </c:pt>
                <c:pt idx="2044">
                  <c:v>33</c:v>
                </c:pt>
                <c:pt idx="2045">
                  <c:v>33</c:v>
                </c:pt>
                <c:pt idx="2046">
                  <c:v>33</c:v>
                </c:pt>
                <c:pt idx="2047">
                  <c:v>33</c:v>
                </c:pt>
                <c:pt idx="2048">
                  <c:v>33</c:v>
                </c:pt>
                <c:pt idx="2049">
                  <c:v>33</c:v>
                </c:pt>
                <c:pt idx="2050">
                  <c:v>33</c:v>
                </c:pt>
                <c:pt idx="2051">
                  <c:v>33</c:v>
                </c:pt>
                <c:pt idx="2052">
                  <c:v>33</c:v>
                </c:pt>
                <c:pt idx="2053">
                  <c:v>33</c:v>
                </c:pt>
                <c:pt idx="2054">
                  <c:v>33</c:v>
                </c:pt>
                <c:pt idx="2055">
                  <c:v>33</c:v>
                </c:pt>
                <c:pt idx="2056">
                  <c:v>33</c:v>
                </c:pt>
                <c:pt idx="2057">
                  <c:v>33</c:v>
                </c:pt>
                <c:pt idx="2058">
                  <c:v>33</c:v>
                </c:pt>
                <c:pt idx="2059">
                  <c:v>33</c:v>
                </c:pt>
                <c:pt idx="2060">
                  <c:v>33</c:v>
                </c:pt>
                <c:pt idx="2061">
                  <c:v>33</c:v>
                </c:pt>
                <c:pt idx="2062">
                  <c:v>33</c:v>
                </c:pt>
                <c:pt idx="2063">
                  <c:v>33</c:v>
                </c:pt>
                <c:pt idx="2064">
                  <c:v>33</c:v>
                </c:pt>
                <c:pt idx="2065">
                  <c:v>33</c:v>
                </c:pt>
                <c:pt idx="2066">
                  <c:v>33</c:v>
                </c:pt>
                <c:pt idx="2067">
                  <c:v>33</c:v>
                </c:pt>
                <c:pt idx="2068">
                  <c:v>33</c:v>
                </c:pt>
                <c:pt idx="2069">
                  <c:v>33</c:v>
                </c:pt>
                <c:pt idx="2070">
                  <c:v>33</c:v>
                </c:pt>
                <c:pt idx="2071">
                  <c:v>33</c:v>
                </c:pt>
                <c:pt idx="2072">
                  <c:v>33</c:v>
                </c:pt>
                <c:pt idx="2073">
                  <c:v>33</c:v>
                </c:pt>
                <c:pt idx="2074">
                  <c:v>33</c:v>
                </c:pt>
                <c:pt idx="2075">
                  <c:v>33</c:v>
                </c:pt>
                <c:pt idx="2076">
                  <c:v>33</c:v>
                </c:pt>
                <c:pt idx="2077">
                  <c:v>33</c:v>
                </c:pt>
                <c:pt idx="2078">
                  <c:v>33</c:v>
                </c:pt>
                <c:pt idx="2079">
                  <c:v>33</c:v>
                </c:pt>
                <c:pt idx="2080">
                  <c:v>33</c:v>
                </c:pt>
                <c:pt idx="2081">
                  <c:v>33</c:v>
                </c:pt>
                <c:pt idx="2082">
                  <c:v>33</c:v>
                </c:pt>
                <c:pt idx="2083">
                  <c:v>33</c:v>
                </c:pt>
                <c:pt idx="2084">
                  <c:v>33</c:v>
                </c:pt>
                <c:pt idx="2085">
                  <c:v>33</c:v>
                </c:pt>
                <c:pt idx="2086">
                  <c:v>33</c:v>
                </c:pt>
                <c:pt idx="2087">
                  <c:v>33</c:v>
                </c:pt>
                <c:pt idx="2088">
                  <c:v>33</c:v>
                </c:pt>
                <c:pt idx="2089">
                  <c:v>33</c:v>
                </c:pt>
                <c:pt idx="2090">
                  <c:v>33</c:v>
                </c:pt>
                <c:pt idx="2091">
                  <c:v>33</c:v>
                </c:pt>
                <c:pt idx="2092">
                  <c:v>33</c:v>
                </c:pt>
                <c:pt idx="2093">
                  <c:v>33</c:v>
                </c:pt>
                <c:pt idx="2094">
                  <c:v>33</c:v>
                </c:pt>
                <c:pt idx="2095">
                  <c:v>33</c:v>
                </c:pt>
                <c:pt idx="2096">
                  <c:v>33</c:v>
                </c:pt>
                <c:pt idx="2097">
                  <c:v>33</c:v>
                </c:pt>
                <c:pt idx="2098">
                  <c:v>33</c:v>
                </c:pt>
                <c:pt idx="2099">
                  <c:v>33</c:v>
                </c:pt>
                <c:pt idx="2100">
                  <c:v>33</c:v>
                </c:pt>
                <c:pt idx="2101">
                  <c:v>33</c:v>
                </c:pt>
                <c:pt idx="2102">
                  <c:v>33</c:v>
                </c:pt>
                <c:pt idx="2103">
                  <c:v>33</c:v>
                </c:pt>
                <c:pt idx="2104">
                  <c:v>33</c:v>
                </c:pt>
                <c:pt idx="2105">
                  <c:v>33</c:v>
                </c:pt>
                <c:pt idx="2106">
                  <c:v>33</c:v>
                </c:pt>
                <c:pt idx="2107">
                  <c:v>33</c:v>
                </c:pt>
                <c:pt idx="2108">
                  <c:v>33</c:v>
                </c:pt>
                <c:pt idx="2109">
                  <c:v>33</c:v>
                </c:pt>
                <c:pt idx="2110">
                  <c:v>33</c:v>
                </c:pt>
                <c:pt idx="2111">
                  <c:v>33</c:v>
                </c:pt>
                <c:pt idx="2112">
                  <c:v>33</c:v>
                </c:pt>
                <c:pt idx="2113">
                  <c:v>33</c:v>
                </c:pt>
                <c:pt idx="2114">
                  <c:v>33</c:v>
                </c:pt>
                <c:pt idx="2115">
                  <c:v>33</c:v>
                </c:pt>
                <c:pt idx="2116">
                  <c:v>33</c:v>
                </c:pt>
                <c:pt idx="2117">
                  <c:v>33</c:v>
                </c:pt>
                <c:pt idx="2118">
                  <c:v>33</c:v>
                </c:pt>
                <c:pt idx="2119">
                  <c:v>33</c:v>
                </c:pt>
                <c:pt idx="2120">
                  <c:v>33</c:v>
                </c:pt>
                <c:pt idx="2121">
                  <c:v>33</c:v>
                </c:pt>
                <c:pt idx="2122">
                  <c:v>33</c:v>
                </c:pt>
                <c:pt idx="2123">
                  <c:v>33</c:v>
                </c:pt>
                <c:pt idx="2124">
                  <c:v>33</c:v>
                </c:pt>
                <c:pt idx="2125">
                  <c:v>33</c:v>
                </c:pt>
                <c:pt idx="2126">
                  <c:v>33</c:v>
                </c:pt>
                <c:pt idx="2127">
                  <c:v>33</c:v>
                </c:pt>
                <c:pt idx="2128">
                  <c:v>33</c:v>
                </c:pt>
                <c:pt idx="2129">
                  <c:v>33</c:v>
                </c:pt>
                <c:pt idx="2130">
                  <c:v>33</c:v>
                </c:pt>
                <c:pt idx="2131">
                  <c:v>33</c:v>
                </c:pt>
                <c:pt idx="2132">
                  <c:v>33</c:v>
                </c:pt>
                <c:pt idx="2133">
                  <c:v>33</c:v>
                </c:pt>
                <c:pt idx="2134">
                  <c:v>33</c:v>
                </c:pt>
                <c:pt idx="2135">
                  <c:v>33</c:v>
                </c:pt>
                <c:pt idx="2136">
                  <c:v>33</c:v>
                </c:pt>
                <c:pt idx="2137">
                  <c:v>33</c:v>
                </c:pt>
                <c:pt idx="2138">
                  <c:v>33</c:v>
                </c:pt>
                <c:pt idx="2139">
                  <c:v>33</c:v>
                </c:pt>
                <c:pt idx="2140">
                  <c:v>33</c:v>
                </c:pt>
                <c:pt idx="2141">
                  <c:v>33</c:v>
                </c:pt>
                <c:pt idx="2142">
                  <c:v>33</c:v>
                </c:pt>
                <c:pt idx="2143">
                  <c:v>33</c:v>
                </c:pt>
                <c:pt idx="2144">
                  <c:v>33</c:v>
                </c:pt>
                <c:pt idx="2145">
                  <c:v>33</c:v>
                </c:pt>
                <c:pt idx="2146">
                  <c:v>33</c:v>
                </c:pt>
                <c:pt idx="2147">
                  <c:v>33</c:v>
                </c:pt>
                <c:pt idx="2148">
                  <c:v>33</c:v>
                </c:pt>
                <c:pt idx="2149">
                  <c:v>33</c:v>
                </c:pt>
                <c:pt idx="2150">
                  <c:v>33</c:v>
                </c:pt>
                <c:pt idx="2151">
                  <c:v>33</c:v>
                </c:pt>
                <c:pt idx="2152">
                  <c:v>33</c:v>
                </c:pt>
                <c:pt idx="2153">
                  <c:v>33</c:v>
                </c:pt>
                <c:pt idx="2154">
                  <c:v>33</c:v>
                </c:pt>
                <c:pt idx="2155">
                  <c:v>33</c:v>
                </c:pt>
                <c:pt idx="2156">
                  <c:v>33</c:v>
                </c:pt>
                <c:pt idx="2157">
                  <c:v>33</c:v>
                </c:pt>
                <c:pt idx="2158">
                  <c:v>33</c:v>
                </c:pt>
                <c:pt idx="2159">
                  <c:v>33</c:v>
                </c:pt>
                <c:pt idx="2160">
                  <c:v>33</c:v>
                </c:pt>
                <c:pt idx="2161">
                  <c:v>33</c:v>
                </c:pt>
                <c:pt idx="2162">
                  <c:v>33</c:v>
                </c:pt>
                <c:pt idx="2163">
                  <c:v>33</c:v>
                </c:pt>
                <c:pt idx="2164">
                  <c:v>33</c:v>
                </c:pt>
                <c:pt idx="2165">
                  <c:v>33</c:v>
                </c:pt>
                <c:pt idx="2166">
                  <c:v>33</c:v>
                </c:pt>
                <c:pt idx="2167">
                  <c:v>33</c:v>
                </c:pt>
                <c:pt idx="2168">
                  <c:v>33</c:v>
                </c:pt>
                <c:pt idx="2169">
                  <c:v>33</c:v>
                </c:pt>
                <c:pt idx="2170">
                  <c:v>33</c:v>
                </c:pt>
                <c:pt idx="2171">
                  <c:v>33</c:v>
                </c:pt>
                <c:pt idx="2172">
                  <c:v>33</c:v>
                </c:pt>
                <c:pt idx="2173">
                  <c:v>33</c:v>
                </c:pt>
                <c:pt idx="2174">
                  <c:v>33</c:v>
                </c:pt>
                <c:pt idx="2175">
                  <c:v>33</c:v>
                </c:pt>
                <c:pt idx="2176">
                  <c:v>33</c:v>
                </c:pt>
                <c:pt idx="2177">
                  <c:v>33</c:v>
                </c:pt>
                <c:pt idx="2178">
                  <c:v>33</c:v>
                </c:pt>
                <c:pt idx="2179">
                  <c:v>33</c:v>
                </c:pt>
                <c:pt idx="2180">
                  <c:v>33</c:v>
                </c:pt>
                <c:pt idx="2181">
                  <c:v>33</c:v>
                </c:pt>
                <c:pt idx="2182">
                  <c:v>33</c:v>
                </c:pt>
                <c:pt idx="2183">
                  <c:v>33</c:v>
                </c:pt>
                <c:pt idx="2184">
                  <c:v>33</c:v>
                </c:pt>
                <c:pt idx="2185">
                  <c:v>33</c:v>
                </c:pt>
                <c:pt idx="2186">
                  <c:v>33</c:v>
                </c:pt>
                <c:pt idx="2187">
                  <c:v>33</c:v>
                </c:pt>
                <c:pt idx="2188">
                  <c:v>33</c:v>
                </c:pt>
                <c:pt idx="2189">
                  <c:v>33</c:v>
                </c:pt>
                <c:pt idx="2190">
                  <c:v>33</c:v>
                </c:pt>
                <c:pt idx="2191">
                  <c:v>33</c:v>
                </c:pt>
                <c:pt idx="2192">
                  <c:v>33</c:v>
                </c:pt>
                <c:pt idx="2193">
                  <c:v>33</c:v>
                </c:pt>
                <c:pt idx="2194">
                  <c:v>33</c:v>
                </c:pt>
                <c:pt idx="2195">
                  <c:v>33</c:v>
                </c:pt>
                <c:pt idx="2196">
                  <c:v>33</c:v>
                </c:pt>
                <c:pt idx="2197">
                  <c:v>33</c:v>
                </c:pt>
                <c:pt idx="2198">
                  <c:v>33</c:v>
                </c:pt>
                <c:pt idx="2199">
                  <c:v>33</c:v>
                </c:pt>
                <c:pt idx="2200">
                  <c:v>33</c:v>
                </c:pt>
                <c:pt idx="2201">
                  <c:v>33</c:v>
                </c:pt>
                <c:pt idx="2202">
                  <c:v>33</c:v>
                </c:pt>
                <c:pt idx="2203">
                  <c:v>33</c:v>
                </c:pt>
                <c:pt idx="2204">
                  <c:v>33</c:v>
                </c:pt>
                <c:pt idx="2205">
                  <c:v>33</c:v>
                </c:pt>
                <c:pt idx="2206">
                  <c:v>33</c:v>
                </c:pt>
                <c:pt idx="2207">
                  <c:v>33</c:v>
                </c:pt>
                <c:pt idx="2208">
                  <c:v>33</c:v>
                </c:pt>
                <c:pt idx="2209">
                  <c:v>33</c:v>
                </c:pt>
                <c:pt idx="2210">
                  <c:v>33</c:v>
                </c:pt>
                <c:pt idx="2211">
                  <c:v>33</c:v>
                </c:pt>
                <c:pt idx="2212">
                  <c:v>33</c:v>
                </c:pt>
                <c:pt idx="2213">
                  <c:v>33</c:v>
                </c:pt>
                <c:pt idx="2214">
                  <c:v>33</c:v>
                </c:pt>
                <c:pt idx="2215">
                  <c:v>33</c:v>
                </c:pt>
                <c:pt idx="2216">
                  <c:v>33</c:v>
                </c:pt>
                <c:pt idx="2217">
                  <c:v>33</c:v>
                </c:pt>
                <c:pt idx="2218">
                  <c:v>33</c:v>
                </c:pt>
                <c:pt idx="2219">
                  <c:v>33</c:v>
                </c:pt>
                <c:pt idx="2220">
                  <c:v>33</c:v>
                </c:pt>
                <c:pt idx="2221">
                  <c:v>33</c:v>
                </c:pt>
                <c:pt idx="2222">
                  <c:v>33</c:v>
                </c:pt>
                <c:pt idx="2223">
                  <c:v>33</c:v>
                </c:pt>
                <c:pt idx="2224">
                  <c:v>33</c:v>
                </c:pt>
                <c:pt idx="2225">
                  <c:v>33</c:v>
                </c:pt>
                <c:pt idx="2226">
                  <c:v>33</c:v>
                </c:pt>
                <c:pt idx="2227">
                  <c:v>33</c:v>
                </c:pt>
                <c:pt idx="2228">
                  <c:v>33</c:v>
                </c:pt>
                <c:pt idx="2229">
                  <c:v>33</c:v>
                </c:pt>
                <c:pt idx="2230">
                  <c:v>33</c:v>
                </c:pt>
                <c:pt idx="2231">
                  <c:v>33</c:v>
                </c:pt>
                <c:pt idx="2232">
                  <c:v>33</c:v>
                </c:pt>
                <c:pt idx="2233">
                  <c:v>33</c:v>
                </c:pt>
                <c:pt idx="2234">
                  <c:v>33</c:v>
                </c:pt>
                <c:pt idx="2235">
                  <c:v>33</c:v>
                </c:pt>
                <c:pt idx="2236">
                  <c:v>33</c:v>
                </c:pt>
                <c:pt idx="2237">
                  <c:v>33</c:v>
                </c:pt>
                <c:pt idx="2238">
                  <c:v>33</c:v>
                </c:pt>
                <c:pt idx="2239">
                  <c:v>33</c:v>
                </c:pt>
                <c:pt idx="2240">
                  <c:v>33</c:v>
                </c:pt>
                <c:pt idx="2241">
                  <c:v>33</c:v>
                </c:pt>
                <c:pt idx="2242">
                  <c:v>33</c:v>
                </c:pt>
                <c:pt idx="2243">
                  <c:v>33</c:v>
                </c:pt>
                <c:pt idx="2244">
                  <c:v>33</c:v>
                </c:pt>
                <c:pt idx="2245">
                  <c:v>33</c:v>
                </c:pt>
                <c:pt idx="2246">
                  <c:v>33</c:v>
                </c:pt>
                <c:pt idx="2247">
                  <c:v>33</c:v>
                </c:pt>
                <c:pt idx="2248">
                  <c:v>33</c:v>
                </c:pt>
                <c:pt idx="2249">
                  <c:v>33</c:v>
                </c:pt>
                <c:pt idx="2250">
                  <c:v>33</c:v>
                </c:pt>
                <c:pt idx="2251">
                  <c:v>33</c:v>
                </c:pt>
                <c:pt idx="2252">
                  <c:v>33</c:v>
                </c:pt>
                <c:pt idx="2253">
                  <c:v>33</c:v>
                </c:pt>
                <c:pt idx="2254">
                  <c:v>33</c:v>
                </c:pt>
                <c:pt idx="2255">
                  <c:v>33</c:v>
                </c:pt>
                <c:pt idx="2256">
                  <c:v>31.41439991</c:v>
                </c:pt>
                <c:pt idx="2257">
                  <c:v>25</c:v>
                </c:pt>
                <c:pt idx="2258">
                  <c:v>5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1.6567990180000001</c:v>
                </c:pt>
                <c:pt idx="2315">
                  <c:v>3.172703914</c:v>
                </c:pt>
                <c:pt idx="2316">
                  <c:v>4</c:v>
                </c:pt>
                <c:pt idx="2317">
                  <c:v>21</c:v>
                </c:pt>
                <c:pt idx="2318">
                  <c:v>33</c:v>
                </c:pt>
                <c:pt idx="2319">
                  <c:v>31.935430650000001</c:v>
                </c:pt>
                <c:pt idx="2320">
                  <c:v>29.26934164</c:v>
                </c:pt>
                <c:pt idx="2321">
                  <c:v>28.204505690000001</c:v>
                </c:pt>
                <c:pt idx="2322">
                  <c:v>27.659823710000001</c:v>
                </c:pt>
                <c:pt idx="2323">
                  <c:v>27.13567059</c:v>
                </c:pt>
                <c:pt idx="2324">
                  <c:v>26.603252619999999</c:v>
                </c:pt>
                <c:pt idx="2325">
                  <c:v>26.071101240000001</c:v>
                </c:pt>
                <c:pt idx="2326">
                  <c:v>25.53041842</c:v>
                </c:pt>
                <c:pt idx="2327">
                  <c:v>24.998000449999999</c:v>
                </c:pt>
                <c:pt idx="2328">
                  <c:v>24.465582479999998</c:v>
                </c:pt>
                <c:pt idx="2329">
                  <c:v>23.93316445</c:v>
                </c:pt>
                <c:pt idx="2330">
                  <c:v>22.86432941</c:v>
                </c:pt>
                <c:pt idx="2331">
                  <c:v>20.73065836</c:v>
                </c:pt>
                <c:pt idx="2332">
                  <c:v>20.206505239999998</c:v>
                </c:pt>
                <c:pt idx="2333">
                  <c:v>19.661823259999998</c:v>
                </c:pt>
                <c:pt idx="2334">
                  <c:v>18.068835100000001</c:v>
                </c:pt>
                <c:pt idx="2335">
                  <c:v>17</c:v>
                </c:pt>
                <c:pt idx="2336">
                  <c:v>3</c:v>
                </c:pt>
                <c:pt idx="2337">
                  <c:v>2.2189502999999999E-2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-4.17954E-4</c:v>
                </c:pt>
                <c:pt idx="4424">
                  <c:v>-6.7502760000000004E-3</c:v>
                </c:pt>
                <c:pt idx="4425">
                  <c:v>-9.3253269999999996E-3</c:v>
                </c:pt>
                <c:pt idx="4426">
                  <c:v>-1.3499472E-2</c:v>
                </c:pt>
                <c:pt idx="4427">
                  <c:v>-1.3848498000000001E-2</c:v>
                </c:pt>
                <c:pt idx="4428">
                  <c:v>-1.962821E-2</c:v>
                </c:pt>
                <c:pt idx="4429">
                  <c:v>-2.1084577E-2</c:v>
                </c:pt>
                <c:pt idx="4430">
                  <c:v>-2.6234123000000002E-2</c:v>
                </c:pt>
                <c:pt idx="4431">
                  <c:v>-2.7835374999999999E-2</c:v>
                </c:pt>
                <c:pt idx="4432">
                  <c:v>-3.1524239000000003E-2</c:v>
                </c:pt>
                <c:pt idx="4433">
                  <c:v>-3.7439685E-2</c:v>
                </c:pt>
                <c:pt idx="4434">
                  <c:v>-3.7582447999999997E-2</c:v>
                </c:pt>
                <c:pt idx="4435">
                  <c:v>-3.7717067999999999E-2</c:v>
                </c:pt>
                <c:pt idx="4436">
                  <c:v>-4.6485993000000003E-2</c:v>
                </c:pt>
                <c:pt idx="4437">
                  <c:v>-4.6837210999999997E-2</c:v>
                </c:pt>
                <c:pt idx="4438">
                  <c:v>-4.7811531999999997E-2</c:v>
                </c:pt>
                <c:pt idx="4439">
                  <c:v>-4.8020509000000003E-2</c:v>
                </c:pt>
                <c:pt idx="4440">
                  <c:v>-5.0525517999999998E-2</c:v>
                </c:pt>
                <c:pt idx="4441">
                  <c:v>-5.0595003E-2</c:v>
                </c:pt>
                <c:pt idx="4442">
                  <c:v>-5.4422281000000003E-2</c:v>
                </c:pt>
                <c:pt idx="4443">
                  <c:v>-5.5396636999999999E-2</c:v>
                </c:pt>
                <c:pt idx="4444">
                  <c:v>-5.7480420999999997E-2</c:v>
                </c:pt>
                <c:pt idx="4445">
                  <c:v>-5.7623740999999999E-2</c:v>
                </c:pt>
                <c:pt idx="4446">
                  <c:v>-6.1168207000000002E-2</c:v>
                </c:pt>
                <c:pt idx="4447">
                  <c:v>-6.3121232999999999E-2</c:v>
                </c:pt>
                <c:pt idx="4448">
                  <c:v>-6.6531079000000007E-2</c:v>
                </c:pt>
                <c:pt idx="4449">
                  <c:v>-6.6809541E-2</c:v>
                </c:pt>
                <c:pt idx="4450">
                  <c:v>-6.6879025999999994E-2</c:v>
                </c:pt>
                <c:pt idx="4451">
                  <c:v>-7.9191928999999994E-2</c:v>
                </c:pt>
                <c:pt idx="4452">
                  <c:v>-7.9335214000000001E-2</c:v>
                </c:pt>
                <c:pt idx="4453">
                  <c:v>-8.2257654999999999E-2</c:v>
                </c:pt>
                <c:pt idx="4454">
                  <c:v>-8.7337751000000005E-2</c:v>
                </c:pt>
                <c:pt idx="4455">
                  <c:v>-8.8656747999999994E-2</c:v>
                </c:pt>
                <c:pt idx="4456">
                  <c:v>-8.8864646000000005E-2</c:v>
                </c:pt>
                <c:pt idx="4457">
                  <c:v>-8.9007930999999998E-2</c:v>
                </c:pt>
                <c:pt idx="4458">
                  <c:v>-9.2208834000000003E-2</c:v>
                </c:pt>
                <c:pt idx="4459">
                  <c:v>-9.3948499000000005E-2</c:v>
                </c:pt>
                <c:pt idx="4460">
                  <c:v>-9.4018540999999997E-2</c:v>
                </c:pt>
                <c:pt idx="4461">
                  <c:v>-9.4435937999999997E-2</c:v>
                </c:pt>
                <c:pt idx="4462">
                  <c:v>-9.4644358999999997E-2</c:v>
                </c:pt>
                <c:pt idx="4463">
                  <c:v>-9.7497871999999999E-2</c:v>
                </c:pt>
                <c:pt idx="4464">
                  <c:v>-0.103548495</c:v>
                </c:pt>
                <c:pt idx="4465">
                  <c:v>-0.107240074</c:v>
                </c:pt>
                <c:pt idx="4466">
                  <c:v>-0.117887112</c:v>
                </c:pt>
                <c:pt idx="4467">
                  <c:v>-0.119623506</c:v>
                </c:pt>
                <c:pt idx="4468">
                  <c:v>-0.12832517299999999</c:v>
                </c:pt>
                <c:pt idx="4469">
                  <c:v>-0.13423679199999999</c:v>
                </c:pt>
                <c:pt idx="4470">
                  <c:v>-0.14008546699999999</c:v>
                </c:pt>
                <c:pt idx="4471">
                  <c:v>-0.151219944</c:v>
                </c:pt>
                <c:pt idx="4472">
                  <c:v>-0.15226375</c:v>
                </c:pt>
                <c:pt idx="4473">
                  <c:v>-0.15240271999999999</c:v>
                </c:pt>
                <c:pt idx="4474">
                  <c:v>-0.15379447299999999</c:v>
                </c:pt>
                <c:pt idx="4475">
                  <c:v>-0.157552265</c:v>
                </c:pt>
                <c:pt idx="4476">
                  <c:v>-0.15810918900000001</c:v>
                </c:pt>
                <c:pt idx="4477">
                  <c:v>-0.158735564</c:v>
                </c:pt>
                <c:pt idx="4478">
                  <c:v>-0.1667381</c:v>
                </c:pt>
                <c:pt idx="4479">
                  <c:v>-0.17195713100000001</c:v>
                </c:pt>
                <c:pt idx="4480">
                  <c:v>-0.17460163200000001</c:v>
                </c:pt>
                <c:pt idx="4481">
                  <c:v>-0.174810087</c:v>
                </c:pt>
                <c:pt idx="4482">
                  <c:v>-0.17606287000000001</c:v>
                </c:pt>
                <c:pt idx="4483">
                  <c:v>-0.181629813</c:v>
                </c:pt>
                <c:pt idx="4484">
                  <c:v>-0.18552713200000001</c:v>
                </c:pt>
                <c:pt idx="4485">
                  <c:v>-0.187614744</c:v>
                </c:pt>
                <c:pt idx="4486">
                  <c:v>-0.190537186</c:v>
                </c:pt>
                <c:pt idx="4487">
                  <c:v>-0.198052805</c:v>
                </c:pt>
                <c:pt idx="4488">
                  <c:v>-0.20041887899999999</c:v>
                </c:pt>
                <c:pt idx="4489">
                  <c:v>-0.20222803</c:v>
                </c:pt>
                <c:pt idx="4490">
                  <c:v>-0.20313342200000001</c:v>
                </c:pt>
                <c:pt idx="4491">
                  <c:v>-0.21113648099999999</c:v>
                </c:pt>
                <c:pt idx="4492">
                  <c:v>-0.21677183</c:v>
                </c:pt>
                <c:pt idx="4493">
                  <c:v>-0.22505387299999999</c:v>
                </c:pt>
                <c:pt idx="4494">
                  <c:v>-0.227001436</c:v>
                </c:pt>
                <c:pt idx="4495">
                  <c:v>-0.22922909699999999</c:v>
                </c:pt>
                <c:pt idx="4496">
                  <c:v>-0.23166410000000001</c:v>
                </c:pt>
                <c:pt idx="4497">
                  <c:v>-0.23228995199999999</c:v>
                </c:pt>
                <c:pt idx="4498">
                  <c:v>-0.234517056</c:v>
                </c:pt>
                <c:pt idx="4499">
                  <c:v>-0.235352442</c:v>
                </c:pt>
                <c:pt idx="4500">
                  <c:v>-0.23723107700000001</c:v>
                </c:pt>
                <c:pt idx="4501">
                  <c:v>-0.237439497</c:v>
                </c:pt>
                <c:pt idx="4502">
                  <c:v>-0.23938817400000001</c:v>
                </c:pt>
                <c:pt idx="4503">
                  <c:v>-0.24293698999999999</c:v>
                </c:pt>
                <c:pt idx="4504">
                  <c:v>-0.24363396200000001</c:v>
                </c:pt>
                <c:pt idx="4505">
                  <c:v>-0.24906196999999999</c:v>
                </c:pt>
                <c:pt idx="4506">
                  <c:v>-0.250524252</c:v>
                </c:pt>
                <c:pt idx="4507">
                  <c:v>-0.25073107100000003</c:v>
                </c:pt>
                <c:pt idx="4508">
                  <c:v>-0.25511635100000002</c:v>
                </c:pt>
                <c:pt idx="4509">
                  <c:v>-0.25574220399999997</c:v>
                </c:pt>
                <c:pt idx="4510">
                  <c:v>-0.25650702600000003</c:v>
                </c:pt>
                <c:pt idx="4511">
                  <c:v>-0.26026481800000001</c:v>
                </c:pt>
                <c:pt idx="4512">
                  <c:v>-0.260335382</c:v>
                </c:pt>
                <c:pt idx="4513">
                  <c:v>-0.26506916600000002</c:v>
                </c:pt>
                <c:pt idx="4514">
                  <c:v>-0.26715677799999998</c:v>
                </c:pt>
                <c:pt idx="4515">
                  <c:v>-0.27007650500000002</c:v>
                </c:pt>
                <c:pt idx="4516">
                  <c:v>-0.27014706900000002</c:v>
                </c:pt>
                <c:pt idx="4517">
                  <c:v>-0.27529605800000001</c:v>
                </c:pt>
                <c:pt idx="4518">
                  <c:v>-0.27662048299999997</c:v>
                </c:pt>
                <c:pt idx="4519">
                  <c:v>-0.28072625699999998</c:v>
                </c:pt>
                <c:pt idx="4520">
                  <c:v>-0.28190684100000002</c:v>
                </c:pt>
                <c:pt idx="4521">
                  <c:v>-0.28225530999999998</c:v>
                </c:pt>
                <c:pt idx="4522">
                  <c:v>-0.282396437</c:v>
                </c:pt>
                <c:pt idx="4523">
                  <c:v>-0.28420558800000001</c:v>
                </c:pt>
                <c:pt idx="4524">
                  <c:v>-0.28448297099999997</c:v>
                </c:pt>
                <c:pt idx="4525">
                  <c:v>-0.28629048600000001</c:v>
                </c:pt>
                <c:pt idx="4526">
                  <c:v>-0.29728547100000002</c:v>
                </c:pt>
                <c:pt idx="4527">
                  <c:v>-0.29742604099999997</c:v>
                </c:pt>
                <c:pt idx="4528">
                  <c:v>-0.30132172499999998</c:v>
                </c:pt>
                <c:pt idx="4529">
                  <c:v>-0.30139392399999998</c:v>
                </c:pt>
                <c:pt idx="4530">
                  <c:v>-0.309605403</c:v>
                </c:pt>
                <c:pt idx="4531">
                  <c:v>-0.31127290400000002</c:v>
                </c:pt>
                <c:pt idx="4532">
                  <c:v>-0.31871903899999998</c:v>
                </c:pt>
                <c:pt idx="4533">
                  <c:v>-0.32352175100000002</c:v>
                </c:pt>
                <c:pt idx="4534">
                  <c:v>-0.32686051100000002</c:v>
                </c:pt>
                <c:pt idx="4535">
                  <c:v>-0.33055045300000002</c:v>
                </c:pt>
                <c:pt idx="4536">
                  <c:v>-0.33222011200000001</c:v>
                </c:pt>
                <c:pt idx="4537">
                  <c:v>-0.33416878900000002</c:v>
                </c:pt>
                <c:pt idx="4538">
                  <c:v>-0.33771816100000002</c:v>
                </c:pt>
                <c:pt idx="4539">
                  <c:v>-0.33806447299999998</c:v>
                </c:pt>
                <c:pt idx="4540">
                  <c:v>-0.34133646200000001</c:v>
                </c:pt>
                <c:pt idx="4541">
                  <c:v>-0.34307668299999999</c:v>
                </c:pt>
                <c:pt idx="4542">
                  <c:v>-0.36993662399999999</c:v>
                </c:pt>
                <c:pt idx="4543">
                  <c:v>-0.375782585</c:v>
                </c:pt>
                <c:pt idx="4544">
                  <c:v>-0.37592207700000002</c:v>
                </c:pt>
                <c:pt idx="4545">
                  <c:v>-0.376062126</c:v>
                </c:pt>
                <c:pt idx="4546">
                  <c:v>-0.37613053200000002</c:v>
                </c:pt>
                <c:pt idx="4547">
                  <c:v>-0.37766177699999998</c:v>
                </c:pt>
                <c:pt idx="4548">
                  <c:v>-0.37780182600000001</c:v>
                </c:pt>
                <c:pt idx="4549">
                  <c:v>-0.37787183200000002</c:v>
                </c:pt>
                <c:pt idx="4550">
                  <c:v>-0.387612921</c:v>
                </c:pt>
                <c:pt idx="4551">
                  <c:v>-0.39004955899999999</c:v>
                </c:pt>
                <c:pt idx="4552">
                  <c:v>-0.39032694200000001</c:v>
                </c:pt>
                <c:pt idx="4553">
                  <c:v>-0.39485119200000002</c:v>
                </c:pt>
                <c:pt idx="4554">
                  <c:v>-0.39645028700000001</c:v>
                </c:pt>
                <c:pt idx="4555">
                  <c:v>-0.396660342</c:v>
                </c:pt>
                <c:pt idx="4556">
                  <c:v>-0.39853842099999998</c:v>
                </c:pt>
                <c:pt idx="4557">
                  <c:v>-0.402092699</c:v>
                </c:pt>
                <c:pt idx="4558">
                  <c:v>-0.40236681200000002</c:v>
                </c:pt>
                <c:pt idx="4559">
                  <c:v>-0.40424544699999998</c:v>
                </c:pt>
                <c:pt idx="4560">
                  <c:v>-0.40438438199999999</c:v>
                </c:pt>
                <c:pt idx="4561">
                  <c:v>-0.40584454199999997</c:v>
                </c:pt>
                <c:pt idx="4562">
                  <c:v>-0.41016033699999999</c:v>
                </c:pt>
                <c:pt idx="4563">
                  <c:v>-0.41510146199999998</c:v>
                </c:pt>
                <c:pt idx="4564">
                  <c:v>-0.41558726600000001</c:v>
                </c:pt>
                <c:pt idx="4565">
                  <c:v>-0.41739749399999998</c:v>
                </c:pt>
                <c:pt idx="4566">
                  <c:v>-0.41892873899999999</c:v>
                </c:pt>
                <c:pt idx="4567">
                  <c:v>-0.42038994299999999</c:v>
                </c:pt>
                <c:pt idx="4568">
                  <c:v>-0.42066840500000002</c:v>
                </c:pt>
                <c:pt idx="4569">
                  <c:v>-0.42073789</c:v>
                </c:pt>
                <c:pt idx="4570">
                  <c:v>-0.42219912799999998</c:v>
                </c:pt>
                <c:pt idx="4571">
                  <c:v>-0.42261652500000002</c:v>
                </c:pt>
                <c:pt idx="4572">
                  <c:v>-0.42602532700000001</c:v>
                </c:pt>
                <c:pt idx="4573">
                  <c:v>-0.42992803899999998</c:v>
                </c:pt>
                <c:pt idx="4574">
                  <c:v>-0.43347254000000002</c:v>
                </c:pt>
                <c:pt idx="4575">
                  <c:v>-0.43479480799999998</c:v>
                </c:pt>
                <c:pt idx="4576">
                  <c:v>-0.44168294000000002</c:v>
                </c:pt>
                <c:pt idx="4577">
                  <c:v>-0.44933860799999997</c:v>
                </c:pt>
                <c:pt idx="4578">
                  <c:v>-0.450521907</c:v>
                </c:pt>
                <c:pt idx="4579">
                  <c:v>-0.45066087700000002</c:v>
                </c:pt>
                <c:pt idx="4580">
                  <c:v>-0.45191365999999999</c:v>
                </c:pt>
                <c:pt idx="4581">
                  <c:v>-0.45574093700000001</c:v>
                </c:pt>
                <c:pt idx="4582">
                  <c:v>-0.45817649599999999</c:v>
                </c:pt>
                <c:pt idx="4583">
                  <c:v>-0.461515813</c:v>
                </c:pt>
                <c:pt idx="4584">
                  <c:v>-0.46646180900000001</c:v>
                </c:pt>
                <c:pt idx="4585">
                  <c:v>-0.46951939300000001</c:v>
                </c:pt>
                <c:pt idx="4586">
                  <c:v>-0.46979785499999999</c:v>
                </c:pt>
                <c:pt idx="4587">
                  <c:v>-0.47884416299999999</c:v>
                </c:pt>
                <c:pt idx="4588">
                  <c:v>-0.48344113399999999</c:v>
                </c:pt>
                <c:pt idx="4589">
                  <c:v>-0.48733793199999997</c:v>
                </c:pt>
                <c:pt idx="4590">
                  <c:v>-0.49311385099999999</c:v>
                </c:pt>
                <c:pt idx="4591">
                  <c:v>-0.49429714899999999</c:v>
                </c:pt>
                <c:pt idx="4592">
                  <c:v>-0.50042049399999999</c:v>
                </c:pt>
                <c:pt idx="4593">
                  <c:v>-0.501042553</c:v>
                </c:pt>
                <c:pt idx="4594">
                  <c:v>-0.50341297699999998</c:v>
                </c:pt>
                <c:pt idx="4595">
                  <c:v>-0.50536161899999998</c:v>
                </c:pt>
                <c:pt idx="4596">
                  <c:v>-0.50542675500000001</c:v>
                </c:pt>
                <c:pt idx="4597">
                  <c:v>-0.51051116500000004</c:v>
                </c:pt>
                <c:pt idx="4598">
                  <c:v>-0.51057629999999998</c:v>
                </c:pt>
                <c:pt idx="4599">
                  <c:v>-0.51447741199999997</c:v>
                </c:pt>
                <c:pt idx="4600">
                  <c:v>-0.523663247</c:v>
                </c:pt>
                <c:pt idx="4601">
                  <c:v>-0.527142577</c:v>
                </c:pt>
                <c:pt idx="4602">
                  <c:v>-0.52936536700000003</c:v>
                </c:pt>
                <c:pt idx="4603">
                  <c:v>-0.53500614400000002</c:v>
                </c:pt>
                <c:pt idx="4604">
                  <c:v>-0.53973825799999997</c:v>
                </c:pt>
                <c:pt idx="4605">
                  <c:v>-0.54836716799999996</c:v>
                </c:pt>
                <c:pt idx="4606">
                  <c:v>-0.54843721000000001</c:v>
                </c:pt>
                <c:pt idx="4607">
                  <c:v>-0.550454781</c:v>
                </c:pt>
                <c:pt idx="4608">
                  <c:v>-0.55101114799999995</c:v>
                </c:pt>
                <c:pt idx="4609">
                  <c:v>-0.55128960999999999</c:v>
                </c:pt>
                <c:pt idx="4610">
                  <c:v>-0.55636970500000005</c:v>
                </c:pt>
                <c:pt idx="4611">
                  <c:v>-0.55664813199999996</c:v>
                </c:pt>
                <c:pt idx="4612">
                  <c:v>-0.56117130400000004</c:v>
                </c:pt>
                <c:pt idx="4613">
                  <c:v>-0.56632084900000002</c:v>
                </c:pt>
                <c:pt idx="4614">
                  <c:v>-0.57049607400000002</c:v>
                </c:pt>
                <c:pt idx="4615">
                  <c:v>-0.57675891000000001</c:v>
                </c:pt>
                <c:pt idx="4616">
                  <c:v>-0.59116377499999995</c:v>
                </c:pt>
                <c:pt idx="4617">
                  <c:v>-0.59499105299999999</c:v>
                </c:pt>
                <c:pt idx="4618">
                  <c:v>-0.59840093299999997</c:v>
                </c:pt>
                <c:pt idx="4619">
                  <c:v>-0.59853986800000003</c:v>
                </c:pt>
                <c:pt idx="4620">
                  <c:v>-0.60034957499999997</c:v>
                </c:pt>
                <c:pt idx="4621">
                  <c:v>-0.60731070700000001</c:v>
                </c:pt>
                <c:pt idx="4622">
                  <c:v>-0.60772876499999995</c:v>
                </c:pt>
                <c:pt idx="4623">
                  <c:v>-0.61378095499999996</c:v>
                </c:pt>
                <c:pt idx="4624">
                  <c:v>-0.61391794099999997</c:v>
                </c:pt>
                <c:pt idx="4625">
                  <c:v>-0.61405819900000003</c:v>
                </c:pt>
                <c:pt idx="4626">
                  <c:v>-0.61559014000000001</c:v>
                </c:pt>
                <c:pt idx="4627">
                  <c:v>-0.617331301</c:v>
                </c:pt>
                <c:pt idx="4628">
                  <c:v>-0.617466548</c:v>
                </c:pt>
                <c:pt idx="4629">
                  <c:v>-0.61754041699999995</c:v>
                </c:pt>
                <c:pt idx="4630">
                  <c:v>-0.62449692099999998</c:v>
                </c:pt>
                <c:pt idx="4631">
                  <c:v>-0.62853362800000001</c:v>
                </c:pt>
                <c:pt idx="4632">
                  <c:v>-0.62895112900000005</c:v>
                </c:pt>
                <c:pt idx="4633">
                  <c:v>-0.62902061399999998</c:v>
                </c:pt>
                <c:pt idx="4634">
                  <c:v>-0.63138717499999997</c:v>
                </c:pt>
                <c:pt idx="4635">
                  <c:v>-0.63145721700000002</c:v>
                </c:pt>
                <c:pt idx="4636">
                  <c:v>-0.63883076999999999</c:v>
                </c:pt>
                <c:pt idx="4637">
                  <c:v>-0.64523191599999996</c:v>
                </c:pt>
                <c:pt idx="4638">
                  <c:v>-0.66221280599999999</c:v>
                </c:pt>
                <c:pt idx="4639">
                  <c:v>-0.66346558899999997</c:v>
                </c:pt>
                <c:pt idx="4640">
                  <c:v>-0.66450939499999995</c:v>
                </c:pt>
                <c:pt idx="4641">
                  <c:v>-0.66457887999999998</c:v>
                </c:pt>
                <c:pt idx="4642">
                  <c:v>-0.66624909600000004</c:v>
                </c:pt>
                <c:pt idx="4643">
                  <c:v>-0.666388066</c:v>
                </c:pt>
                <c:pt idx="4644">
                  <c:v>-0.67480859100000001</c:v>
                </c:pt>
                <c:pt idx="4645">
                  <c:v>-0.675225988</c:v>
                </c:pt>
                <c:pt idx="4646">
                  <c:v>-0.67766154700000003</c:v>
                </c:pt>
                <c:pt idx="4647">
                  <c:v>-0.67780051699999999</c:v>
                </c:pt>
                <c:pt idx="4648">
                  <c:v>-0.67794000899999995</c:v>
                </c:pt>
                <c:pt idx="4649">
                  <c:v>-0.67967859600000002</c:v>
                </c:pt>
                <c:pt idx="4650">
                  <c:v>-0.68037449000000005</c:v>
                </c:pt>
                <c:pt idx="4651">
                  <c:v>-0.68378544900000005</c:v>
                </c:pt>
                <c:pt idx="4652">
                  <c:v>-0.68636050000000004</c:v>
                </c:pt>
                <c:pt idx="4653">
                  <c:v>-0.68712584399999999</c:v>
                </c:pt>
                <c:pt idx="4654">
                  <c:v>-0.68727834899999996</c:v>
                </c:pt>
                <c:pt idx="4655">
                  <c:v>-0.68803447299999998</c:v>
                </c:pt>
                <c:pt idx="4656">
                  <c:v>-0.68810395800000002</c:v>
                </c:pt>
                <c:pt idx="4657">
                  <c:v>-0.68921289900000005</c:v>
                </c:pt>
                <c:pt idx="4658">
                  <c:v>-0.69214021199999998</c:v>
                </c:pt>
                <c:pt idx="4659">
                  <c:v>-0.692205348</c:v>
                </c:pt>
                <c:pt idx="4660">
                  <c:v>-0.69290559100000004</c:v>
                </c:pt>
                <c:pt idx="4661">
                  <c:v>-0.69944253999999995</c:v>
                </c:pt>
                <c:pt idx="4662">
                  <c:v>-0.70723658700000003</c:v>
                </c:pt>
                <c:pt idx="4663">
                  <c:v>-0.70939368400000002</c:v>
                </c:pt>
                <c:pt idx="4664">
                  <c:v>-0.71036800499999997</c:v>
                </c:pt>
                <c:pt idx="4665">
                  <c:v>-0.71050697500000004</c:v>
                </c:pt>
                <c:pt idx="4666">
                  <c:v>-0.71308689800000002</c:v>
                </c:pt>
                <c:pt idx="4667">
                  <c:v>-0.71343484499999998</c:v>
                </c:pt>
                <c:pt idx="4668">
                  <c:v>-0.717605198</c:v>
                </c:pt>
                <c:pt idx="4669">
                  <c:v>-0.71774413299999995</c:v>
                </c:pt>
                <c:pt idx="4670">
                  <c:v>-0.71941869800000002</c:v>
                </c:pt>
                <c:pt idx="4671">
                  <c:v>-0.72115836300000002</c:v>
                </c:pt>
                <c:pt idx="4672">
                  <c:v>-0.72742119900000002</c:v>
                </c:pt>
                <c:pt idx="4673">
                  <c:v>-0.73027415600000001</c:v>
                </c:pt>
                <c:pt idx="4674">
                  <c:v>-0.73549370800000002</c:v>
                </c:pt>
                <c:pt idx="4675">
                  <c:v>-0.736745969</c:v>
                </c:pt>
                <c:pt idx="4676">
                  <c:v>-0.74753249899999996</c:v>
                </c:pt>
                <c:pt idx="4677">
                  <c:v>-0.748919903</c:v>
                </c:pt>
                <c:pt idx="4678">
                  <c:v>-0.74906318800000005</c:v>
                </c:pt>
                <c:pt idx="4679">
                  <c:v>-0.75087237299999998</c:v>
                </c:pt>
                <c:pt idx="4680">
                  <c:v>-0.75156443900000003</c:v>
                </c:pt>
                <c:pt idx="4681">
                  <c:v>-0.75386482099999996</c:v>
                </c:pt>
                <c:pt idx="4682">
                  <c:v>-0.75399996400000002</c:v>
                </c:pt>
                <c:pt idx="4683">
                  <c:v>-0.75783159</c:v>
                </c:pt>
                <c:pt idx="4684">
                  <c:v>-0.76054505500000003</c:v>
                </c:pt>
                <c:pt idx="4685">
                  <c:v>-0.76207630000000004</c:v>
                </c:pt>
                <c:pt idx="4686">
                  <c:v>-0.76291112900000002</c:v>
                </c:pt>
                <c:pt idx="4687">
                  <c:v>-0.76715639499999999</c:v>
                </c:pt>
                <c:pt idx="4688">
                  <c:v>-0.76785225400000001</c:v>
                </c:pt>
                <c:pt idx="4689">
                  <c:v>-0.76792173900000005</c:v>
                </c:pt>
                <c:pt idx="4690">
                  <c:v>-0.76924397200000005</c:v>
                </c:pt>
                <c:pt idx="4691">
                  <c:v>-0.77474146499999996</c:v>
                </c:pt>
                <c:pt idx="4692">
                  <c:v>-0.77627218799999997</c:v>
                </c:pt>
                <c:pt idx="4693">
                  <c:v>-0.77662010000000004</c:v>
                </c:pt>
                <c:pt idx="4694">
                  <c:v>-0.77822082999999997</c:v>
                </c:pt>
                <c:pt idx="4695">
                  <c:v>-0.78127897099999999</c:v>
                </c:pt>
                <c:pt idx="4696">
                  <c:v>-0.78316139900000004</c:v>
                </c:pt>
                <c:pt idx="4697">
                  <c:v>-0.78469264400000005</c:v>
                </c:pt>
                <c:pt idx="4698">
                  <c:v>-0.78587214900000002</c:v>
                </c:pt>
                <c:pt idx="4699">
                  <c:v>-0.79081598900000005</c:v>
                </c:pt>
                <c:pt idx="4700">
                  <c:v>-0.79165134000000004</c:v>
                </c:pt>
                <c:pt idx="4701">
                  <c:v>-0.79297360800000005</c:v>
                </c:pt>
                <c:pt idx="4702">
                  <c:v>-0.79492172800000005</c:v>
                </c:pt>
                <c:pt idx="4703">
                  <c:v>-0.79540916699999997</c:v>
                </c:pt>
                <c:pt idx="4704">
                  <c:v>-0.79624399599999995</c:v>
                </c:pt>
                <c:pt idx="4705">
                  <c:v>-0.79645297299999995</c:v>
                </c:pt>
                <c:pt idx="4706">
                  <c:v>-0.805916678</c:v>
                </c:pt>
                <c:pt idx="4707">
                  <c:v>-0.81092728800000002</c:v>
                </c:pt>
                <c:pt idx="4708">
                  <c:v>-0.81120574999999995</c:v>
                </c:pt>
                <c:pt idx="4709">
                  <c:v>-0.81238849199999996</c:v>
                </c:pt>
                <c:pt idx="4710">
                  <c:v>-0.81496302099999995</c:v>
                </c:pt>
                <c:pt idx="4711">
                  <c:v>-0.82032154300000004</c:v>
                </c:pt>
                <c:pt idx="4712">
                  <c:v>-0.82143483399999995</c:v>
                </c:pt>
                <c:pt idx="4713">
                  <c:v>-0.82616694800000001</c:v>
                </c:pt>
                <c:pt idx="4714">
                  <c:v>-0.83799676199999995</c:v>
                </c:pt>
                <c:pt idx="4715">
                  <c:v>-0.83931902999999997</c:v>
                </c:pt>
                <c:pt idx="4716">
                  <c:v>-0.84015438099999995</c:v>
                </c:pt>
                <c:pt idx="4717">
                  <c:v>-0.84043232099999998</c:v>
                </c:pt>
                <c:pt idx="4718">
                  <c:v>-0.849409144</c:v>
                </c:pt>
                <c:pt idx="4719">
                  <c:v>-0.850453507</c:v>
                </c:pt>
                <c:pt idx="4720">
                  <c:v>-0.85351544000000001</c:v>
                </c:pt>
                <c:pt idx="4721">
                  <c:v>-0.860474136</c:v>
                </c:pt>
                <c:pt idx="4722">
                  <c:v>-0.86151794199999998</c:v>
                </c:pt>
                <c:pt idx="4723">
                  <c:v>-0.87042639399999999</c:v>
                </c:pt>
                <c:pt idx="4724">
                  <c:v>-0.87348669199999995</c:v>
                </c:pt>
                <c:pt idx="4725">
                  <c:v>-0.87620071300000002</c:v>
                </c:pt>
                <c:pt idx="4726">
                  <c:v>-0.87661866700000002</c:v>
                </c:pt>
                <c:pt idx="4727">
                  <c:v>-0.87682708700000001</c:v>
                </c:pt>
                <c:pt idx="4728">
                  <c:v>-0.88232457900000005</c:v>
                </c:pt>
                <c:pt idx="4729">
                  <c:v>-0.88545599799999997</c:v>
                </c:pt>
                <c:pt idx="4730">
                  <c:v>-0.89088400499999998</c:v>
                </c:pt>
                <c:pt idx="4731">
                  <c:v>-0.89241469299999998</c:v>
                </c:pt>
                <c:pt idx="4732">
                  <c:v>-0.89464183200000003</c:v>
                </c:pt>
                <c:pt idx="4733">
                  <c:v>-0.90132206599999998</c:v>
                </c:pt>
                <c:pt idx="4734">
                  <c:v>-0.90556729800000002</c:v>
                </c:pt>
                <c:pt idx="4735">
                  <c:v>-0.90619315</c:v>
                </c:pt>
                <c:pt idx="4736">
                  <c:v>-0.90925671799999996</c:v>
                </c:pt>
                <c:pt idx="4737">
                  <c:v>-0.91301290999999996</c:v>
                </c:pt>
                <c:pt idx="4738">
                  <c:v>-0.91913677699999996</c:v>
                </c:pt>
                <c:pt idx="4739">
                  <c:v>-0.92122438900000003</c:v>
                </c:pt>
                <c:pt idx="4740">
                  <c:v>-0.92226819500000001</c:v>
                </c:pt>
                <c:pt idx="4741">
                  <c:v>-0.925539106</c:v>
                </c:pt>
                <c:pt idx="4742">
                  <c:v>-0.92957810900000004</c:v>
                </c:pt>
                <c:pt idx="4743">
                  <c:v>-0.92992386400000004</c:v>
                </c:pt>
                <c:pt idx="4744">
                  <c:v>-0.93479658300000001</c:v>
                </c:pt>
                <c:pt idx="4745">
                  <c:v>-0.93584038899999999</c:v>
                </c:pt>
                <c:pt idx="4746">
                  <c:v>-0.94189316999999995</c:v>
                </c:pt>
                <c:pt idx="4747">
                  <c:v>-0.94196157599999997</c:v>
                </c:pt>
                <c:pt idx="4748">
                  <c:v>-0.94593105899999996</c:v>
                </c:pt>
                <c:pt idx="4749">
                  <c:v>-0.95033641599999996</c:v>
                </c:pt>
                <c:pt idx="4750">
                  <c:v>-0.956575383</c:v>
                </c:pt>
                <c:pt idx="4751">
                  <c:v>-0.95699549500000003</c:v>
                </c:pt>
                <c:pt idx="4752">
                  <c:v>-0.96172492899999995</c:v>
                </c:pt>
                <c:pt idx="4753">
                  <c:v>-0.962979904</c:v>
                </c:pt>
                <c:pt idx="4754">
                  <c:v>-0.96325833100000002</c:v>
                </c:pt>
                <c:pt idx="4755">
                  <c:v>-0.96346730800000002</c:v>
                </c:pt>
                <c:pt idx="4756">
                  <c:v>-0.964511114</c:v>
                </c:pt>
                <c:pt idx="4757">
                  <c:v>-0.96534594299999998</c:v>
                </c:pt>
                <c:pt idx="4758">
                  <c:v>-0.97181775699999995</c:v>
                </c:pt>
                <c:pt idx="4759">
                  <c:v>-0.97230196000000002</c:v>
                </c:pt>
                <c:pt idx="4760">
                  <c:v>-0.97675672499999999</c:v>
                </c:pt>
                <c:pt idx="4761">
                  <c:v>-0.97835742000000003</c:v>
                </c:pt>
                <c:pt idx="4762">
                  <c:v>-0.98253264500000004</c:v>
                </c:pt>
                <c:pt idx="4763">
                  <c:v>-0.98267325000000005</c:v>
                </c:pt>
                <c:pt idx="4764">
                  <c:v>-0.98824130600000004</c:v>
                </c:pt>
                <c:pt idx="4765">
                  <c:v>-0.99060626699999998</c:v>
                </c:pt>
                <c:pt idx="4766">
                  <c:v>-0.99519836699999997</c:v>
                </c:pt>
                <c:pt idx="4767">
                  <c:v>-0.99638222099999996</c:v>
                </c:pt>
                <c:pt idx="4768">
                  <c:v>-1</c:v>
                </c:pt>
                <c:pt idx="4769">
                  <c:v>-1</c:v>
                </c:pt>
                <c:pt idx="4770">
                  <c:v>-1</c:v>
                </c:pt>
                <c:pt idx="4771">
                  <c:v>-1</c:v>
                </c:pt>
                <c:pt idx="4772">
                  <c:v>-1</c:v>
                </c:pt>
                <c:pt idx="4773">
                  <c:v>-1</c:v>
                </c:pt>
                <c:pt idx="4774">
                  <c:v>-1</c:v>
                </c:pt>
                <c:pt idx="4775">
                  <c:v>-1</c:v>
                </c:pt>
                <c:pt idx="4776">
                  <c:v>-1</c:v>
                </c:pt>
                <c:pt idx="4777">
                  <c:v>-1</c:v>
                </c:pt>
                <c:pt idx="4778">
                  <c:v>-1</c:v>
                </c:pt>
                <c:pt idx="4779">
                  <c:v>-1</c:v>
                </c:pt>
                <c:pt idx="4780">
                  <c:v>-1</c:v>
                </c:pt>
                <c:pt idx="4781">
                  <c:v>-1</c:v>
                </c:pt>
                <c:pt idx="4782">
                  <c:v>-1</c:v>
                </c:pt>
                <c:pt idx="4783">
                  <c:v>-1</c:v>
                </c:pt>
                <c:pt idx="4784">
                  <c:v>-1</c:v>
                </c:pt>
                <c:pt idx="4785">
                  <c:v>-1</c:v>
                </c:pt>
                <c:pt idx="4786">
                  <c:v>-1</c:v>
                </c:pt>
                <c:pt idx="4787">
                  <c:v>-1</c:v>
                </c:pt>
                <c:pt idx="4788">
                  <c:v>-1</c:v>
                </c:pt>
                <c:pt idx="4789">
                  <c:v>-1</c:v>
                </c:pt>
                <c:pt idx="4790">
                  <c:v>-1</c:v>
                </c:pt>
                <c:pt idx="4791">
                  <c:v>-1</c:v>
                </c:pt>
                <c:pt idx="4792">
                  <c:v>-1</c:v>
                </c:pt>
                <c:pt idx="4793">
                  <c:v>-1</c:v>
                </c:pt>
                <c:pt idx="4794">
                  <c:v>-1</c:v>
                </c:pt>
                <c:pt idx="4795">
                  <c:v>-1</c:v>
                </c:pt>
                <c:pt idx="4796">
                  <c:v>-1</c:v>
                </c:pt>
                <c:pt idx="4797">
                  <c:v>-1</c:v>
                </c:pt>
                <c:pt idx="4798">
                  <c:v>-1</c:v>
                </c:pt>
                <c:pt idx="4799">
                  <c:v>-1</c:v>
                </c:pt>
                <c:pt idx="4800">
                  <c:v>-1</c:v>
                </c:pt>
                <c:pt idx="4801">
                  <c:v>-1</c:v>
                </c:pt>
                <c:pt idx="4802">
                  <c:v>-1</c:v>
                </c:pt>
                <c:pt idx="4803">
                  <c:v>-1</c:v>
                </c:pt>
                <c:pt idx="4804">
                  <c:v>-1</c:v>
                </c:pt>
                <c:pt idx="4805">
                  <c:v>-1</c:v>
                </c:pt>
                <c:pt idx="4806">
                  <c:v>-1</c:v>
                </c:pt>
                <c:pt idx="4807">
                  <c:v>-1</c:v>
                </c:pt>
                <c:pt idx="4808">
                  <c:v>-1</c:v>
                </c:pt>
                <c:pt idx="4809">
                  <c:v>-1</c:v>
                </c:pt>
                <c:pt idx="4810">
                  <c:v>-1</c:v>
                </c:pt>
                <c:pt idx="4811">
                  <c:v>-1</c:v>
                </c:pt>
                <c:pt idx="4812">
                  <c:v>-1</c:v>
                </c:pt>
                <c:pt idx="4813">
                  <c:v>-1</c:v>
                </c:pt>
                <c:pt idx="4814">
                  <c:v>-1</c:v>
                </c:pt>
                <c:pt idx="4815">
                  <c:v>-1</c:v>
                </c:pt>
                <c:pt idx="4816">
                  <c:v>-1</c:v>
                </c:pt>
                <c:pt idx="4817">
                  <c:v>-1</c:v>
                </c:pt>
                <c:pt idx="4818">
                  <c:v>-1</c:v>
                </c:pt>
                <c:pt idx="4819">
                  <c:v>-1</c:v>
                </c:pt>
                <c:pt idx="4820">
                  <c:v>-1</c:v>
                </c:pt>
                <c:pt idx="4821">
                  <c:v>-1</c:v>
                </c:pt>
                <c:pt idx="4822">
                  <c:v>-1</c:v>
                </c:pt>
                <c:pt idx="4823">
                  <c:v>-1</c:v>
                </c:pt>
                <c:pt idx="4824">
                  <c:v>-1</c:v>
                </c:pt>
                <c:pt idx="4825">
                  <c:v>-1</c:v>
                </c:pt>
                <c:pt idx="4826">
                  <c:v>-1</c:v>
                </c:pt>
                <c:pt idx="4827">
                  <c:v>-1</c:v>
                </c:pt>
                <c:pt idx="4828">
                  <c:v>-1</c:v>
                </c:pt>
                <c:pt idx="4829">
                  <c:v>-1</c:v>
                </c:pt>
                <c:pt idx="4830">
                  <c:v>-1</c:v>
                </c:pt>
                <c:pt idx="4831">
                  <c:v>-1</c:v>
                </c:pt>
                <c:pt idx="4832">
                  <c:v>-1</c:v>
                </c:pt>
                <c:pt idx="4833">
                  <c:v>-1</c:v>
                </c:pt>
                <c:pt idx="4834">
                  <c:v>-1</c:v>
                </c:pt>
                <c:pt idx="4835">
                  <c:v>-1</c:v>
                </c:pt>
                <c:pt idx="4836">
                  <c:v>-1</c:v>
                </c:pt>
                <c:pt idx="4837">
                  <c:v>-1</c:v>
                </c:pt>
                <c:pt idx="4838">
                  <c:v>-1</c:v>
                </c:pt>
                <c:pt idx="4839">
                  <c:v>-1</c:v>
                </c:pt>
                <c:pt idx="4840">
                  <c:v>-1</c:v>
                </c:pt>
                <c:pt idx="4841">
                  <c:v>-1</c:v>
                </c:pt>
                <c:pt idx="4842">
                  <c:v>-1</c:v>
                </c:pt>
                <c:pt idx="4843">
                  <c:v>-1</c:v>
                </c:pt>
                <c:pt idx="4844">
                  <c:v>-1</c:v>
                </c:pt>
                <c:pt idx="4845">
                  <c:v>-1</c:v>
                </c:pt>
                <c:pt idx="4846">
                  <c:v>-1</c:v>
                </c:pt>
                <c:pt idx="4847">
                  <c:v>-1</c:v>
                </c:pt>
                <c:pt idx="4848">
                  <c:v>-1</c:v>
                </c:pt>
                <c:pt idx="4849">
                  <c:v>-1</c:v>
                </c:pt>
                <c:pt idx="4850">
                  <c:v>-1</c:v>
                </c:pt>
                <c:pt idx="4851">
                  <c:v>-1</c:v>
                </c:pt>
                <c:pt idx="4852">
                  <c:v>-1</c:v>
                </c:pt>
                <c:pt idx="4853">
                  <c:v>-1</c:v>
                </c:pt>
                <c:pt idx="4854">
                  <c:v>-1</c:v>
                </c:pt>
                <c:pt idx="4855">
                  <c:v>-1</c:v>
                </c:pt>
                <c:pt idx="4856">
                  <c:v>-1</c:v>
                </c:pt>
                <c:pt idx="4857">
                  <c:v>-1</c:v>
                </c:pt>
                <c:pt idx="4858">
                  <c:v>-1</c:v>
                </c:pt>
                <c:pt idx="4859">
                  <c:v>-1</c:v>
                </c:pt>
                <c:pt idx="4860">
                  <c:v>-1</c:v>
                </c:pt>
                <c:pt idx="4861">
                  <c:v>-1</c:v>
                </c:pt>
                <c:pt idx="4862">
                  <c:v>-1</c:v>
                </c:pt>
                <c:pt idx="4863">
                  <c:v>-1</c:v>
                </c:pt>
                <c:pt idx="4864">
                  <c:v>-1</c:v>
                </c:pt>
                <c:pt idx="4865">
                  <c:v>-1</c:v>
                </c:pt>
                <c:pt idx="4866">
                  <c:v>-1</c:v>
                </c:pt>
                <c:pt idx="4867">
                  <c:v>-1</c:v>
                </c:pt>
                <c:pt idx="4868">
                  <c:v>-1</c:v>
                </c:pt>
                <c:pt idx="4869">
                  <c:v>-1</c:v>
                </c:pt>
                <c:pt idx="4870">
                  <c:v>-1</c:v>
                </c:pt>
                <c:pt idx="4871">
                  <c:v>-1</c:v>
                </c:pt>
                <c:pt idx="4872">
                  <c:v>-1</c:v>
                </c:pt>
                <c:pt idx="4873">
                  <c:v>-1</c:v>
                </c:pt>
                <c:pt idx="4874">
                  <c:v>-1</c:v>
                </c:pt>
                <c:pt idx="4875">
                  <c:v>-1</c:v>
                </c:pt>
                <c:pt idx="4876">
                  <c:v>-1</c:v>
                </c:pt>
                <c:pt idx="4877">
                  <c:v>-1</c:v>
                </c:pt>
                <c:pt idx="4878">
                  <c:v>-1</c:v>
                </c:pt>
                <c:pt idx="4879">
                  <c:v>-1</c:v>
                </c:pt>
                <c:pt idx="4880">
                  <c:v>-1</c:v>
                </c:pt>
                <c:pt idx="4881">
                  <c:v>-1</c:v>
                </c:pt>
                <c:pt idx="4882">
                  <c:v>-1</c:v>
                </c:pt>
                <c:pt idx="4883">
                  <c:v>-1</c:v>
                </c:pt>
                <c:pt idx="4884">
                  <c:v>-1</c:v>
                </c:pt>
                <c:pt idx="4885">
                  <c:v>-1</c:v>
                </c:pt>
                <c:pt idx="4886">
                  <c:v>-1</c:v>
                </c:pt>
                <c:pt idx="4887">
                  <c:v>-1</c:v>
                </c:pt>
                <c:pt idx="4888">
                  <c:v>-1</c:v>
                </c:pt>
                <c:pt idx="4889">
                  <c:v>-1</c:v>
                </c:pt>
                <c:pt idx="4890">
                  <c:v>-1</c:v>
                </c:pt>
                <c:pt idx="4891">
                  <c:v>-1</c:v>
                </c:pt>
                <c:pt idx="4892">
                  <c:v>-1</c:v>
                </c:pt>
                <c:pt idx="4893">
                  <c:v>-1</c:v>
                </c:pt>
                <c:pt idx="4894">
                  <c:v>-1</c:v>
                </c:pt>
                <c:pt idx="4895">
                  <c:v>-1</c:v>
                </c:pt>
                <c:pt idx="4896">
                  <c:v>-1</c:v>
                </c:pt>
                <c:pt idx="4897">
                  <c:v>-1</c:v>
                </c:pt>
                <c:pt idx="4898">
                  <c:v>-1</c:v>
                </c:pt>
                <c:pt idx="4899">
                  <c:v>-1</c:v>
                </c:pt>
                <c:pt idx="4900">
                  <c:v>-1</c:v>
                </c:pt>
                <c:pt idx="4901">
                  <c:v>-1</c:v>
                </c:pt>
                <c:pt idx="4902">
                  <c:v>-1</c:v>
                </c:pt>
                <c:pt idx="4903">
                  <c:v>-1</c:v>
                </c:pt>
                <c:pt idx="4904">
                  <c:v>-1</c:v>
                </c:pt>
                <c:pt idx="4905">
                  <c:v>-1</c:v>
                </c:pt>
                <c:pt idx="4906">
                  <c:v>-1</c:v>
                </c:pt>
                <c:pt idx="4907">
                  <c:v>-1</c:v>
                </c:pt>
                <c:pt idx="4908">
                  <c:v>-1</c:v>
                </c:pt>
                <c:pt idx="4909">
                  <c:v>-1</c:v>
                </c:pt>
                <c:pt idx="4910">
                  <c:v>-1</c:v>
                </c:pt>
                <c:pt idx="4911">
                  <c:v>-1</c:v>
                </c:pt>
                <c:pt idx="4912">
                  <c:v>-1</c:v>
                </c:pt>
                <c:pt idx="4913">
                  <c:v>-1</c:v>
                </c:pt>
                <c:pt idx="4914">
                  <c:v>-1</c:v>
                </c:pt>
                <c:pt idx="4915">
                  <c:v>-1</c:v>
                </c:pt>
                <c:pt idx="4916">
                  <c:v>-1</c:v>
                </c:pt>
                <c:pt idx="4917">
                  <c:v>-1</c:v>
                </c:pt>
                <c:pt idx="4918">
                  <c:v>-1</c:v>
                </c:pt>
                <c:pt idx="4919">
                  <c:v>-1</c:v>
                </c:pt>
                <c:pt idx="4920">
                  <c:v>-1</c:v>
                </c:pt>
                <c:pt idx="4921">
                  <c:v>-1</c:v>
                </c:pt>
                <c:pt idx="4922">
                  <c:v>-1</c:v>
                </c:pt>
                <c:pt idx="4923">
                  <c:v>-1</c:v>
                </c:pt>
                <c:pt idx="4924">
                  <c:v>-1</c:v>
                </c:pt>
                <c:pt idx="4925">
                  <c:v>-1</c:v>
                </c:pt>
                <c:pt idx="4926">
                  <c:v>-1</c:v>
                </c:pt>
                <c:pt idx="4927">
                  <c:v>-1</c:v>
                </c:pt>
                <c:pt idx="4928">
                  <c:v>-1</c:v>
                </c:pt>
                <c:pt idx="4929">
                  <c:v>-1</c:v>
                </c:pt>
                <c:pt idx="4930">
                  <c:v>-1</c:v>
                </c:pt>
                <c:pt idx="4931">
                  <c:v>-1</c:v>
                </c:pt>
                <c:pt idx="4932">
                  <c:v>-1</c:v>
                </c:pt>
                <c:pt idx="4933">
                  <c:v>-1</c:v>
                </c:pt>
                <c:pt idx="4934">
                  <c:v>-1</c:v>
                </c:pt>
                <c:pt idx="4935">
                  <c:v>-1</c:v>
                </c:pt>
                <c:pt idx="4936">
                  <c:v>-1</c:v>
                </c:pt>
                <c:pt idx="4937">
                  <c:v>-1</c:v>
                </c:pt>
                <c:pt idx="4938">
                  <c:v>-1</c:v>
                </c:pt>
                <c:pt idx="4939">
                  <c:v>-1</c:v>
                </c:pt>
                <c:pt idx="4940">
                  <c:v>-1</c:v>
                </c:pt>
                <c:pt idx="4941">
                  <c:v>-1</c:v>
                </c:pt>
                <c:pt idx="4942">
                  <c:v>-1</c:v>
                </c:pt>
                <c:pt idx="4943">
                  <c:v>-1</c:v>
                </c:pt>
                <c:pt idx="4944">
                  <c:v>-1</c:v>
                </c:pt>
                <c:pt idx="4945">
                  <c:v>-1</c:v>
                </c:pt>
                <c:pt idx="4946">
                  <c:v>-1</c:v>
                </c:pt>
                <c:pt idx="4947">
                  <c:v>-1</c:v>
                </c:pt>
                <c:pt idx="4948">
                  <c:v>-1</c:v>
                </c:pt>
                <c:pt idx="4949">
                  <c:v>-1</c:v>
                </c:pt>
                <c:pt idx="4950">
                  <c:v>-1</c:v>
                </c:pt>
                <c:pt idx="4951">
                  <c:v>-1</c:v>
                </c:pt>
                <c:pt idx="4952">
                  <c:v>-1</c:v>
                </c:pt>
                <c:pt idx="4953">
                  <c:v>-1</c:v>
                </c:pt>
                <c:pt idx="4954">
                  <c:v>-1</c:v>
                </c:pt>
                <c:pt idx="4955">
                  <c:v>-1</c:v>
                </c:pt>
                <c:pt idx="4956">
                  <c:v>-1</c:v>
                </c:pt>
                <c:pt idx="4957">
                  <c:v>-1</c:v>
                </c:pt>
                <c:pt idx="4958">
                  <c:v>-1</c:v>
                </c:pt>
                <c:pt idx="4959">
                  <c:v>-1</c:v>
                </c:pt>
                <c:pt idx="4960">
                  <c:v>-1</c:v>
                </c:pt>
                <c:pt idx="4961">
                  <c:v>-1</c:v>
                </c:pt>
                <c:pt idx="4962">
                  <c:v>-1</c:v>
                </c:pt>
                <c:pt idx="4963">
                  <c:v>-1</c:v>
                </c:pt>
                <c:pt idx="4964">
                  <c:v>-1</c:v>
                </c:pt>
                <c:pt idx="4965">
                  <c:v>-1</c:v>
                </c:pt>
                <c:pt idx="4966">
                  <c:v>-1</c:v>
                </c:pt>
                <c:pt idx="4967">
                  <c:v>-1</c:v>
                </c:pt>
                <c:pt idx="4968">
                  <c:v>-1</c:v>
                </c:pt>
                <c:pt idx="4969">
                  <c:v>-1</c:v>
                </c:pt>
                <c:pt idx="4970">
                  <c:v>-1</c:v>
                </c:pt>
                <c:pt idx="4971">
                  <c:v>-1</c:v>
                </c:pt>
                <c:pt idx="4972">
                  <c:v>-1</c:v>
                </c:pt>
                <c:pt idx="4973">
                  <c:v>-1</c:v>
                </c:pt>
                <c:pt idx="4974">
                  <c:v>-1</c:v>
                </c:pt>
                <c:pt idx="4975">
                  <c:v>-1</c:v>
                </c:pt>
                <c:pt idx="4976">
                  <c:v>-1</c:v>
                </c:pt>
                <c:pt idx="4977">
                  <c:v>-1</c:v>
                </c:pt>
                <c:pt idx="4978">
                  <c:v>-1</c:v>
                </c:pt>
                <c:pt idx="4979">
                  <c:v>-1</c:v>
                </c:pt>
                <c:pt idx="4980">
                  <c:v>-1</c:v>
                </c:pt>
                <c:pt idx="4981">
                  <c:v>-1</c:v>
                </c:pt>
                <c:pt idx="4982">
                  <c:v>-1</c:v>
                </c:pt>
                <c:pt idx="4983">
                  <c:v>-1</c:v>
                </c:pt>
                <c:pt idx="4984">
                  <c:v>-1</c:v>
                </c:pt>
                <c:pt idx="4985">
                  <c:v>-1</c:v>
                </c:pt>
                <c:pt idx="4986">
                  <c:v>-1</c:v>
                </c:pt>
                <c:pt idx="4987">
                  <c:v>-1</c:v>
                </c:pt>
                <c:pt idx="4988">
                  <c:v>-1</c:v>
                </c:pt>
                <c:pt idx="4989">
                  <c:v>-1</c:v>
                </c:pt>
                <c:pt idx="4990">
                  <c:v>-1</c:v>
                </c:pt>
                <c:pt idx="4991">
                  <c:v>-1</c:v>
                </c:pt>
                <c:pt idx="4992">
                  <c:v>-1</c:v>
                </c:pt>
                <c:pt idx="4993">
                  <c:v>-1</c:v>
                </c:pt>
                <c:pt idx="4994">
                  <c:v>-1</c:v>
                </c:pt>
                <c:pt idx="4995">
                  <c:v>-1</c:v>
                </c:pt>
                <c:pt idx="4996">
                  <c:v>-1</c:v>
                </c:pt>
                <c:pt idx="4997">
                  <c:v>-1</c:v>
                </c:pt>
                <c:pt idx="4998">
                  <c:v>-1</c:v>
                </c:pt>
                <c:pt idx="4999">
                  <c:v>-1</c:v>
                </c:pt>
                <c:pt idx="5000">
                  <c:v>-1</c:v>
                </c:pt>
                <c:pt idx="5001">
                  <c:v>-1</c:v>
                </c:pt>
                <c:pt idx="5002">
                  <c:v>-1</c:v>
                </c:pt>
                <c:pt idx="5003">
                  <c:v>-1</c:v>
                </c:pt>
                <c:pt idx="5004">
                  <c:v>-1</c:v>
                </c:pt>
                <c:pt idx="5005">
                  <c:v>-1</c:v>
                </c:pt>
                <c:pt idx="5006">
                  <c:v>-1</c:v>
                </c:pt>
                <c:pt idx="5007">
                  <c:v>-1</c:v>
                </c:pt>
                <c:pt idx="5008">
                  <c:v>-1</c:v>
                </c:pt>
                <c:pt idx="5009">
                  <c:v>-1</c:v>
                </c:pt>
                <c:pt idx="5010">
                  <c:v>-1</c:v>
                </c:pt>
                <c:pt idx="5011">
                  <c:v>-1</c:v>
                </c:pt>
                <c:pt idx="5012">
                  <c:v>-1</c:v>
                </c:pt>
                <c:pt idx="5013">
                  <c:v>-1</c:v>
                </c:pt>
                <c:pt idx="5014">
                  <c:v>-1</c:v>
                </c:pt>
                <c:pt idx="5015">
                  <c:v>-1</c:v>
                </c:pt>
                <c:pt idx="5016">
                  <c:v>-1</c:v>
                </c:pt>
                <c:pt idx="5017">
                  <c:v>-1</c:v>
                </c:pt>
                <c:pt idx="5018">
                  <c:v>-1</c:v>
                </c:pt>
                <c:pt idx="5019">
                  <c:v>-1</c:v>
                </c:pt>
                <c:pt idx="5020">
                  <c:v>-1</c:v>
                </c:pt>
                <c:pt idx="5021">
                  <c:v>-1</c:v>
                </c:pt>
                <c:pt idx="5022">
                  <c:v>-1</c:v>
                </c:pt>
                <c:pt idx="5023">
                  <c:v>-1</c:v>
                </c:pt>
                <c:pt idx="5024">
                  <c:v>-1</c:v>
                </c:pt>
                <c:pt idx="5025">
                  <c:v>-1</c:v>
                </c:pt>
                <c:pt idx="5026">
                  <c:v>-1</c:v>
                </c:pt>
                <c:pt idx="5027">
                  <c:v>-1</c:v>
                </c:pt>
                <c:pt idx="5028">
                  <c:v>-1</c:v>
                </c:pt>
                <c:pt idx="5029">
                  <c:v>-1</c:v>
                </c:pt>
                <c:pt idx="5030">
                  <c:v>-1</c:v>
                </c:pt>
                <c:pt idx="5031">
                  <c:v>-1</c:v>
                </c:pt>
                <c:pt idx="5032">
                  <c:v>-1</c:v>
                </c:pt>
                <c:pt idx="5033">
                  <c:v>-1</c:v>
                </c:pt>
                <c:pt idx="5034">
                  <c:v>-1</c:v>
                </c:pt>
                <c:pt idx="5035">
                  <c:v>-1</c:v>
                </c:pt>
                <c:pt idx="5036">
                  <c:v>-1</c:v>
                </c:pt>
                <c:pt idx="5037">
                  <c:v>-1</c:v>
                </c:pt>
                <c:pt idx="5038">
                  <c:v>-1</c:v>
                </c:pt>
                <c:pt idx="5039">
                  <c:v>-1</c:v>
                </c:pt>
                <c:pt idx="5040">
                  <c:v>-1</c:v>
                </c:pt>
                <c:pt idx="5041">
                  <c:v>-1</c:v>
                </c:pt>
                <c:pt idx="5042">
                  <c:v>-1</c:v>
                </c:pt>
                <c:pt idx="5043">
                  <c:v>-1</c:v>
                </c:pt>
                <c:pt idx="5044">
                  <c:v>-1</c:v>
                </c:pt>
                <c:pt idx="5045">
                  <c:v>-1</c:v>
                </c:pt>
                <c:pt idx="5046">
                  <c:v>-1</c:v>
                </c:pt>
                <c:pt idx="5047">
                  <c:v>-1</c:v>
                </c:pt>
                <c:pt idx="5048">
                  <c:v>-1</c:v>
                </c:pt>
                <c:pt idx="5049">
                  <c:v>-1</c:v>
                </c:pt>
                <c:pt idx="5050">
                  <c:v>-1</c:v>
                </c:pt>
                <c:pt idx="5051">
                  <c:v>-1</c:v>
                </c:pt>
                <c:pt idx="5052">
                  <c:v>-1</c:v>
                </c:pt>
                <c:pt idx="5053">
                  <c:v>-1</c:v>
                </c:pt>
                <c:pt idx="5054">
                  <c:v>-1</c:v>
                </c:pt>
                <c:pt idx="5055">
                  <c:v>-1</c:v>
                </c:pt>
                <c:pt idx="5056">
                  <c:v>-1</c:v>
                </c:pt>
                <c:pt idx="5057">
                  <c:v>-1</c:v>
                </c:pt>
                <c:pt idx="5058">
                  <c:v>-1</c:v>
                </c:pt>
                <c:pt idx="5059">
                  <c:v>-1</c:v>
                </c:pt>
                <c:pt idx="5060">
                  <c:v>-1</c:v>
                </c:pt>
                <c:pt idx="5061">
                  <c:v>-1</c:v>
                </c:pt>
                <c:pt idx="5062">
                  <c:v>-1</c:v>
                </c:pt>
                <c:pt idx="5063">
                  <c:v>-1</c:v>
                </c:pt>
                <c:pt idx="5064">
                  <c:v>-1</c:v>
                </c:pt>
                <c:pt idx="5065">
                  <c:v>-1</c:v>
                </c:pt>
                <c:pt idx="5066">
                  <c:v>-1</c:v>
                </c:pt>
                <c:pt idx="5067">
                  <c:v>-1</c:v>
                </c:pt>
                <c:pt idx="5068">
                  <c:v>-1</c:v>
                </c:pt>
                <c:pt idx="5069">
                  <c:v>-1</c:v>
                </c:pt>
                <c:pt idx="5070">
                  <c:v>-1</c:v>
                </c:pt>
                <c:pt idx="5071">
                  <c:v>-1</c:v>
                </c:pt>
                <c:pt idx="5072">
                  <c:v>-1</c:v>
                </c:pt>
                <c:pt idx="5073">
                  <c:v>-1</c:v>
                </c:pt>
                <c:pt idx="5074">
                  <c:v>-1</c:v>
                </c:pt>
                <c:pt idx="5075">
                  <c:v>-1</c:v>
                </c:pt>
                <c:pt idx="5076">
                  <c:v>-0.98739495300000002</c:v>
                </c:pt>
                <c:pt idx="5077">
                  <c:v>-0.98589325299999997</c:v>
                </c:pt>
                <c:pt idx="5078">
                  <c:v>-0.96431166000000001</c:v>
                </c:pt>
                <c:pt idx="5079">
                  <c:v>-0.95919000499999996</c:v>
                </c:pt>
                <c:pt idx="5080">
                  <c:v>-0.95661833399999996</c:v>
                </c:pt>
                <c:pt idx="5081">
                  <c:v>-0.93546494400000002</c:v>
                </c:pt>
                <c:pt idx="5082">
                  <c:v>-0.93525329999999995</c:v>
                </c:pt>
                <c:pt idx="5083">
                  <c:v>-0.93012331100000001</c:v>
                </c:pt>
                <c:pt idx="5084">
                  <c:v>-0.91645160400000003</c:v>
                </c:pt>
                <c:pt idx="5085">
                  <c:v>-0.91538334200000004</c:v>
                </c:pt>
                <c:pt idx="5086">
                  <c:v>-0.91494167800000004</c:v>
                </c:pt>
                <c:pt idx="5087">
                  <c:v>-0.90512667700000005</c:v>
                </c:pt>
                <c:pt idx="5088">
                  <c:v>-0.87030328899999998</c:v>
                </c:pt>
                <c:pt idx="5089">
                  <c:v>-0.86107332599999997</c:v>
                </c:pt>
                <c:pt idx="5090">
                  <c:v>-0.85726159899999999</c:v>
                </c:pt>
                <c:pt idx="5091">
                  <c:v>-0.82756328499999998</c:v>
                </c:pt>
                <c:pt idx="5092">
                  <c:v>-0.82455999199999996</c:v>
                </c:pt>
                <c:pt idx="5093">
                  <c:v>-0.824148349</c:v>
                </c:pt>
                <c:pt idx="5094">
                  <c:v>-0.81666666700000001</c:v>
                </c:pt>
                <c:pt idx="5095">
                  <c:v>-0.80106826200000003</c:v>
                </c:pt>
                <c:pt idx="5096">
                  <c:v>-0.80084166099999998</c:v>
                </c:pt>
                <c:pt idx="5097">
                  <c:v>-0.789303274</c:v>
                </c:pt>
                <c:pt idx="5098">
                  <c:v>-0.76131328200000004</c:v>
                </c:pt>
                <c:pt idx="5099">
                  <c:v>-0.70276664899999997</c:v>
                </c:pt>
                <c:pt idx="5100">
                  <c:v>-0.68931662800000004</c:v>
                </c:pt>
                <c:pt idx="5101">
                  <c:v>-0.68547167399999998</c:v>
                </c:pt>
                <c:pt idx="5102">
                  <c:v>-0.66876996499999997</c:v>
                </c:pt>
                <c:pt idx="5103">
                  <c:v>-0.66560160899999998</c:v>
                </c:pt>
                <c:pt idx="5104">
                  <c:v>-0.66154159300000004</c:v>
                </c:pt>
                <c:pt idx="5105">
                  <c:v>-0.639106587</c:v>
                </c:pt>
                <c:pt idx="5106">
                  <c:v>-0.61752499400000005</c:v>
                </c:pt>
                <c:pt idx="5107">
                  <c:v>-0.61666997899999998</c:v>
                </c:pt>
                <c:pt idx="5108">
                  <c:v>-0.60998658100000003</c:v>
                </c:pt>
                <c:pt idx="5109">
                  <c:v>-0.59593165000000003</c:v>
                </c:pt>
                <c:pt idx="5110">
                  <c:v>-0.58332499999999998</c:v>
                </c:pt>
                <c:pt idx="5111">
                  <c:v>-0.58118826199999996</c:v>
                </c:pt>
                <c:pt idx="5112">
                  <c:v>-0.55705497599999998</c:v>
                </c:pt>
                <c:pt idx="5113">
                  <c:v>-0.556629979</c:v>
                </c:pt>
                <c:pt idx="5114">
                  <c:v>-0.54230165200000002</c:v>
                </c:pt>
                <c:pt idx="5115">
                  <c:v>-0.52222827599999999</c:v>
                </c:pt>
                <c:pt idx="5116">
                  <c:v>-0.51261167100000005</c:v>
                </c:pt>
                <c:pt idx="5117">
                  <c:v>-0.49678826799999998</c:v>
                </c:pt>
                <c:pt idx="5118">
                  <c:v>-0.48461997000000001</c:v>
                </c:pt>
                <c:pt idx="5119">
                  <c:v>-0.48332831199999998</c:v>
                </c:pt>
                <c:pt idx="5120">
                  <c:v>-0.472216631</c:v>
                </c:pt>
                <c:pt idx="5121">
                  <c:v>-0.44936496100000001</c:v>
                </c:pt>
                <c:pt idx="5122">
                  <c:v>-0.44380997599999999</c:v>
                </c:pt>
                <c:pt idx="5123">
                  <c:v>-0.43995327000000001</c:v>
                </c:pt>
                <c:pt idx="5124">
                  <c:v>-0.42755495199999999</c:v>
                </c:pt>
                <c:pt idx="5125">
                  <c:v>-0.40725668399999998</c:v>
                </c:pt>
                <c:pt idx="5126">
                  <c:v>-0.39465494899999998</c:v>
                </c:pt>
                <c:pt idx="5127">
                  <c:v>-0.39145999100000001</c:v>
                </c:pt>
                <c:pt idx="5128">
                  <c:v>-0.38781663799999999</c:v>
                </c:pt>
                <c:pt idx="5129">
                  <c:v>-0.38717497499999998</c:v>
                </c:pt>
                <c:pt idx="5130">
                  <c:v>-0.37798828200000001</c:v>
                </c:pt>
                <c:pt idx="5131">
                  <c:v>-0.37285658399999999</c:v>
                </c:pt>
                <c:pt idx="5132">
                  <c:v>-0.37137497000000003</c:v>
                </c:pt>
                <c:pt idx="5133">
                  <c:v>-0.36624658399999999</c:v>
                </c:pt>
                <c:pt idx="5134">
                  <c:v>-0.354056598</c:v>
                </c:pt>
                <c:pt idx="5135">
                  <c:v>-0.35064828599999998</c:v>
                </c:pt>
                <c:pt idx="5136">
                  <c:v>-0.35042499700000002</c:v>
                </c:pt>
                <c:pt idx="5137">
                  <c:v>-0.34251831700000002</c:v>
                </c:pt>
                <c:pt idx="5138">
                  <c:v>-0.32926167099999998</c:v>
                </c:pt>
                <c:pt idx="5139">
                  <c:v>-0.31644166800000001</c:v>
                </c:pt>
                <c:pt idx="5140">
                  <c:v>-0.31345995599999998</c:v>
                </c:pt>
                <c:pt idx="5141">
                  <c:v>-0.31196327800000001</c:v>
                </c:pt>
                <c:pt idx="5142">
                  <c:v>-0.276491604</c:v>
                </c:pt>
                <c:pt idx="5143">
                  <c:v>-0.26965660499999999</c:v>
                </c:pt>
                <c:pt idx="5144">
                  <c:v>-0.26751997300000002</c:v>
                </c:pt>
                <c:pt idx="5145">
                  <c:v>-0.25790326099999999</c:v>
                </c:pt>
                <c:pt idx="5146">
                  <c:v>-0.25747334999999999</c:v>
                </c:pt>
                <c:pt idx="5147">
                  <c:v>-0.22970162599999999</c:v>
                </c:pt>
                <c:pt idx="5148">
                  <c:v>-0.21815832399999999</c:v>
                </c:pt>
                <c:pt idx="5149">
                  <c:v>-0.20448501399999999</c:v>
                </c:pt>
                <c:pt idx="5150">
                  <c:v>-0.194018308</c:v>
                </c:pt>
                <c:pt idx="5151">
                  <c:v>-0.17329162400000001</c:v>
                </c:pt>
                <c:pt idx="5152">
                  <c:v>-0.168801589</c:v>
                </c:pt>
                <c:pt idx="5153">
                  <c:v>-0.16046659999999999</c:v>
                </c:pt>
                <c:pt idx="5154">
                  <c:v>-0.14892992099999999</c:v>
                </c:pt>
                <c:pt idx="5155">
                  <c:v>-0.142523339</c:v>
                </c:pt>
                <c:pt idx="5156">
                  <c:v>-0.14102334799999999</c:v>
                </c:pt>
                <c:pt idx="5157">
                  <c:v>-0.11430995100000001</c:v>
                </c:pt>
                <c:pt idx="5158">
                  <c:v>-0.105344944</c:v>
                </c:pt>
                <c:pt idx="5159">
                  <c:v>-8.3763351999999999E-2</c:v>
                </c:pt>
                <c:pt idx="5160">
                  <c:v>-5.5554986000000001E-2</c:v>
                </c:pt>
                <c:pt idx="5161">
                  <c:v>-4.7004933999999998E-2</c:v>
                </c:pt>
                <c:pt idx="5162">
                  <c:v>-4.0388308999999997E-2</c:v>
                </c:pt>
                <c:pt idx="5163">
                  <c:v>-3.3978307999999999E-2</c:v>
                </c:pt>
                <c:pt idx="5164">
                  <c:v>-1.9663335000000001E-2</c:v>
                </c:pt>
                <c:pt idx="5165">
                  <c:v>-1.4748303000000001E-2</c:v>
                </c:pt>
                <c:pt idx="5166">
                  <c:v>-2.3550060000000002E-3</c:v>
                </c:pt>
                <c:pt idx="5167">
                  <c:v>0</c:v>
                </c:pt>
                <c:pt idx="5168">
                  <c:v>11</c:v>
                </c:pt>
                <c:pt idx="5169">
                  <c:v>27.250434649999999</c:v>
                </c:pt>
                <c:pt idx="5170">
                  <c:v>43</c:v>
                </c:pt>
                <c:pt idx="5171">
                  <c:v>31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3.4128307680000001</c:v>
                </c:pt>
                <c:pt idx="5201">
                  <c:v>9</c:v>
                </c:pt>
                <c:pt idx="5202">
                  <c:v>23.530539839999999</c:v>
                </c:pt>
                <c:pt idx="5203">
                  <c:v>39</c:v>
                </c:pt>
                <c:pt idx="5204">
                  <c:v>49</c:v>
                </c:pt>
                <c:pt idx="5205">
                  <c:v>49.585277929999997</c:v>
                </c:pt>
                <c:pt idx="5206">
                  <c:v>50.144593739999998</c:v>
                </c:pt>
                <c:pt idx="5207">
                  <c:v>50.694879210000003</c:v>
                </c:pt>
                <c:pt idx="5208">
                  <c:v>51.834957789999997</c:v>
                </c:pt>
                <c:pt idx="5209">
                  <c:v>52.389758360000002</c:v>
                </c:pt>
                <c:pt idx="5210">
                  <c:v>53.5343521</c:v>
                </c:pt>
                <c:pt idx="5211">
                  <c:v>54.084637569999998</c:v>
                </c:pt>
                <c:pt idx="5212">
                  <c:v>54.643671140000002</c:v>
                </c:pt>
                <c:pt idx="5213">
                  <c:v>55.229231319999997</c:v>
                </c:pt>
                <c:pt idx="5214">
                  <c:v>56.338550349999998</c:v>
                </c:pt>
                <c:pt idx="5215">
                  <c:v>57.465647830000002</c:v>
                </c:pt>
                <c:pt idx="5216">
                  <c:v>58.050925829999997</c:v>
                </c:pt>
                <c:pt idx="5217">
                  <c:v>60.305120789999997</c:v>
                </c:pt>
                <c:pt idx="5218">
                  <c:v>61.409924650000001</c:v>
                </c:pt>
                <c:pt idx="5219">
                  <c:v>62</c:v>
                </c:pt>
                <c:pt idx="5220">
                  <c:v>74</c:v>
                </c:pt>
                <c:pt idx="5221">
                  <c:v>78.147523519999993</c:v>
                </c:pt>
                <c:pt idx="5222">
                  <c:v>78.732396600000001</c:v>
                </c:pt>
                <c:pt idx="5223">
                  <c:v>79.307826770000005</c:v>
                </c:pt>
                <c:pt idx="5224">
                  <c:v>79.910700509999998</c:v>
                </c:pt>
                <c:pt idx="5225">
                  <c:v>80.016638670000006</c:v>
                </c:pt>
                <c:pt idx="5226">
                  <c:v>80.504721489999994</c:v>
                </c:pt>
                <c:pt idx="5227">
                  <c:v>81.080151659999999</c:v>
                </c:pt>
                <c:pt idx="5228">
                  <c:v>81.660008169999998</c:v>
                </c:pt>
                <c:pt idx="5229">
                  <c:v>82.277046380000002</c:v>
                </c:pt>
                <c:pt idx="5230">
                  <c:v>82.852476550000006</c:v>
                </c:pt>
                <c:pt idx="5231">
                  <c:v>83.437054549999999</c:v>
                </c:pt>
                <c:pt idx="5232">
                  <c:v>84.049371269999995</c:v>
                </c:pt>
                <c:pt idx="5233">
                  <c:v>84.633949270000002</c:v>
                </c:pt>
                <c:pt idx="5234">
                  <c:v>85.214100930000001</c:v>
                </c:pt>
                <c:pt idx="5235">
                  <c:v>87</c:v>
                </c:pt>
                <c:pt idx="5236">
                  <c:v>99</c:v>
                </c:pt>
                <c:pt idx="5237">
                  <c:v>99</c:v>
                </c:pt>
                <c:pt idx="5238">
                  <c:v>99</c:v>
                </c:pt>
                <c:pt idx="5239">
                  <c:v>99</c:v>
                </c:pt>
                <c:pt idx="5240">
                  <c:v>99</c:v>
                </c:pt>
                <c:pt idx="5241">
                  <c:v>99</c:v>
                </c:pt>
                <c:pt idx="5242">
                  <c:v>99</c:v>
                </c:pt>
                <c:pt idx="5243">
                  <c:v>99</c:v>
                </c:pt>
                <c:pt idx="5244">
                  <c:v>99</c:v>
                </c:pt>
                <c:pt idx="5245">
                  <c:v>99</c:v>
                </c:pt>
                <c:pt idx="5246">
                  <c:v>99</c:v>
                </c:pt>
                <c:pt idx="5247">
                  <c:v>99</c:v>
                </c:pt>
                <c:pt idx="5248">
                  <c:v>99</c:v>
                </c:pt>
                <c:pt idx="5249">
                  <c:v>99</c:v>
                </c:pt>
                <c:pt idx="5250">
                  <c:v>99</c:v>
                </c:pt>
                <c:pt idx="5251">
                  <c:v>99</c:v>
                </c:pt>
                <c:pt idx="5252">
                  <c:v>99</c:v>
                </c:pt>
                <c:pt idx="5253">
                  <c:v>99</c:v>
                </c:pt>
                <c:pt idx="5254">
                  <c:v>99</c:v>
                </c:pt>
                <c:pt idx="5255">
                  <c:v>99</c:v>
                </c:pt>
                <c:pt idx="5256">
                  <c:v>99</c:v>
                </c:pt>
                <c:pt idx="5257">
                  <c:v>99</c:v>
                </c:pt>
                <c:pt idx="5258">
                  <c:v>99</c:v>
                </c:pt>
                <c:pt idx="5259">
                  <c:v>99</c:v>
                </c:pt>
                <c:pt idx="5260">
                  <c:v>99</c:v>
                </c:pt>
                <c:pt idx="5261">
                  <c:v>99</c:v>
                </c:pt>
                <c:pt idx="5262">
                  <c:v>99</c:v>
                </c:pt>
                <c:pt idx="5263">
                  <c:v>99</c:v>
                </c:pt>
                <c:pt idx="5264">
                  <c:v>99</c:v>
                </c:pt>
                <c:pt idx="5265">
                  <c:v>99</c:v>
                </c:pt>
                <c:pt idx="5266">
                  <c:v>99</c:v>
                </c:pt>
                <c:pt idx="5267">
                  <c:v>99</c:v>
                </c:pt>
                <c:pt idx="5268">
                  <c:v>99</c:v>
                </c:pt>
                <c:pt idx="5269">
                  <c:v>99</c:v>
                </c:pt>
                <c:pt idx="5270">
                  <c:v>99</c:v>
                </c:pt>
                <c:pt idx="5271">
                  <c:v>99</c:v>
                </c:pt>
                <c:pt idx="5272">
                  <c:v>99</c:v>
                </c:pt>
                <c:pt idx="5273">
                  <c:v>99</c:v>
                </c:pt>
                <c:pt idx="5274">
                  <c:v>99</c:v>
                </c:pt>
                <c:pt idx="5275">
                  <c:v>99</c:v>
                </c:pt>
                <c:pt idx="5276">
                  <c:v>99</c:v>
                </c:pt>
                <c:pt idx="5277">
                  <c:v>99</c:v>
                </c:pt>
                <c:pt idx="5278">
                  <c:v>99</c:v>
                </c:pt>
                <c:pt idx="5279">
                  <c:v>99</c:v>
                </c:pt>
                <c:pt idx="5280">
                  <c:v>99</c:v>
                </c:pt>
                <c:pt idx="5281">
                  <c:v>99</c:v>
                </c:pt>
                <c:pt idx="5282">
                  <c:v>99</c:v>
                </c:pt>
                <c:pt idx="5283">
                  <c:v>99</c:v>
                </c:pt>
                <c:pt idx="5284">
                  <c:v>99</c:v>
                </c:pt>
                <c:pt idx="5285">
                  <c:v>99</c:v>
                </c:pt>
                <c:pt idx="5286">
                  <c:v>99</c:v>
                </c:pt>
                <c:pt idx="5287">
                  <c:v>99</c:v>
                </c:pt>
                <c:pt idx="5288">
                  <c:v>99</c:v>
                </c:pt>
                <c:pt idx="5289">
                  <c:v>99</c:v>
                </c:pt>
                <c:pt idx="5290">
                  <c:v>99</c:v>
                </c:pt>
                <c:pt idx="5291">
                  <c:v>99</c:v>
                </c:pt>
                <c:pt idx="5292">
                  <c:v>99</c:v>
                </c:pt>
                <c:pt idx="5293">
                  <c:v>99</c:v>
                </c:pt>
                <c:pt idx="5294">
                  <c:v>99</c:v>
                </c:pt>
                <c:pt idx="5295">
                  <c:v>99</c:v>
                </c:pt>
                <c:pt idx="5296">
                  <c:v>99</c:v>
                </c:pt>
                <c:pt idx="5297">
                  <c:v>99</c:v>
                </c:pt>
                <c:pt idx="5298">
                  <c:v>99</c:v>
                </c:pt>
                <c:pt idx="5299">
                  <c:v>99</c:v>
                </c:pt>
                <c:pt idx="5300">
                  <c:v>99</c:v>
                </c:pt>
                <c:pt idx="5301">
                  <c:v>99</c:v>
                </c:pt>
                <c:pt idx="5302">
                  <c:v>99</c:v>
                </c:pt>
                <c:pt idx="5303">
                  <c:v>99</c:v>
                </c:pt>
                <c:pt idx="5304">
                  <c:v>99</c:v>
                </c:pt>
                <c:pt idx="5305">
                  <c:v>99</c:v>
                </c:pt>
                <c:pt idx="5306">
                  <c:v>99</c:v>
                </c:pt>
                <c:pt idx="5307">
                  <c:v>99</c:v>
                </c:pt>
                <c:pt idx="5308">
                  <c:v>99</c:v>
                </c:pt>
                <c:pt idx="5309">
                  <c:v>99</c:v>
                </c:pt>
                <c:pt idx="5310">
                  <c:v>99</c:v>
                </c:pt>
                <c:pt idx="5311">
                  <c:v>99</c:v>
                </c:pt>
                <c:pt idx="5312">
                  <c:v>99</c:v>
                </c:pt>
                <c:pt idx="5313">
                  <c:v>99</c:v>
                </c:pt>
                <c:pt idx="5314">
                  <c:v>99</c:v>
                </c:pt>
                <c:pt idx="5315">
                  <c:v>99</c:v>
                </c:pt>
                <c:pt idx="5316">
                  <c:v>99</c:v>
                </c:pt>
                <c:pt idx="5317">
                  <c:v>99</c:v>
                </c:pt>
                <c:pt idx="5318">
                  <c:v>99</c:v>
                </c:pt>
                <c:pt idx="5319">
                  <c:v>99</c:v>
                </c:pt>
                <c:pt idx="5320">
                  <c:v>99</c:v>
                </c:pt>
                <c:pt idx="5321">
                  <c:v>99</c:v>
                </c:pt>
                <c:pt idx="5322">
                  <c:v>99</c:v>
                </c:pt>
                <c:pt idx="5323">
                  <c:v>99</c:v>
                </c:pt>
                <c:pt idx="5324">
                  <c:v>99</c:v>
                </c:pt>
                <c:pt idx="5325">
                  <c:v>99</c:v>
                </c:pt>
                <c:pt idx="5326">
                  <c:v>99</c:v>
                </c:pt>
                <c:pt idx="5327">
                  <c:v>99</c:v>
                </c:pt>
                <c:pt idx="5328">
                  <c:v>99</c:v>
                </c:pt>
                <c:pt idx="5329">
                  <c:v>99</c:v>
                </c:pt>
                <c:pt idx="5330">
                  <c:v>99</c:v>
                </c:pt>
                <c:pt idx="5331">
                  <c:v>99</c:v>
                </c:pt>
                <c:pt idx="5332">
                  <c:v>99</c:v>
                </c:pt>
                <c:pt idx="5333">
                  <c:v>99</c:v>
                </c:pt>
                <c:pt idx="5334">
                  <c:v>99</c:v>
                </c:pt>
                <c:pt idx="5335">
                  <c:v>99</c:v>
                </c:pt>
                <c:pt idx="5336">
                  <c:v>99</c:v>
                </c:pt>
                <c:pt idx="5337">
                  <c:v>99</c:v>
                </c:pt>
                <c:pt idx="5338">
                  <c:v>99</c:v>
                </c:pt>
                <c:pt idx="5339">
                  <c:v>99</c:v>
                </c:pt>
                <c:pt idx="5340">
                  <c:v>99</c:v>
                </c:pt>
                <c:pt idx="5341">
                  <c:v>99</c:v>
                </c:pt>
                <c:pt idx="5342">
                  <c:v>99</c:v>
                </c:pt>
                <c:pt idx="5343">
                  <c:v>99</c:v>
                </c:pt>
                <c:pt idx="5344">
                  <c:v>99</c:v>
                </c:pt>
                <c:pt idx="5345">
                  <c:v>99</c:v>
                </c:pt>
                <c:pt idx="5346">
                  <c:v>99</c:v>
                </c:pt>
                <c:pt idx="5347">
                  <c:v>99</c:v>
                </c:pt>
                <c:pt idx="5348">
                  <c:v>99</c:v>
                </c:pt>
                <c:pt idx="5349">
                  <c:v>99</c:v>
                </c:pt>
                <c:pt idx="5350">
                  <c:v>99</c:v>
                </c:pt>
                <c:pt idx="5351">
                  <c:v>99</c:v>
                </c:pt>
                <c:pt idx="5352">
                  <c:v>99</c:v>
                </c:pt>
                <c:pt idx="5353">
                  <c:v>99</c:v>
                </c:pt>
                <c:pt idx="5354">
                  <c:v>99</c:v>
                </c:pt>
                <c:pt idx="5355">
                  <c:v>99</c:v>
                </c:pt>
                <c:pt idx="5356">
                  <c:v>99</c:v>
                </c:pt>
                <c:pt idx="5357">
                  <c:v>99</c:v>
                </c:pt>
                <c:pt idx="5358">
                  <c:v>99</c:v>
                </c:pt>
                <c:pt idx="5359">
                  <c:v>99</c:v>
                </c:pt>
                <c:pt idx="5360">
                  <c:v>99</c:v>
                </c:pt>
                <c:pt idx="5361">
                  <c:v>99</c:v>
                </c:pt>
                <c:pt idx="5362">
                  <c:v>99</c:v>
                </c:pt>
                <c:pt idx="5363">
                  <c:v>99</c:v>
                </c:pt>
                <c:pt idx="5364">
                  <c:v>99</c:v>
                </c:pt>
                <c:pt idx="5365">
                  <c:v>99</c:v>
                </c:pt>
                <c:pt idx="5366">
                  <c:v>99</c:v>
                </c:pt>
                <c:pt idx="5367">
                  <c:v>99</c:v>
                </c:pt>
                <c:pt idx="5368">
                  <c:v>99</c:v>
                </c:pt>
                <c:pt idx="5369">
                  <c:v>99</c:v>
                </c:pt>
                <c:pt idx="5370">
                  <c:v>99</c:v>
                </c:pt>
                <c:pt idx="5371">
                  <c:v>99</c:v>
                </c:pt>
                <c:pt idx="5372">
                  <c:v>99</c:v>
                </c:pt>
                <c:pt idx="5373">
                  <c:v>99</c:v>
                </c:pt>
                <c:pt idx="5374">
                  <c:v>99</c:v>
                </c:pt>
                <c:pt idx="5375">
                  <c:v>99</c:v>
                </c:pt>
                <c:pt idx="5376">
                  <c:v>99</c:v>
                </c:pt>
                <c:pt idx="5377">
                  <c:v>99</c:v>
                </c:pt>
                <c:pt idx="5378">
                  <c:v>99</c:v>
                </c:pt>
                <c:pt idx="5379">
                  <c:v>99</c:v>
                </c:pt>
                <c:pt idx="5380">
                  <c:v>99</c:v>
                </c:pt>
                <c:pt idx="5381">
                  <c:v>99</c:v>
                </c:pt>
                <c:pt idx="5382">
                  <c:v>99</c:v>
                </c:pt>
                <c:pt idx="5383">
                  <c:v>99</c:v>
                </c:pt>
                <c:pt idx="5384">
                  <c:v>99</c:v>
                </c:pt>
                <c:pt idx="5385">
                  <c:v>99</c:v>
                </c:pt>
                <c:pt idx="5386">
                  <c:v>99</c:v>
                </c:pt>
                <c:pt idx="5387">
                  <c:v>99</c:v>
                </c:pt>
                <c:pt idx="5388">
                  <c:v>99</c:v>
                </c:pt>
                <c:pt idx="5389">
                  <c:v>99</c:v>
                </c:pt>
                <c:pt idx="5390">
                  <c:v>99</c:v>
                </c:pt>
                <c:pt idx="5391">
                  <c:v>99</c:v>
                </c:pt>
                <c:pt idx="5392">
                  <c:v>99</c:v>
                </c:pt>
                <c:pt idx="5393">
                  <c:v>99</c:v>
                </c:pt>
                <c:pt idx="5394">
                  <c:v>99</c:v>
                </c:pt>
                <c:pt idx="5395">
                  <c:v>99</c:v>
                </c:pt>
                <c:pt idx="5396">
                  <c:v>99</c:v>
                </c:pt>
                <c:pt idx="5397">
                  <c:v>99</c:v>
                </c:pt>
                <c:pt idx="5398">
                  <c:v>99</c:v>
                </c:pt>
                <c:pt idx="5399">
                  <c:v>99</c:v>
                </c:pt>
                <c:pt idx="5400">
                  <c:v>99</c:v>
                </c:pt>
                <c:pt idx="5401">
                  <c:v>99</c:v>
                </c:pt>
                <c:pt idx="5402">
                  <c:v>99</c:v>
                </c:pt>
                <c:pt idx="5403">
                  <c:v>99</c:v>
                </c:pt>
                <c:pt idx="5404">
                  <c:v>99</c:v>
                </c:pt>
                <c:pt idx="5405">
                  <c:v>99</c:v>
                </c:pt>
                <c:pt idx="5406">
                  <c:v>99</c:v>
                </c:pt>
                <c:pt idx="5407">
                  <c:v>99</c:v>
                </c:pt>
                <c:pt idx="5408">
                  <c:v>99</c:v>
                </c:pt>
                <c:pt idx="5409">
                  <c:v>99</c:v>
                </c:pt>
                <c:pt idx="5410">
                  <c:v>99</c:v>
                </c:pt>
                <c:pt idx="5411">
                  <c:v>99</c:v>
                </c:pt>
                <c:pt idx="5412">
                  <c:v>99</c:v>
                </c:pt>
                <c:pt idx="5413">
                  <c:v>99</c:v>
                </c:pt>
                <c:pt idx="5414">
                  <c:v>99</c:v>
                </c:pt>
                <c:pt idx="5415">
                  <c:v>99</c:v>
                </c:pt>
                <c:pt idx="5416">
                  <c:v>99</c:v>
                </c:pt>
                <c:pt idx="5417">
                  <c:v>99</c:v>
                </c:pt>
                <c:pt idx="5418">
                  <c:v>99</c:v>
                </c:pt>
                <c:pt idx="5419">
                  <c:v>99</c:v>
                </c:pt>
                <c:pt idx="5420">
                  <c:v>99</c:v>
                </c:pt>
                <c:pt idx="5421">
                  <c:v>99</c:v>
                </c:pt>
                <c:pt idx="5422">
                  <c:v>99</c:v>
                </c:pt>
                <c:pt idx="5423">
                  <c:v>99</c:v>
                </c:pt>
                <c:pt idx="5424">
                  <c:v>99</c:v>
                </c:pt>
                <c:pt idx="5425">
                  <c:v>99</c:v>
                </c:pt>
                <c:pt idx="5426">
                  <c:v>99</c:v>
                </c:pt>
                <c:pt idx="5427">
                  <c:v>99</c:v>
                </c:pt>
                <c:pt idx="5428">
                  <c:v>99</c:v>
                </c:pt>
                <c:pt idx="5429">
                  <c:v>99</c:v>
                </c:pt>
                <c:pt idx="5430">
                  <c:v>99</c:v>
                </c:pt>
                <c:pt idx="5431">
                  <c:v>99</c:v>
                </c:pt>
                <c:pt idx="5432">
                  <c:v>99</c:v>
                </c:pt>
                <c:pt idx="5433">
                  <c:v>99</c:v>
                </c:pt>
                <c:pt idx="5434">
                  <c:v>99</c:v>
                </c:pt>
                <c:pt idx="5435">
                  <c:v>99</c:v>
                </c:pt>
                <c:pt idx="5436">
                  <c:v>99</c:v>
                </c:pt>
                <c:pt idx="5437">
                  <c:v>99</c:v>
                </c:pt>
                <c:pt idx="5438">
                  <c:v>99</c:v>
                </c:pt>
                <c:pt idx="5439">
                  <c:v>99</c:v>
                </c:pt>
                <c:pt idx="5440">
                  <c:v>99</c:v>
                </c:pt>
                <c:pt idx="5441">
                  <c:v>99</c:v>
                </c:pt>
                <c:pt idx="5442">
                  <c:v>99</c:v>
                </c:pt>
                <c:pt idx="5443">
                  <c:v>99</c:v>
                </c:pt>
                <c:pt idx="5444">
                  <c:v>99</c:v>
                </c:pt>
                <c:pt idx="5445">
                  <c:v>99</c:v>
                </c:pt>
                <c:pt idx="5446">
                  <c:v>99</c:v>
                </c:pt>
                <c:pt idx="5447">
                  <c:v>99</c:v>
                </c:pt>
                <c:pt idx="5448">
                  <c:v>99</c:v>
                </c:pt>
                <c:pt idx="5449">
                  <c:v>98.566353469999996</c:v>
                </c:pt>
                <c:pt idx="5450">
                  <c:v>98.111802979999993</c:v>
                </c:pt>
                <c:pt idx="5451">
                  <c:v>97.667926829999999</c:v>
                </c:pt>
                <c:pt idx="5452">
                  <c:v>97.230722220000004</c:v>
                </c:pt>
                <c:pt idx="5453">
                  <c:v>96.769277829999993</c:v>
                </c:pt>
                <c:pt idx="5454">
                  <c:v>96.745038109999996</c:v>
                </c:pt>
                <c:pt idx="5455">
                  <c:v>96.332295529999996</c:v>
                </c:pt>
                <c:pt idx="5456">
                  <c:v>95.895090920000001</c:v>
                </c:pt>
                <c:pt idx="5457">
                  <c:v>95.45455054</c:v>
                </c:pt>
                <c:pt idx="5458">
                  <c:v>94.993106150000003</c:v>
                </c:pt>
                <c:pt idx="5459">
                  <c:v>94.555901489999997</c:v>
                </c:pt>
                <c:pt idx="5460">
                  <c:v>94.552565779999995</c:v>
                </c:pt>
                <c:pt idx="5461">
                  <c:v>94.118919239999997</c:v>
                </c:pt>
                <c:pt idx="5462">
                  <c:v>93.671262600000006</c:v>
                </c:pt>
                <c:pt idx="5463">
                  <c:v>93.230722220000004</c:v>
                </c:pt>
                <c:pt idx="5464">
                  <c:v>92.769277829999993</c:v>
                </c:pt>
                <c:pt idx="5465">
                  <c:v>92.328737450000006</c:v>
                </c:pt>
                <c:pt idx="5466">
                  <c:v>91.895090920000001</c:v>
                </c:pt>
                <c:pt idx="5467">
                  <c:v>91.440540380000002</c:v>
                </c:pt>
                <c:pt idx="5468">
                  <c:v>91.360927369999999</c:v>
                </c:pt>
                <c:pt idx="5469">
                  <c:v>90.996664289999998</c:v>
                </c:pt>
                <c:pt idx="5470">
                  <c:v>90.559459619999998</c:v>
                </c:pt>
                <c:pt idx="5471">
                  <c:v>90.098015230000001</c:v>
                </c:pt>
                <c:pt idx="5472">
                  <c:v>90.077333640000006</c:v>
                </c:pt>
                <c:pt idx="5473">
                  <c:v>89.661032989999995</c:v>
                </c:pt>
                <c:pt idx="5474">
                  <c:v>89.657474859999994</c:v>
                </c:pt>
                <c:pt idx="5475">
                  <c:v>89.223828319999996</c:v>
                </c:pt>
                <c:pt idx="5476">
                  <c:v>88.783287939999994</c:v>
                </c:pt>
                <c:pt idx="5477">
                  <c:v>88.321843560000005</c:v>
                </c:pt>
                <c:pt idx="5478">
                  <c:v>87.881303180000003</c:v>
                </c:pt>
                <c:pt idx="5479">
                  <c:v>87.447656640000005</c:v>
                </c:pt>
                <c:pt idx="5480">
                  <c:v>87</c:v>
                </c:pt>
                <c:pt idx="5481">
                  <c:v>59</c:v>
                </c:pt>
                <c:pt idx="5482">
                  <c:v>4</c:v>
                </c:pt>
                <c:pt idx="5483">
                  <c:v>15.903079050000001</c:v>
                </c:pt>
                <c:pt idx="5484">
                  <c:v>16</c:v>
                </c:pt>
                <c:pt idx="5485">
                  <c:v>0</c:v>
                </c:pt>
                <c:pt idx="5486">
                  <c:v>1.522929008</c:v>
                </c:pt>
                <c:pt idx="5487">
                  <c:v>1.6272189720000001</c:v>
                </c:pt>
                <c:pt idx="5488">
                  <c:v>3</c:v>
                </c:pt>
                <c:pt idx="5489">
                  <c:v>2.2586726779999999</c:v>
                </c:pt>
                <c:pt idx="5490">
                  <c:v>0.73529412699999996</c:v>
                </c:pt>
                <c:pt idx="5491">
                  <c:v>0</c:v>
                </c:pt>
                <c:pt idx="5492">
                  <c:v>-2.7789699999999999E-4</c:v>
                </c:pt>
                <c:pt idx="5493">
                  <c:v>-4.8905900000000002E-4</c:v>
                </c:pt>
                <c:pt idx="5494">
                  <c:v>-5.5798600000000001E-4</c:v>
                </c:pt>
                <c:pt idx="5495">
                  <c:v>-6.2583300000000001E-4</c:v>
                </c:pt>
                <c:pt idx="5496">
                  <c:v>-8.3480399999999997E-4</c:v>
                </c:pt>
                <c:pt idx="5497">
                  <c:v>-9.0700100000000005E-4</c:v>
                </c:pt>
                <c:pt idx="5498">
                  <c:v>-9.7592700000000002E-4</c:v>
                </c:pt>
                <c:pt idx="5499">
                  <c:v>-1.112701E-3</c:v>
                </c:pt>
                <c:pt idx="5500">
                  <c:v>-1.1848970000000001E-3</c:v>
                </c:pt>
                <c:pt idx="5501">
                  <c:v>-1.4606370000000001E-3</c:v>
                </c:pt>
                <c:pt idx="5502">
                  <c:v>-1.601203E-3</c:v>
                </c:pt>
                <c:pt idx="5503">
                  <c:v>-1.60176E-3</c:v>
                </c:pt>
                <c:pt idx="5504">
                  <c:v>-1.6696079999999999E-3</c:v>
                </c:pt>
                <c:pt idx="5505">
                  <c:v>-1.7412479999999999E-3</c:v>
                </c:pt>
                <c:pt idx="5506">
                  <c:v>-1.9540109999999999E-3</c:v>
                </c:pt>
                <c:pt idx="5507">
                  <c:v>-2.0875490000000002E-3</c:v>
                </c:pt>
                <c:pt idx="5508">
                  <c:v>-2.6455350000000001E-3</c:v>
                </c:pt>
                <c:pt idx="5509">
                  <c:v>-3.1313230000000001E-3</c:v>
                </c:pt>
                <c:pt idx="5510">
                  <c:v>-3.273003E-3</c:v>
                </c:pt>
                <c:pt idx="5511">
                  <c:v>-4.453551E-3</c:v>
                </c:pt>
                <c:pt idx="5512">
                  <c:v>-7.4481010000000004E-3</c:v>
                </c:pt>
                <c:pt idx="5513">
                  <c:v>-8.5602449999999993E-3</c:v>
                </c:pt>
                <c:pt idx="5514">
                  <c:v>-8.6286490000000004E-3</c:v>
                </c:pt>
                <c:pt idx="5515">
                  <c:v>-8.6981320000000008E-3</c:v>
                </c:pt>
                <c:pt idx="5516">
                  <c:v>-8.7676149999999994E-3</c:v>
                </c:pt>
                <c:pt idx="5517">
                  <c:v>-8.9765859999999999E-3</c:v>
                </c:pt>
                <c:pt idx="5518">
                  <c:v>-9.0476689999999995E-3</c:v>
                </c:pt>
                <c:pt idx="5519">
                  <c:v>-9.1171519999999999E-3</c:v>
                </c:pt>
                <c:pt idx="5520">
                  <c:v>-9.2604320000000007E-3</c:v>
                </c:pt>
                <c:pt idx="5521">
                  <c:v>-9.3261230000000004E-3</c:v>
                </c:pt>
                <c:pt idx="5522">
                  <c:v>-9.4634530000000001E-3</c:v>
                </c:pt>
                <c:pt idx="5523">
                  <c:v>-9.6724240000000006E-3</c:v>
                </c:pt>
                <c:pt idx="5524">
                  <c:v>-9.7419069999999993E-3</c:v>
                </c:pt>
                <c:pt idx="5525">
                  <c:v>-1.0437745E-2</c:v>
                </c:pt>
                <c:pt idx="5526">
                  <c:v>-1.0507228E-2</c:v>
                </c:pt>
                <c:pt idx="5527">
                  <c:v>-1.0855129E-2</c:v>
                </c:pt>
                <c:pt idx="5528">
                  <c:v>-1.1064134999999999E-2</c:v>
                </c:pt>
                <c:pt idx="5529">
                  <c:v>-1.1344745E-2</c:v>
                </c:pt>
                <c:pt idx="5530">
                  <c:v>-1.2316323000000001E-2</c:v>
                </c:pt>
                <c:pt idx="5531">
                  <c:v>-1.238852E-2</c:v>
                </c:pt>
                <c:pt idx="5532">
                  <c:v>-1.2456889000000001E-2</c:v>
                </c:pt>
                <c:pt idx="5533">
                  <c:v>-1.2594777E-2</c:v>
                </c:pt>
                <c:pt idx="5534">
                  <c:v>-1.2666973E-2</c:v>
                </c:pt>
                <c:pt idx="5535">
                  <c:v>-1.2873229999999999E-2</c:v>
                </c:pt>
                <c:pt idx="5536">
                  <c:v>-1.2942678000000001E-2</c:v>
                </c:pt>
                <c:pt idx="5537">
                  <c:v>-1.3014875E-2</c:v>
                </c:pt>
                <c:pt idx="5538">
                  <c:v>-1.3083279E-2</c:v>
                </c:pt>
                <c:pt idx="5539">
                  <c:v>-1.3151684E-2</c:v>
                </c:pt>
                <c:pt idx="5540">
                  <c:v>-1.3222767E-2</c:v>
                </c:pt>
                <c:pt idx="5541">
                  <c:v>-1.3291693E-2</c:v>
                </c:pt>
                <c:pt idx="5542">
                  <c:v>-1.3360098000000001E-2</c:v>
                </c:pt>
                <c:pt idx="5543">
                  <c:v>-1.3500664000000001E-2</c:v>
                </c:pt>
                <c:pt idx="5544">
                  <c:v>-1.3638551E-2</c:v>
                </c:pt>
                <c:pt idx="5545">
                  <c:v>-1.3779117E-2</c:v>
                </c:pt>
                <c:pt idx="5546">
                  <c:v>-1.3986452999999999E-2</c:v>
                </c:pt>
                <c:pt idx="5547">
                  <c:v>-1.4058648999999999E-2</c:v>
                </c:pt>
                <c:pt idx="5548">
                  <c:v>-1.4127054E-2</c:v>
                </c:pt>
                <c:pt idx="5549">
                  <c:v>-1.4195457999999999E-2</c:v>
                </c:pt>
                <c:pt idx="5550">
                  <c:v>-1.4266541000000001E-2</c:v>
                </c:pt>
                <c:pt idx="5551">
                  <c:v>-1.4336023999999999E-2</c:v>
                </c:pt>
                <c:pt idx="5552">
                  <c:v>-1.4404429E-2</c:v>
                </c:pt>
                <c:pt idx="5553">
                  <c:v>-1.4544995E-2</c:v>
                </c:pt>
                <c:pt idx="5554">
                  <c:v>-1.4612843E-2</c:v>
                </c:pt>
                <c:pt idx="5555">
                  <c:v>-1.4682326000000001E-2</c:v>
                </c:pt>
                <c:pt idx="5556">
                  <c:v>-1.4754522000000001E-2</c:v>
                </c:pt>
                <c:pt idx="5557">
                  <c:v>-1.4891296E-2</c:v>
                </c:pt>
                <c:pt idx="5558">
                  <c:v>-1.5030227E-2</c:v>
                </c:pt>
                <c:pt idx="5559">
                  <c:v>-1.5170828000000001E-2</c:v>
                </c:pt>
                <c:pt idx="5560">
                  <c:v>-1.5239233E-2</c:v>
                </c:pt>
                <c:pt idx="5561">
                  <c:v>-1.5310315999999999E-2</c:v>
                </c:pt>
                <c:pt idx="5562">
                  <c:v>-1.5379799E-2</c:v>
                </c:pt>
                <c:pt idx="5563">
                  <c:v>-1.5448203000000001E-2</c:v>
                </c:pt>
                <c:pt idx="5564">
                  <c:v>-1.5520365E-2</c:v>
                </c:pt>
                <c:pt idx="5565">
                  <c:v>-1.5588769000000001E-2</c:v>
                </c:pt>
                <c:pt idx="5566">
                  <c:v>-1.5656617000000001E-2</c:v>
                </c:pt>
                <c:pt idx="5567">
                  <c:v>-1.57261E-2</c:v>
                </c:pt>
                <c:pt idx="5568">
                  <c:v>-1.6006154000000002E-2</c:v>
                </c:pt>
                <c:pt idx="5569">
                  <c:v>-1.6215680999999999E-2</c:v>
                </c:pt>
                <c:pt idx="5570">
                  <c:v>-1.6423017000000002E-2</c:v>
                </c:pt>
                <c:pt idx="5571">
                  <c:v>-1.6423573E-2</c:v>
                </c:pt>
                <c:pt idx="5572">
                  <c:v>-1.6491420999999999E-2</c:v>
                </c:pt>
                <c:pt idx="5573">
                  <c:v>-1.6631987000000001E-2</c:v>
                </c:pt>
                <c:pt idx="5574">
                  <c:v>-1.6769874000000001E-2</c:v>
                </c:pt>
                <c:pt idx="5575">
                  <c:v>-1.6910440999999998E-2</c:v>
                </c:pt>
                <c:pt idx="5576">
                  <c:v>-1.7117776000000001E-2</c:v>
                </c:pt>
                <c:pt idx="5577">
                  <c:v>-1.7189973000000001E-2</c:v>
                </c:pt>
                <c:pt idx="5578">
                  <c:v>-1.7258376999999998E-2</c:v>
                </c:pt>
                <c:pt idx="5579">
                  <c:v>-1.7326747E-2</c:v>
                </c:pt>
                <c:pt idx="5580">
                  <c:v>-1.7467348000000001E-2</c:v>
                </c:pt>
                <c:pt idx="5581">
                  <c:v>-1.7607913999999999E-2</c:v>
                </c:pt>
                <c:pt idx="5582">
                  <c:v>-1.7744165999999999E-2</c:v>
                </c:pt>
                <c:pt idx="5583">
                  <c:v>-1.7813649000000001E-2</c:v>
                </c:pt>
                <c:pt idx="5584">
                  <c:v>-1.7954214999999999E-2</c:v>
                </c:pt>
                <c:pt idx="5585">
                  <c:v>-1.8161551000000001E-2</c:v>
                </c:pt>
                <c:pt idx="5586">
                  <c:v>-1.8233747000000002E-2</c:v>
                </c:pt>
                <c:pt idx="5587">
                  <c:v>-1.8302151999999999E-2</c:v>
                </c:pt>
                <c:pt idx="5588">
                  <c:v>-1.8441638999999999E-2</c:v>
                </c:pt>
                <c:pt idx="5589">
                  <c:v>-1.9832272000000001E-2</c:v>
                </c:pt>
                <c:pt idx="5590">
                  <c:v>-1.9901197999999998E-2</c:v>
                </c:pt>
                <c:pt idx="5591">
                  <c:v>-2.0321295999999999E-2</c:v>
                </c:pt>
                <c:pt idx="5592">
                  <c:v>-2.0530267000000001E-2</c:v>
                </c:pt>
                <c:pt idx="5593">
                  <c:v>-2.0875489000000001E-2</c:v>
                </c:pt>
                <c:pt idx="5594">
                  <c:v>-2.0944971999999999E-2</c:v>
                </c:pt>
                <c:pt idx="5595">
                  <c:v>-2.1085539E-2</c:v>
                </c:pt>
                <c:pt idx="5596">
                  <c:v>-2.1229376000000001E-2</c:v>
                </c:pt>
                <c:pt idx="5597">
                  <c:v>-2.1362914E-2</c:v>
                </c:pt>
                <c:pt idx="5598">
                  <c:v>-2.143511E-2</c:v>
                </c:pt>
                <c:pt idx="5599">
                  <c:v>-2.1503479999999998E-2</c:v>
                </c:pt>
                <c:pt idx="5600">
                  <c:v>-2.1572963000000001E-2</c:v>
                </c:pt>
                <c:pt idx="5601">
                  <c:v>-2.2963595E-2</c:v>
                </c:pt>
                <c:pt idx="5602">
                  <c:v>-2.3591028999999999E-2</c:v>
                </c:pt>
                <c:pt idx="5603">
                  <c:v>-2.3660512000000002E-2</c:v>
                </c:pt>
                <c:pt idx="5604">
                  <c:v>-2.3729995E-2</c:v>
                </c:pt>
                <c:pt idx="5605">
                  <c:v>-2.3798363999999999E-2</c:v>
                </c:pt>
                <c:pt idx="5606">
                  <c:v>-2.4705365E-2</c:v>
                </c:pt>
                <c:pt idx="5607">
                  <c:v>-2.4773769000000001E-2</c:v>
                </c:pt>
                <c:pt idx="5608">
                  <c:v>-2.4842138999999999E-2</c:v>
                </c:pt>
                <c:pt idx="5609">
                  <c:v>-2.4914334999999999E-2</c:v>
                </c:pt>
                <c:pt idx="5610">
                  <c:v>-2.498274E-2</c:v>
                </c:pt>
                <c:pt idx="5611">
                  <c:v>-2.5051144000000001E-2</c:v>
                </c:pt>
                <c:pt idx="5612">
                  <c:v>-2.5120070000000001E-2</c:v>
                </c:pt>
                <c:pt idx="5613">
                  <c:v>-2.5260636999999999E-2</c:v>
                </c:pt>
                <c:pt idx="5614">
                  <c:v>-2.5401238E-2</c:v>
                </c:pt>
                <c:pt idx="5615">
                  <c:v>-2.5538010999999999E-2</c:v>
                </c:pt>
                <c:pt idx="5616">
                  <c:v>-2.6094919000000001E-2</c:v>
                </c:pt>
                <c:pt idx="5617">
                  <c:v>-2.6163845000000002E-2</c:v>
                </c:pt>
                <c:pt idx="5618">
                  <c:v>-2.6372815000000001E-2</c:v>
                </c:pt>
                <c:pt idx="5619">
                  <c:v>-2.6512303000000001E-2</c:v>
                </c:pt>
                <c:pt idx="5620">
                  <c:v>-2.65845E-2</c:v>
                </c:pt>
                <c:pt idx="5621">
                  <c:v>-2.6652868999999999E-2</c:v>
                </c:pt>
                <c:pt idx="5622">
                  <c:v>-2.6721274E-2</c:v>
                </c:pt>
                <c:pt idx="5623">
                  <c:v>-2.6791835E-2</c:v>
                </c:pt>
                <c:pt idx="5624">
                  <c:v>-2.6861317999999999E-2</c:v>
                </c:pt>
                <c:pt idx="5625">
                  <c:v>-2.7001884E-2</c:v>
                </c:pt>
                <c:pt idx="5626">
                  <c:v>-2.7138658E-2</c:v>
                </c:pt>
                <c:pt idx="5627">
                  <c:v>-2.7207618999999999E-2</c:v>
                </c:pt>
                <c:pt idx="5628">
                  <c:v>-2.7348186E-2</c:v>
                </c:pt>
                <c:pt idx="5629">
                  <c:v>-2.7416590000000001E-2</c:v>
                </c:pt>
                <c:pt idx="5630">
                  <c:v>-2.7486594999999999E-2</c:v>
                </c:pt>
                <c:pt idx="5631">
                  <c:v>-2.7557155999999999E-2</c:v>
                </c:pt>
                <c:pt idx="5632">
                  <c:v>-2.7700993E-2</c:v>
                </c:pt>
                <c:pt idx="5633">
                  <c:v>-2.8392516999999999E-2</c:v>
                </c:pt>
                <c:pt idx="5634">
                  <c:v>-2.8530369E-2</c:v>
                </c:pt>
                <c:pt idx="5635">
                  <c:v>-2.8599851999999999E-2</c:v>
                </c:pt>
                <c:pt idx="5636">
                  <c:v>-2.8672049000000002E-2</c:v>
                </c:pt>
                <c:pt idx="5637">
                  <c:v>-2.8740418E-2</c:v>
                </c:pt>
                <c:pt idx="5638">
                  <c:v>-2.8879384000000001E-2</c:v>
                </c:pt>
                <c:pt idx="5639">
                  <c:v>-2.9017237000000001E-2</c:v>
                </c:pt>
                <c:pt idx="5640">
                  <c:v>-2.9089433000000001E-2</c:v>
                </c:pt>
                <c:pt idx="5641">
                  <c:v>-2.9644705E-2</c:v>
                </c:pt>
                <c:pt idx="5642">
                  <c:v>-2.9992641E-2</c:v>
                </c:pt>
                <c:pt idx="5643">
                  <c:v>-3.0480066E-2</c:v>
                </c:pt>
                <c:pt idx="5644">
                  <c:v>-3.0687401E-2</c:v>
                </c:pt>
                <c:pt idx="5645">
                  <c:v>-3.0966932999999999E-2</c:v>
                </c:pt>
                <c:pt idx="5646">
                  <c:v>-3.1941224999999997E-2</c:v>
                </c:pt>
                <c:pt idx="5647">
                  <c:v>-3.2011263999999998E-2</c:v>
                </c:pt>
                <c:pt idx="5648">
                  <c:v>-3.214856E-2</c:v>
                </c:pt>
                <c:pt idx="5649">
                  <c:v>-3.2224027000000002E-2</c:v>
                </c:pt>
                <c:pt idx="5650">
                  <c:v>-3.3055039000000001E-2</c:v>
                </c:pt>
                <c:pt idx="5651">
                  <c:v>-3.3332936000000001E-2</c:v>
                </c:pt>
                <c:pt idx="5652">
                  <c:v>-3.3959291000000003E-2</c:v>
                </c:pt>
                <c:pt idx="5653">
                  <c:v>-3.4168260999999998E-2</c:v>
                </c:pt>
                <c:pt idx="5654">
                  <c:v>-3.4308305999999997E-2</c:v>
                </c:pt>
                <c:pt idx="5655">
                  <c:v>-3.4445080000000003E-2</c:v>
                </c:pt>
                <c:pt idx="5656">
                  <c:v>-3.4514561999999999E-2</c:v>
                </c:pt>
                <c:pt idx="5657">
                  <c:v>-3.4655164000000002E-2</c:v>
                </c:pt>
                <c:pt idx="5658">
                  <c:v>-3.4723533000000001E-2</c:v>
                </c:pt>
                <c:pt idx="5659">
                  <c:v>-3.4793016000000003E-2</c:v>
                </c:pt>
                <c:pt idx="5660">
                  <c:v>-3.4862498999999998E-2</c:v>
                </c:pt>
                <c:pt idx="5661">
                  <c:v>-3.4934696000000001E-2</c:v>
                </c:pt>
                <c:pt idx="5662">
                  <c:v>-3.5003065E-2</c:v>
                </c:pt>
                <c:pt idx="5663">
                  <c:v>-3.5071469000000001E-2</c:v>
                </c:pt>
                <c:pt idx="5664">
                  <c:v>-3.5142030999999997E-2</c:v>
                </c:pt>
                <c:pt idx="5665">
                  <c:v>-3.5279882999999998E-2</c:v>
                </c:pt>
                <c:pt idx="5666">
                  <c:v>-3.5352080000000001E-2</c:v>
                </c:pt>
                <c:pt idx="5667">
                  <c:v>-3.5420484000000002E-2</c:v>
                </c:pt>
                <c:pt idx="5668">
                  <c:v>-3.5488854E-2</c:v>
                </c:pt>
                <c:pt idx="5669">
                  <c:v>-3.5558337000000002E-2</c:v>
                </c:pt>
                <c:pt idx="5670">
                  <c:v>-3.5907909000000002E-2</c:v>
                </c:pt>
                <c:pt idx="5671">
                  <c:v>-3.6116878999999998E-2</c:v>
                </c:pt>
                <c:pt idx="5672">
                  <c:v>-3.6185805000000001E-2</c:v>
                </c:pt>
                <c:pt idx="5673">
                  <c:v>-3.6255287999999997E-2</c:v>
                </c:pt>
                <c:pt idx="5674">
                  <c:v>-3.6395854999999998E-2</c:v>
                </c:pt>
                <c:pt idx="5675">
                  <c:v>-3.6464258999999999E-2</c:v>
                </c:pt>
                <c:pt idx="5676">
                  <c:v>-3.6532627999999998E-2</c:v>
                </c:pt>
                <c:pt idx="5677">
                  <c:v>-3.6742711999999997E-2</c:v>
                </c:pt>
                <c:pt idx="5678">
                  <c:v>-3.6811082000000002E-2</c:v>
                </c:pt>
                <c:pt idx="5679">
                  <c:v>-3.6880564999999997E-2</c:v>
                </c:pt>
                <c:pt idx="5680">
                  <c:v>-3.6950047999999999E-2</c:v>
                </c:pt>
                <c:pt idx="5681">
                  <c:v>-3.7022245000000002E-2</c:v>
                </c:pt>
                <c:pt idx="5682">
                  <c:v>-3.7159018000000002E-2</c:v>
                </c:pt>
                <c:pt idx="5683">
                  <c:v>-3.7231214999999998E-2</c:v>
                </c:pt>
                <c:pt idx="5684">
                  <c:v>-3.7367988999999997E-2</c:v>
                </c:pt>
                <c:pt idx="5685">
                  <c:v>-3.7440186E-2</c:v>
                </c:pt>
                <c:pt idx="5686">
                  <c:v>-3.7645886000000003E-2</c:v>
                </c:pt>
                <c:pt idx="5687">
                  <c:v>-3.7718082999999999E-2</c:v>
                </c:pt>
                <c:pt idx="5688">
                  <c:v>-3.7854855999999999E-2</c:v>
                </c:pt>
                <c:pt idx="5689">
                  <c:v>-3.7927053000000002E-2</c:v>
                </c:pt>
                <c:pt idx="5690">
                  <c:v>-3.8411763000000002E-2</c:v>
                </c:pt>
                <c:pt idx="5691">
                  <c:v>-3.9178163000000002E-2</c:v>
                </c:pt>
                <c:pt idx="5692">
                  <c:v>-3.9387133999999997E-2</c:v>
                </c:pt>
                <c:pt idx="5693">
                  <c:v>-3.9663952000000002E-2</c:v>
                </c:pt>
                <c:pt idx="5694">
                  <c:v>-4.1125146000000001E-2</c:v>
                </c:pt>
                <c:pt idx="5695">
                  <c:v>-4.1265712000000003E-2</c:v>
                </c:pt>
                <c:pt idx="5696">
                  <c:v>-4.1409548999999997E-2</c:v>
                </c:pt>
                <c:pt idx="5697">
                  <c:v>-4.2102150999999997E-2</c:v>
                </c:pt>
                <c:pt idx="5698">
                  <c:v>-4.2105422000000003E-2</c:v>
                </c:pt>
                <c:pt idx="5699">
                  <c:v>-4.2864758000000003E-2</c:v>
                </c:pt>
                <c:pt idx="5700">
                  <c:v>-4.3005359E-2</c:v>
                </c:pt>
                <c:pt idx="5701">
                  <c:v>-4.3492783E-2</c:v>
                </c:pt>
                <c:pt idx="5702">
                  <c:v>-4.3562231999999999E-2</c:v>
                </c:pt>
                <c:pt idx="5703">
                  <c:v>-4.3630636E-2</c:v>
                </c:pt>
                <c:pt idx="5704">
                  <c:v>-4.3702833000000003E-2</c:v>
                </c:pt>
                <c:pt idx="5705">
                  <c:v>-4.3771202000000002E-2</c:v>
                </c:pt>
                <c:pt idx="5706">
                  <c:v>-4.3839049999999997E-2</c:v>
                </c:pt>
                <c:pt idx="5707">
                  <c:v>-4.3908533E-2</c:v>
                </c:pt>
                <c:pt idx="5708">
                  <c:v>-4.4117503000000002E-2</c:v>
                </c:pt>
                <c:pt idx="5709">
                  <c:v>-4.4189699999999998E-2</c:v>
                </c:pt>
                <c:pt idx="5710">
                  <c:v>-4.4258104E-2</c:v>
                </c:pt>
                <c:pt idx="5711">
                  <c:v>-4.4606005999999997E-2</c:v>
                </c:pt>
                <c:pt idx="5712">
                  <c:v>-4.4746607000000001E-2</c:v>
                </c:pt>
                <c:pt idx="5713">
                  <c:v>-4.6274534999999999E-2</c:v>
                </c:pt>
                <c:pt idx="5714">
                  <c:v>-4.6486220000000002E-2</c:v>
                </c:pt>
                <c:pt idx="5715">
                  <c:v>-4.6554624000000003E-2</c:v>
                </c:pt>
                <c:pt idx="5716">
                  <c:v>-4.6624072000000003E-2</c:v>
                </c:pt>
                <c:pt idx="5717">
                  <c:v>-4.6693554999999998E-2</c:v>
                </c:pt>
                <c:pt idx="5718">
                  <c:v>-4.6761958999999999E-2</c:v>
                </c:pt>
                <c:pt idx="5719">
                  <c:v>-4.6970373000000003E-2</c:v>
                </c:pt>
                <c:pt idx="5720">
                  <c:v>-4.7043649E-2</c:v>
                </c:pt>
                <c:pt idx="5721">
                  <c:v>-4.7112053000000001E-2</c:v>
                </c:pt>
                <c:pt idx="5722">
                  <c:v>-4.7318310000000002E-2</c:v>
                </c:pt>
                <c:pt idx="5723">
                  <c:v>-4.7597285000000003E-2</c:v>
                </c:pt>
                <c:pt idx="5724">
                  <c:v>-4.7667846999999999E-2</c:v>
                </c:pt>
                <c:pt idx="5725">
                  <c:v>-4.7805734000000003E-2</c:v>
                </c:pt>
                <c:pt idx="5726">
                  <c:v>-4.7877930999999999E-2</c:v>
                </c:pt>
                <c:pt idx="5727">
                  <c:v>-4.7946299999999997E-2</c:v>
                </c:pt>
                <c:pt idx="5728">
                  <c:v>-4.8014148E-2</c:v>
                </c:pt>
                <c:pt idx="5729">
                  <c:v>-4.8155826999999998E-2</c:v>
                </c:pt>
                <c:pt idx="5730">
                  <c:v>-4.8224231999999999E-2</c:v>
                </c:pt>
                <c:pt idx="5731">
                  <c:v>-4.8363163000000001E-2</c:v>
                </c:pt>
                <c:pt idx="5732">
                  <c:v>-4.8433202000000002E-2</c:v>
                </c:pt>
                <c:pt idx="5733">
                  <c:v>-4.8501572E-2</c:v>
                </c:pt>
                <c:pt idx="5734">
                  <c:v>-4.8573769000000003E-2</c:v>
                </c:pt>
                <c:pt idx="5735">
                  <c:v>-4.8576481999999997E-2</c:v>
                </c:pt>
                <c:pt idx="5736">
                  <c:v>-4.8642172999999997E-2</c:v>
                </c:pt>
                <c:pt idx="5737">
                  <c:v>-4.8711620999999997E-2</c:v>
                </c:pt>
                <c:pt idx="5738">
                  <c:v>-4.8781103999999999E-2</c:v>
                </c:pt>
                <c:pt idx="5739">
                  <c:v>-4.9058479000000002E-2</c:v>
                </c:pt>
                <c:pt idx="5740">
                  <c:v>-5.0386657000000001E-2</c:v>
                </c:pt>
                <c:pt idx="5741">
                  <c:v>-5.0450189999999999E-2</c:v>
                </c:pt>
                <c:pt idx="5742">
                  <c:v>-5.1012490000000001E-2</c:v>
                </c:pt>
                <c:pt idx="5743">
                  <c:v>-5.1704013E-2</c:v>
                </c:pt>
                <c:pt idx="5744">
                  <c:v>-5.2189802E-2</c:v>
                </c:pt>
                <c:pt idx="5745">
                  <c:v>-5.2886718999999999E-2</c:v>
                </c:pt>
                <c:pt idx="5746">
                  <c:v>-5.3024606000000002E-2</c:v>
                </c:pt>
                <c:pt idx="5747">
                  <c:v>-5.3096802999999998E-2</c:v>
                </c:pt>
                <c:pt idx="5748">
                  <c:v>-5.3165171999999997E-2</c:v>
                </c:pt>
                <c:pt idx="5749">
                  <c:v>-5.3233576999999997E-2</c:v>
                </c:pt>
                <c:pt idx="5750">
                  <c:v>-5.3303059999999999E-2</c:v>
                </c:pt>
                <c:pt idx="5751">
                  <c:v>-5.3512030000000002E-2</c:v>
                </c:pt>
                <c:pt idx="5752">
                  <c:v>-5.3650960999999997E-2</c:v>
                </c:pt>
                <c:pt idx="5753">
                  <c:v>-5.3723158E-2</c:v>
                </c:pt>
                <c:pt idx="5754">
                  <c:v>-5.3791562000000001E-2</c:v>
                </c:pt>
                <c:pt idx="5755">
                  <c:v>-5.3859931999999999E-2</c:v>
                </c:pt>
                <c:pt idx="5756">
                  <c:v>-5.4000533000000003E-2</c:v>
                </c:pt>
                <c:pt idx="5757">
                  <c:v>-5.4068902000000002E-2</c:v>
                </c:pt>
                <c:pt idx="5758">
                  <c:v>-5.4143812999999999E-2</c:v>
                </c:pt>
                <c:pt idx="5759">
                  <c:v>-5.4209503999999999E-2</c:v>
                </c:pt>
                <c:pt idx="5760">
                  <c:v>-5.4277351000000001E-2</c:v>
                </c:pt>
                <c:pt idx="5761">
                  <c:v>-5.435007E-2</c:v>
                </c:pt>
                <c:pt idx="5762">
                  <c:v>-5.4486878000000002E-2</c:v>
                </c:pt>
                <c:pt idx="5763">
                  <c:v>-5.4625288000000001E-2</c:v>
                </c:pt>
                <c:pt idx="5764">
                  <c:v>-5.4695848999999998E-2</c:v>
                </c:pt>
                <c:pt idx="5765">
                  <c:v>-5.4764219000000003E-2</c:v>
                </c:pt>
                <c:pt idx="5766">
                  <c:v>-5.4836414999999999E-2</c:v>
                </c:pt>
                <c:pt idx="5767">
                  <c:v>-5.4839685999999999E-2</c:v>
                </c:pt>
                <c:pt idx="5768">
                  <c:v>-5.4974268E-2</c:v>
                </c:pt>
                <c:pt idx="5769">
                  <c:v>-5.5112155000000003E-2</c:v>
                </c:pt>
                <c:pt idx="5770">
                  <c:v>-5.5184351999999999E-2</c:v>
                </c:pt>
                <c:pt idx="5771">
                  <c:v>-5.5462248999999998E-2</c:v>
                </c:pt>
                <c:pt idx="5772">
                  <c:v>-5.5530652999999999E-2</c:v>
                </c:pt>
                <c:pt idx="5773">
                  <c:v>-5.5738509999999998E-2</c:v>
                </c:pt>
                <c:pt idx="5774">
                  <c:v>-5.5810707000000001E-2</c:v>
                </c:pt>
                <c:pt idx="5775">
                  <c:v>-5.5947481E-2</c:v>
                </c:pt>
                <c:pt idx="5776">
                  <c:v>-5.6019678000000003E-2</c:v>
                </c:pt>
                <c:pt idx="5777">
                  <c:v>-5.6297053E-2</c:v>
                </c:pt>
                <c:pt idx="5778">
                  <c:v>-5.6364900000000003E-2</c:v>
                </c:pt>
                <c:pt idx="5779">
                  <c:v>-5.6437619000000001E-2</c:v>
                </c:pt>
                <c:pt idx="5780">
                  <c:v>-5.6506023000000002E-2</c:v>
                </c:pt>
                <c:pt idx="5781">
                  <c:v>-5.6574426999999997E-2</c:v>
                </c:pt>
                <c:pt idx="5782">
                  <c:v>-5.6646588999999997E-2</c:v>
                </c:pt>
                <c:pt idx="5783">
                  <c:v>-5.6851767999999997E-2</c:v>
                </c:pt>
                <c:pt idx="5784">
                  <c:v>-5.6923964000000001E-2</c:v>
                </c:pt>
                <c:pt idx="5785">
                  <c:v>-5.7061817000000001E-2</c:v>
                </c:pt>
                <c:pt idx="5786">
                  <c:v>-5.7131300000000003E-2</c:v>
                </c:pt>
                <c:pt idx="5787">
                  <c:v>-5.7199703999999997E-2</c:v>
                </c:pt>
                <c:pt idx="5788">
                  <c:v>-5.7340269999999999E-2</c:v>
                </c:pt>
                <c:pt idx="5789">
                  <c:v>-5.7408674999999999E-2</c:v>
                </c:pt>
                <c:pt idx="5790">
                  <c:v>-5.7966660000000003E-2</c:v>
                </c:pt>
                <c:pt idx="5791">
                  <c:v>-5.8175630999999998E-2</c:v>
                </c:pt>
                <c:pt idx="5792">
                  <c:v>-5.8384601000000001E-2</c:v>
                </c:pt>
                <c:pt idx="5793">
                  <c:v>-5.8452448999999997E-2</c:v>
                </c:pt>
                <c:pt idx="5794">
                  <c:v>-5.9571133999999998E-2</c:v>
                </c:pt>
                <c:pt idx="5795">
                  <c:v>-5.9637347E-2</c:v>
                </c:pt>
                <c:pt idx="5796">
                  <c:v>-6.0123691999999999E-2</c:v>
                </c:pt>
                <c:pt idx="5797">
                  <c:v>-6.0262623000000001E-2</c:v>
                </c:pt>
                <c:pt idx="5798">
                  <c:v>-6.0681120999999998E-2</c:v>
                </c:pt>
                <c:pt idx="5799">
                  <c:v>-6.0821686999999999E-2</c:v>
                </c:pt>
                <c:pt idx="5800">
                  <c:v>-6.0887933999999998E-2</c:v>
                </c:pt>
                <c:pt idx="5801">
                  <c:v>-6.0958496000000001E-2</c:v>
                </c:pt>
                <c:pt idx="5802">
                  <c:v>-6.1030658000000002E-2</c:v>
                </c:pt>
                <c:pt idx="5803">
                  <c:v>-6.1099062000000003E-2</c:v>
                </c:pt>
                <c:pt idx="5804">
                  <c:v>-6.1167467000000003E-2</c:v>
                </c:pt>
                <c:pt idx="5805">
                  <c:v>-6.1236915000000003E-2</c:v>
                </c:pt>
                <c:pt idx="5806">
                  <c:v>-6.1380751999999997E-2</c:v>
                </c:pt>
                <c:pt idx="5807">
                  <c:v>-6.2837595999999996E-2</c:v>
                </c:pt>
                <c:pt idx="5808">
                  <c:v>-6.3255537000000001E-2</c:v>
                </c:pt>
                <c:pt idx="5809">
                  <c:v>-6.3324463999999997E-2</c:v>
                </c:pt>
                <c:pt idx="5810">
                  <c:v>-6.3393947000000006E-2</c:v>
                </c:pt>
                <c:pt idx="5811">
                  <c:v>-6.3534547999999996E-2</c:v>
                </c:pt>
                <c:pt idx="5812">
                  <c:v>-6.3671321000000003E-2</c:v>
                </c:pt>
                <c:pt idx="5813">
                  <c:v>-6.3744597E-2</c:v>
                </c:pt>
                <c:pt idx="5814">
                  <c:v>-6.3746232E-2</c:v>
                </c:pt>
                <c:pt idx="5815">
                  <c:v>-6.3881371000000006E-2</c:v>
                </c:pt>
                <c:pt idx="5816">
                  <c:v>-6.4019223E-2</c:v>
                </c:pt>
                <c:pt idx="5817">
                  <c:v>-6.4161459000000004E-2</c:v>
                </c:pt>
                <c:pt idx="5818">
                  <c:v>-6.4164173000000005E-2</c:v>
                </c:pt>
                <c:pt idx="5819">
                  <c:v>-6.4229829000000002E-2</c:v>
                </c:pt>
                <c:pt idx="5820">
                  <c:v>-6.4437721000000003E-2</c:v>
                </c:pt>
                <c:pt idx="5821">
                  <c:v>-6.4509917999999999E-2</c:v>
                </c:pt>
                <c:pt idx="5822">
                  <c:v>-6.4578321999999994E-2</c:v>
                </c:pt>
                <c:pt idx="5823">
                  <c:v>-6.4646692000000006E-2</c:v>
                </c:pt>
                <c:pt idx="5824">
                  <c:v>-6.4715096E-2</c:v>
                </c:pt>
                <c:pt idx="5825">
                  <c:v>-6.4856740999999996E-2</c:v>
                </c:pt>
                <c:pt idx="5826">
                  <c:v>-6.4860010999999995E-2</c:v>
                </c:pt>
                <c:pt idx="5827">
                  <c:v>-6.4925145000000004E-2</c:v>
                </c:pt>
                <c:pt idx="5828">
                  <c:v>-6.5277430999999997E-2</c:v>
                </c:pt>
                <c:pt idx="5829">
                  <c:v>-6.5622097000000004E-2</c:v>
                </c:pt>
                <c:pt idx="5830">
                  <c:v>-6.5834302999999997E-2</c:v>
                </c:pt>
                <c:pt idx="5831">
                  <c:v>-6.7012136999999999E-2</c:v>
                </c:pt>
                <c:pt idx="5832">
                  <c:v>-6.7500117999999998E-2</c:v>
                </c:pt>
                <c:pt idx="5833">
                  <c:v>-6.7569601000000007E-2</c:v>
                </c:pt>
                <c:pt idx="5834">
                  <c:v>-6.7637971000000005E-2</c:v>
                </c:pt>
                <c:pt idx="5835">
                  <c:v>-6.7710167000000002E-2</c:v>
                </c:pt>
                <c:pt idx="5836">
                  <c:v>-6.7846940999999994E-2</c:v>
                </c:pt>
                <c:pt idx="5837">
                  <c:v>-6.7987541999999998E-2</c:v>
                </c:pt>
                <c:pt idx="5838">
                  <c:v>-6.8055911999999996E-2</c:v>
                </c:pt>
                <c:pt idx="5839">
                  <c:v>-6.8128109000000006E-2</c:v>
                </c:pt>
                <c:pt idx="5840">
                  <c:v>-6.8264360999999996E-2</c:v>
                </c:pt>
                <c:pt idx="5841">
                  <c:v>-6.8404927000000004E-2</c:v>
                </c:pt>
                <c:pt idx="5842">
                  <c:v>-6.8473330999999998E-2</c:v>
                </c:pt>
                <c:pt idx="5843">
                  <c:v>-6.8682302000000001E-2</c:v>
                </c:pt>
                <c:pt idx="5844">
                  <c:v>-6.8754498999999997E-2</c:v>
                </c:pt>
                <c:pt idx="5845">
                  <c:v>-6.8822867999999995E-2</c:v>
                </c:pt>
                <c:pt idx="5846">
                  <c:v>-6.8963468999999999E-2</c:v>
                </c:pt>
                <c:pt idx="5847">
                  <c:v>-6.9100243000000006E-2</c:v>
                </c:pt>
                <c:pt idx="5848">
                  <c:v>-6.9518183999999997E-2</c:v>
                </c:pt>
                <c:pt idx="5849">
                  <c:v>-6.9587109999999994E-2</c:v>
                </c:pt>
                <c:pt idx="5850">
                  <c:v>-6.9656593000000003E-2</c:v>
                </c:pt>
                <c:pt idx="5851">
                  <c:v>-6.9728789999999999E-2</c:v>
                </c:pt>
                <c:pt idx="5852">
                  <c:v>-6.9797194000000007E-2</c:v>
                </c:pt>
                <c:pt idx="5853">
                  <c:v>-6.9934490000000002E-2</c:v>
                </c:pt>
                <c:pt idx="5854">
                  <c:v>-7.2303206999999994E-2</c:v>
                </c:pt>
                <c:pt idx="5855">
                  <c:v>-7.2371054000000004E-2</c:v>
                </c:pt>
                <c:pt idx="5856">
                  <c:v>-7.2439457999999998E-2</c:v>
                </c:pt>
                <c:pt idx="5857">
                  <c:v>-7.2511654999999994E-2</c:v>
                </c:pt>
                <c:pt idx="5858">
                  <c:v>-7.2514368999999995E-2</c:v>
                </c:pt>
                <c:pt idx="5859">
                  <c:v>-7.2718990999999997E-2</c:v>
                </c:pt>
                <c:pt idx="5860">
                  <c:v>-7.2788994999999995E-2</c:v>
                </c:pt>
                <c:pt idx="5861">
                  <c:v>-7.2857400000000003E-2</c:v>
                </c:pt>
                <c:pt idx="5862">
                  <c:v>-7.2929595999999999E-2</c:v>
                </c:pt>
                <c:pt idx="5863">
                  <c:v>-7.2997965999999997E-2</c:v>
                </c:pt>
                <c:pt idx="5864">
                  <c:v>-7.3066370000000005E-2</c:v>
                </c:pt>
                <c:pt idx="5865">
                  <c:v>-7.3138567000000002E-2</c:v>
                </c:pt>
                <c:pt idx="5866">
                  <c:v>-7.3140724000000004E-2</c:v>
                </c:pt>
                <c:pt idx="5867">
                  <c:v>-7.3206937E-2</c:v>
                </c:pt>
                <c:pt idx="5868">
                  <c:v>-7.3347538000000004E-2</c:v>
                </c:pt>
                <c:pt idx="5869">
                  <c:v>-7.3415907000000002E-2</c:v>
                </c:pt>
                <c:pt idx="5870">
                  <c:v>-7.3484311999999996E-2</c:v>
                </c:pt>
                <c:pt idx="5871">
                  <c:v>-7.3552716000000004E-2</c:v>
                </c:pt>
                <c:pt idx="5872">
                  <c:v>-7.3624878000000005E-2</c:v>
                </c:pt>
                <c:pt idx="5873">
                  <c:v>-7.3762764999999994E-2</c:v>
                </c:pt>
                <c:pt idx="5874">
                  <c:v>-7.3900617000000002E-2</c:v>
                </c:pt>
                <c:pt idx="5875">
                  <c:v>-7.4041219000000005E-2</c:v>
                </c:pt>
                <c:pt idx="5876">
                  <c:v>-7.4109588000000004E-2</c:v>
                </c:pt>
                <c:pt idx="5877">
                  <c:v>-7.4181785E-2</c:v>
                </c:pt>
                <c:pt idx="5878">
                  <c:v>-7.4250188999999994E-2</c:v>
                </c:pt>
                <c:pt idx="5879">
                  <c:v>-7.4318559000000006E-2</c:v>
                </c:pt>
                <c:pt idx="5880">
                  <c:v>-7.4390755000000003E-2</c:v>
                </c:pt>
                <c:pt idx="5881">
                  <c:v>-7.4458602999999998E-2</c:v>
                </c:pt>
                <c:pt idx="5882">
                  <c:v>-7.4529164999999994E-2</c:v>
                </c:pt>
                <c:pt idx="5883">
                  <c:v>-7.4669765999999999E-2</c:v>
                </c:pt>
                <c:pt idx="5884">
                  <c:v>-7.4806540000000005E-2</c:v>
                </c:pt>
                <c:pt idx="5885">
                  <c:v>-7.4876022E-2</c:v>
                </c:pt>
                <c:pt idx="5886">
                  <c:v>-7.4944391999999999E-2</c:v>
                </c:pt>
                <c:pt idx="5887">
                  <c:v>-7.5571860000000005E-2</c:v>
                </c:pt>
                <c:pt idx="5888">
                  <c:v>-7.5645693E-2</c:v>
                </c:pt>
                <c:pt idx="5889">
                  <c:v>-7.5850314000000002E-2</c:v>
                </c:pt>
                <c:pt idx="5890">
                  <c:v>-7.5919796999999997E-2</c:v>
                </c:pt>
                <c:pt idx="5891">
                  <c:v>-7.5991958999999998E-2</c:v>
                </c:pt>
                <c:pt idx="5892">
                  <c:v>-7.6128767999999999E-2</c:v>
                </c:pt>
                <c:pt idx="5893">
                  <c:v>-7.6197136999999998E-2</c:v>
                </c:pt>
                <c:pt idx="5894">
                  <c:v>-7.6269333999999994E-2</c:v>
                </c:pt>
                <c:pt idx="5895">
                  <c:v>-7.7588848000000002E-2</c:v>
                </c:pt>
                <c:pt idx="5896">
                  <c:v>-7.8356883000000002E-2</c:v>
                </c:pt>
                <c:pt idx="5897">
                  <c:v>-7.8568567000000006E-2</c:v>
                </c:pt>
                <c:pt idx="5898">
                  <c:v>-7.8703183999999995E-2</c:v>
                </c:pt>
                <c:pt idx="5899">
                  <c:v>-7.8777016000000005E-2</c:v>
                </c:pt>
                <c:pt idx="5900">
                  <c:v>-7.8911597999999999E-2</c:v>
                </c:pt>
                <c:pt idx="5901">
                  <c:v>-7.8981636999999993E-2</c:v>
                </c:pt>
                <c:pt idx="5902">
                  <c:v>-7.9051120000000002E-2</c:v>
                </c:pt>
                <c:pt idx="5903">
                  <c:v>-7.9123282000000003E-2</c:v>
                </c:pt>
                <c:pt idx="5904">
                  <c:v>-7.9124918000000002E-2</c:v>
                </c:pt>
                <c:pt idx="5905">
                  <c:v>-7.9260091000000005E-2</c:v>
                </c:pt>
                <c:pt idx="5906">
                  <c:v>-7.9328460000000003E-2</c:v>
                </c:pt>
                <c:pt idx="5907">
                  <c:v>-7.9400656999999999E-2</c:v>
                </c:pt>
                <c:pt idx="5908">
                  <c:v>-8.0025412000000004E-2</c:v>
                </c:pt>
                <c:pt idx="5909">
                  <c:v>-8.0094894999999999E-2</c:v>
                </c:pt>
                <c:pt idx="5910">
                  <c:v>-8.1281949000000006E-2</c:v>
                </c:pt>
                <c:pt idx="5911">
                  <c:v>-8.1488763000000006E-2</c:v>
                </c:pt>
                <c:pt idx="5912">
                  <c:v>-8.1490919999999994E-2</c:v>
                </c:pt>
                <c:pt idx="5913">
                  <c:v>-8.1697732999999995E-2</c:v>
                </c:pt>
                <c:pt idx="5914">
                  <c:v>-8.3785282000000003E-2</c:v>
                </c:pt>
                <c:pt idx="5915">
                  <c:v>-8.3994253000000005E-2</c:v>
                </c:pt>
                <c:pt idx="5916">
                  <c:v>-8.4062623000000003E-2</c:v>
                </c:pt>
                <c:pt idx="5917">
                  <c:v>-8.4131026999999997E-2</c:v>
                </c:pt>
                <c:pt idx="5918">
                  <c:v>-8.4200510000000006E-2</c:v>
                </c:pt>
                <c:pt idx="5919">
                  <c:v>-8.4269993000000001E-2</c:v>
                </c:pt>
                <c:pt idx="5920">
                  <c:v>-8.4342155000000002E-2</c:v>
                </c:pt>
                <c:pt idx="5921">
                  <c:v>-8.4343790000000002E-2</c:v>
                </c:pt>
                <c:pt idx="5922">
                  <c:v>-8.4410558999999996E-2</c:v>
                </c:pt>
                <c:pt idx="5923">
                  <c:v>-8.4478963000000004E-2</c:v>
                </c:pt>
                <c:pt idx="5924">
                  <c:v>-8.4547889000000001E-2</c:v>
                </c:pt>
                <c:pt idx="5925">
                  <c:v>-8.4548411000000004E-2</c:v>
                </c:pt>
                <c:pt idx="5926">
                  <c:v>-8.4620085999999997E-2</c:v>
                </c:pt>
                <c:pt idx="5927">
                  <c:v>-8.4688455999999995E-2</c:v>
                </c:pt>
                <c:pt idx="5928">
                  <c:v>-8.4756860000000003E-2</c:v>
                </c:pt>
                <c:pt idx="5929">
                  <c:v>-8.4829056999999999E-2</c:v>
                </c:pt>
                <c:pt idx="5930">
                  <c:v>-8.4896904999999995E-2</c:v>
                </c:pt>
                <c:pt idx="5931">
                  <c:v>-8.5037471000000003E-2</c:v>
                </c:pt>
                <c:pt idx="5932">
                  <c:v>-8.5801190999999999E-2</c:v>
                </c:pt>
                <c:pt idx="5933">
                  <c:v>-8.5944471999999994E-2</c:v>
                </c:pt>
                <c:pt idx="5934">
                  <c:v>-8.6010162000000001E-2</c:v>
                </c:pt>
                <c:pt idx="5935">
                  <c:v>-8.6078531E-2</c:v>
                </c:pt>
                <c:pt idx="5936">
                  <c:v>-8.6288059E-2</c:v>
                </c:pt>
                <c:pt idx="5937">
                  <c:v>-8.6357541999999995E-2</c:v>
                </c:pt>
                <c:pt idx="5938">
                  <c:v>-8.7545153000000001E-2</c:v>
                </c:pt>
                <c:pt idx="5939">
                  <c:v>-8.7962538000000007E-2</c:v>
                </c:pt>
                <c:pt idx="5940">
                  <c:v>-8.8240991000000005E-2</c:v>
                </c:pt>
                <c:pt idx="5941">
                  <c:v>-8.8375607999999994E-2</c:v>
                </c:pt>
                <c:pt idx="5942">
                  <c:v>-8.9215283000000006E-2</c:v>
                </c:pt>
                <c:pt idx="5943">
                  <c:v>-9.0810535999999997E-2</c:v>
                </c:pt>
                <c:pt idx="5944">
                  <c:v>-9.1437448000000004E-2</c:v>
                </c:pt>
                <c:pt idx="5945">
                  <c:v>-9.1854310999999994E-2</c:v>
                </c:pt>
                <c:pt idx="5946">
                  <c:v>-9.2063803E-2</c:v>
                </c:pt>
                <c:pt idx="5947">
                  <c:v>-9.2344448999999995E-2</c:v>
                </c:pt>
                <c:pt idx="5948">
                  <c:v>-9.2416089000000007E-2</c:v>
                </c:pt>
                <c:pt idx="5949">
                  <c:v>-9.3107577999999996E-2</c:v>
                </c:pt>
                <c:pt idx="5950">
                  <c:v>-9.3316026999999996E-2</c:v>
                </c:pt>
                <c:pt idx="5951">
                  <c:v>-9.3388223000000006E-2</c:v>
                </c:pt>
                <c:pt idx="5952">
                  <c:v>-9.3456593000000004E-2</c:v>
                </c:pt>
                <c:pt idx="5953">
                  <c:v>-9.3594479999999994E-2</c:v>
                </c:pt>
                <c:pt idx="5954">
                  <c:v>-9.3663963000000003E-2</c:v>
                </c:pt>
                <c:pt idx="5955">
                  <c:v>-9.3736125000000003E-2</c:v>
                </c:pt>
                <c:pt idx="5956">
                  <c:v>-9.3804528999999998E-2</c:v>
                </c:pt>
                <c:pt idx="5957">
                  <c:v>-9.3872934000000005E-2</c:v>
                </c:pt>
                <c:pt idx="5958">
                  <c:v>-9.3941860000000002E-2</c:v>
                </c:pt>
                <c:pt idx="5959">
                  <c:v>-9.4014056999999998E-2</c:v>
                </c:pt>
                <c:pt idx="5960">
                  <c:v>-9.4082425999999997E-2</c:v>
                </c:pt>
                <c:pt idx="5961">
                  <c:v>-9.4223027000000001E-2</c:v>
                </c:pt>
                <c:pt idx="5962">
                  <c:v>-9.4291396999999999E-2</c:v>
                </c:pt>
                <c:pt idx="5963">
                  <c:v>-9.4638775999999994E-2</c:v>
                </c:pt>
                <c:pt idx="5964">
                  <c:v>-9.5060544999999996E-2</c:v>
                </c:pt>
                <c:pt idx="5965">
                  <c:v>-9.5335170999999996E-2</c:v>
                </c:pt>
                <c:pt idx="5966">
                  <c:v>-9.5547411999999998E-2</c:v>
                </c:pt>
                <c:pt idx="5967">
                  <c:v>-9.5612546000000007E-2</c:v>
                </c:pt>
                <c:pt idx="5968">
                  <c:v>-9.5752034E-2</c:v>
                </c:pt>
                <c:pt idx="5969">
                  <c:v>-9.6519546999999997E-2</c:v>
                </c:pt>
                <c:pt idx="5970">
                  <c:v>-9.7217542000000004E-2</c:v>
                </c:pt>
                <c:pt idx="5971">
                  <c:v>-9.7491646000000001E-2</c:v>
                </c:pt>
                <c:pt idx="5972">
                  <c:v>-9.7839061000000005E-2</c:v>
                </c:pt>
                <c:pt idx="5973">
                  <c:v>-9.7839582999999994E-2</c:v>
                </c:pt>
                <c:pt idx="5974">
                  <c:v>-9.7911223000000006E-2</c:v>
                </c:pt>
                <c:pt idx="5975">
                  <c:v>-9.7979627E-2</c:v>
                </c:pt>
                <c:pt idx="5976">
                  <c:v>-9.8048030999999994E-2</c:v>
                </c:pt>
                <c:pt idx="5977">
                  <c:v>-9.8116958000000004E-2</c:v>
                </c:pt>
                <c:pt idx="5978">
                  <c:v>-9.8189154000000001E-2</c:v>
                </c:pt>
                <c:pt idx="5979">
                  <c:v>-9.9235642999999998E-2</c:v>
                </c:pt>
                <c:pt idx="5980">
                  <c:v>-9.9301297999999996E-2</c:v>
                </c:pt>
                <c:pt idx="5981">
                  <c:v>-9.9369703000000004E-2</c:v>
                </c:pt>
                <c:pt idx="5982">
                  <c:v>-9.94419E-2</c:v>
                </c:pt>
                <c:pt idx="5983">
                  <c:v>-9.9510268999999998E-2</c:v>
                </c:pt>
                <c:pt idx="5984">
                  <c:v>-9.9578673000000006E-2</c:v>
                </c:pt>
                <c:pt idx="5985">
                  <c:v>-9.9650870000000003E-2</c:v>
                </c:pt>
                <c:pt idx="5986">
                  <c:v>-9.9857649000000007E-2</c:v>
                </c:pt>
                <c:pt idx="5987">
                  <c:v>-9.9927132000000002E-2</c:v>
                </c:pt>
                <c:pt idx="5988">
                  <c:v>-0.10006773300000001</c:v>
                </c:pt>
                <c:pt idx="5989">
                  <c:v>-0.100136102</c:v>
                </c:pt>
                <c:pt idx="5990">
                  <c:v>-0.100208299</c:v>
                </c:pt>
                <c:pt idx="5991">
                  <c:v>-0.10027670299999999</c:v>
                </c:pt>
                <c:pt idx="5992">
                  <c:v>-0.10034507300000001</c:v>
                </c:pt>
                <c:pt idx="5993">
                  <c:v>-0.100413477</c:v>
                </c:pt>
                <c:pt idx="5994">
                  <c:v>-0.100485674</c:v>
                </c:pt>
                <c:pt idx="5995">
                  <c:v>-0.100554044</c:v>
                </c:pt>
                <c:pt idx="5996">
                  <c:v>-0.10083141800000001</c:v>
                </c:pt>
                <c:pt idx="5997">
                  <c:v>-0.10090198</c:v>
                </c:pt>
                <c:pt idx="5998">
                  <c:v>-0.100971985</c:v>
                </c:pt>
                <c:pt idx="5999">
                  <c:v>-0.10104038899999999</c:v>
                </c:pt>
                <c:pt idx="6000">
                  <c:v>-0.101112586</c:v>
                </c:pt>
                <c:pt idx="6001">
                  <c:v>-0.101180955</c:v>
                </c:pt>
                <c:pt idx="6002">
                  <c:v>-0.10124936</c:v>
                </c:pt>
                <c:pt idx="6003">
                  <c:v>-0.10139264000000001</c:v>
                </c:pt>
                <c:pt idx="6004">
                  <c:v>-0.10159781800000001</c:v>
                </c:pt>
                <c:pt idx="6005">
                  <c:v>-0.101666744</c:v>
                </c:pt>
                <c:pt idx="6006">
                  <c:v>-0.10264538500000001</c:v>
                </c:pt>
                <c:pt idx="6007">
                  <c:v>-0.102988972</c:v>
                </c:pt>
                <c:pt idx="6008">
                  <c:v>-0.103267426</c:v>
                </c:pt>
                <c:pt idx="6009">
                  <c:v>-0.103410741</c:v>
                </c:pt>
                <c:pt idx="6010">
                  <c:v>-0.10431227899999999</c:v>
                </c:pt>
                <c:pt idx="6011">
                  <c:v>-0.104380683</c:v>
                </c:pt>
                <c:pt idx="6012">
                  <c:v>-0.10445288</c:v>
                </c:pt>
                <c:pt idx="6013">
                  <c:v>-0.104521249</c:v>
                </c:pt>
                <c:pt idx="6014">
                  <c:v>-0.104589654</c:v>
                </c:pt>
                <c:pt idx="6015">
                  <c:v>-0.104867029</c:v>
                </c:pt>
                <c:pt idx="6016">
                  <c:v>-0.105007595</c:v>
                </c:pt>
                <c:pt idx="6017">
                  <c:v>-0.10507652100000001</c:v>
                </c:pt>
                <c:pt idx="6018">
                  <c:v>-0.105146004</c:v>
                </c:pt>
                <c:pt idx="6019">
                  <c:v>-0.106120296</c:v>
                </c:pt>
                <c:pt idx="6020">
                  <c:v>-0.106190857</c:v>
                </c:pt>
                <c:pt idx="6021">
                  <c:v>-0.10625926099999999</c:v>
                </c:pt>
                <c:pt idx="6022">
                  <c:v>-0.106331458</c:v>
                </c:pt>
                <c:pt idx="6023">
                  <c:v>-0.10633305899999999</c:v>
                </c:pt>
                <c:pt idx="6024">
                  <c:v>-0.106399828</c:v>
                </c:pt>
                <c:pt idx="6025">
                  <c:v>-0.106677203</c:v>
                </c:pt>
                <c:pt idx="6026">
                  <c:v>-0.10674939899999999</c:v>
                </c:pt>
                <c:pt idx="6027">
                  <c:v>-0.10681776900000001</c:v>
                </c:pt>
                <c:pt idx="6028">
                  <c:v>-0.106886173</c:v>
                </c:pt>
                <c:pt idx="6029">
                  <c:v>-0.10695457799999999</c:v>
                </c:pt>
                <c:pt idx="6030">
                  <c:v>-0.106955099</c:v>
                </c:pt>
                <c:pt idx="6031">
                  <c:v>-0.10702674</c:v>
                </c:pt>
                <c:pt idx="6032">
                  <c:v>-0.107095144</c:v>
                </c:pt>
                <c:pt idx="6033">
                  <c:v>-0.10716407</c:v>
                </c:pt>
                <c:pt idx="6034">
                  <c:v>-0.10730738500000001</c:v>
                </c:pt>
                <c:pt idx="6035">
                  <c:v>-0.108629613</c:v>
                </c:pt>
                <c:pt idx="6036">
                  <c:v>-0.10953442200000001</c:v>
                </c:pt>
                <c:pt idx="6037">
                  <c:v>-0.109742836</c:v>
                </c:pt>
                <c:pt idx="6038">
                  <c:v>-0.110160255</c:v>
                </c:pt>
                <c:pt idx="6039">
                  <c:v>-0.11029539300000001</c:v>
                </c:pt>
                <c:pt idx="6040">
                  <c:v>-0.110995581</c:v>
                </c:pt>
                <c:pt idx="6041">
                  <c:v>-0.11203935499999999</c:v>
                </c:pt>
                <c:pt idx="6042">
                  <c:v>-0.112104489</c:v>
                </c:pt>
                <c:pt idx="6043">
                  <c:v>-0.112248326</c:v>
                </c:pt>
                <c:pt idx="6044">
                  <c:v>-0.11245242499999999</c:v>
                </c:pt>
                <c:pt idx="6045">
                  <c:v>-0.113013682</c:v>
                </c:pt>
                <c:pt idx="6046">
                  <c:v>-0.113848451</c:v>
                </c:pt>
                <c:pt idx="6047">
                  <c:v>-0.11426587000000001</c:v>
                </c:pt>
                <c:pt idx="6048">
                  <c:v>-0.114401008</c:v>
                </c:pt>
                <c:pt idx="6049">
                  <c:v>-0.114613806</c:v>
                </c:pt>
                <c:pt idx="6050">
                  <c:v>-0.114748945</c:v>
                </c:pt>
                <c:pt idx="6051">
                  <c:v>-0.115379649</c:v>
                </c:pt>
                <c:pt idx="6052">
                  <c:v>-0.115583749</c:v>
                </c:pt>
                <c:pt idx="6053">
                  <c:v>-0.11572431499999999</c:v>
                </c:pt>
                <c:pt idx="6054">
                  <c:v>-0.11572758599999999</c:v>
                </c:pt>
                <c:pt idx="6055">
                  <c:v>-0.115865438</c:v>
                </c:pt>
                <c:pt idx="6056">
                  <c:v>-0.115866551</c:v>
                </c:pt>
                <c:pt idx="6057">
                  <c:v>-0.115933842</c:v>
                </c:pt>
                <c:pt idx="6058">
                  <c:v>-0.116070616</c:v>
                </c:pt>
                <c:pt idx="6059">
                  <c:v>-0.116142813</c:v>
                </c:pt>
                <c:pt idx="6060">
                  <c:v>-0.116279587</c:v>
                </c:pt>
                <c:pt idx="6061">
                  <c:v>-0.11648855700000001</c:v>
                </c:pt>
                <c:pt idx="6062">
                  <c:v>-0.11655804</c:v>
                </c:pt>
                <c:pt idx="6063">
                  <c:v>-0.116627523</c:v>
                </c:pt>
                <c:pt idx="6064">
                  <c:v>-0.11669972000000001</c:v>
                </c:pt>
                <c:pt idx="6065">
                  <c:v>-0.11676809</c:v>
                </c:pt>
                <c:pt idx="6066">
                  <c:v>-0.116836494</c:v>
                </c:pt>
                <c:pt idx="6067">
                  <c:v>-0.116908691</c:v>
                </c:pt>
                <c:pt idx="6068">
                  <c:v>-0.117117661</c:v>
                </c:pt>
                <c:pt idx="6069">
                  <c:v>-0.117188745</c:v>
                </c:pt>
                <c:pt idx="6070">
                  <c:v>-0.117254435</c:v>
                </c:pt>
                <c:pt idx="6071">
                  <c:v>-0.117326632</c:v>
                </c:pt>
                <c:pt idx="6072">
                  <c:v>-0.11739503599999999</c:v>
                </c:pt>
                <c:pt idx="6073">
                  <c:v>-0.11753181</c:v>
                </c:pt>
                <c:pt idx="6074">
                  <c:v>-0.117601815</c:v>
                </c:pt>
                <c:pt idx="6075">
                  <c:v>-0.11794975100000001</c:v>
                </c:pt>
                <c:pt idx="6076">
                  <c:v>-0.118298766</c:v>
                </c:pt>
                <c:pt idx="6077">
                  <c:v>-0.118367136</c:v>
                </c:pt>
                <c:pt idx="6078">
                  <c:v>-0.11871942100000001</c:v>
                </c:pt>
                <c:pt idx="6079">
                  <c:v>-0.11899404800000001</c:v>
                </c:pt>
                <c:pt idx="6080">
                  <c:v>-0.119345777</c:v>
                </c:pt>
                <c:pt idx="6081">
                  <c:v>-0.119549876</c:v>
                </c:pt>
                <c:pt idx="6082">
                  <c:v>-0.11962099399999999</c:v>
                </c:pt>
                <c:pt idx="6083">
                  <c:v>-0.11968936400000001</c:v>
                </c:pt>
                <c:pt idx="6084">
                  <c:v>-0.119758847</c:v>
                </c:pt>
                <c:pt idx="6085">
                  <c:v>-0.119833201</c:v>
                </c:pt>
                <c:pt idx="6086">
                  <c:v>-0.119967817</c:v>
                </c:pt>
                <c:pt idx="6087">
                  <c:v>-0.121015941</c:v>
                </c:pt>
                <c:pt idx="6088">
                  <c:v>-0.121846396</c:v>
                </c:pt>
                <c:pt idx="6089">
                  <c:v>-0.12184695199999999</c:v>
                </c:pt>
                <c:pt idx="6090">
                  <c:v>-0.12212756299999999</c:v>
                </c:pt>
                <c:pt idx="6091">
                  <c:v>-0.12219593300000001</c:v>
                </c:pt>
                <c:pt idx="6092">
                  <c:v>-0.122264337</c:v>
                </c:pt>
                <c:pt idx="6093">
                  <c:v>-0.122336534</c:v>
                </c:pt>
                <c:pt idx="6094">
                  <c:v>-0.122404903</c:v>
                </c:pt>
                <c:pt idx="6095">
                  <c:v>-0.122473864</c:v>
                </c:pt>
                <c:pt idx="6096">
                  <c:v>-0.122616588</c:v>
                </c:pt>
                <c:pt idx="6097">
                  <c:v>-0.122751204</c:v>
                </c:pt>
                <c:pt idx="6098">
                  <c:v>-0.122821244</c:v>
                </c:pt>
                <c:pt idx="6099">
                  <c:v>-0.12289180500000001</c:v>
                </c:pt>
                <c:pt idx="6100">
                  <c:v>-0.122960175</c:v>
                </c:pt>
                <c:pt idx="6101">
                  <c:v>-0.123032372</c:v>
                </c:pt>
                <c:pt idx="6102">
                  <c:v>-0.12316914499999999</c:v>
                </c:pt>
                <c:pt idx="6103">
                  <c:v>-0.123241342</c:v>
                </c:pt>
                <c:pt idx="6104">
                  <c:v>-0.123309747</c:v>
                </c:pt>
                <c:pt idx="6105">
                  <c:v>-0.123378116</c:v>
                </c:pt>
                <c:pt idx="6106">
                  <c:v>-0.123520874</c:v>
                </c:pt>
                <c:pt idx="6107">
                  <c:v>-0.123587087</c:v>
                </c:pt>
                <c:pt idx="6108">
                  <c:v>-0.12365549100000001</c:v>
                </c:pt>
                <c:pt idx="6109">
                  <c:v>-0.123727688</c:v>
                </c:pt>
                <c:pt idx="6110">
                  <c:v>-0.123796092</c:v>
                </c:pt>
                <c:pt idx="6111">
                  <c:v>-0.12386446199999999</c:v>
                </c:pt>
                <c:pt idx="6112">
                  <c:v>-0.12386501799999999</c:v>
                </c:pt>
                <c:pt idx="6113">
                  <c:v>-0.123933945</c:v>
                </c:pt>
                <c:pt idx="6114">
                  <c:v>-0.12414291500000001</c:v>
                </c:pt>
                <c:pt idx="6115">
                  <c:v>-0.124212398</c:v>
                </c:pt>
                <c:pt idx="6116">
                  <c:v>-0.124495166</c:v>
                </c:pt>
                <c:pt idx="6117">
                  <c:v>-0.124561935</c:v>
                </c:pt>
                <c:pt idx="6118">
                  <c:v>-0.124702536</c:v>
                </c:pt>
                <c:pt idx="6119">
                  <c:v>-0.12470413700000001</c:v>
                </c:pt>
                <c:pt idx="6120">
                  <c:v>-0.12483931</c:v>
                </c:pt>
                <c:pt idx="6121">
                  <c:v>-0.126439991</c:v>
                </c:pt>
                <c:pt idx="6122">
                  <c:v>-0.12651326700000001</c:v>
                </c:pt>
                <c:pt idx="6123">
                  <c:v>-0.126790085</c:v>
                </c:pt>
                <c:pt idx="6124">
                  <c:v>-0.126861168</c:v>
                </c:pt>
                <c:pt idx="6125">
                  <c:v>-0.12699634200000001</c:v>
                </c:pt>
                <c:pt idx="6126">
                  <c:v>-0.12706582499999999</c:v>
                </c:pt>
                <c:pt idx="6127">
                  <c:v>-0.12713962200000001</c:v>
                </c:pt>
                <c:pt idx="6128">
                  <c:v>-0.127206391</c:v>
                </c:pt>
                <c:pt idx="6129">
                  <c:v>-0.127274795</c:v>
                </c:pt>
                <c:pt idx="6130">
                  <c:v>-0.12734695700000001</c:v>
                </c:pt>
                <c:pt idx="6131">
                  <c:v>-0.12846184999999999</c:v>
                </c:pt>
                <c:pt idx="6132">
                  <c:v>-0.12915333900000001</c:v>
                </c:pt>
                <c:pt idx="6133">
                  <c:v>-0.129434506</c:v>
                </c:pt>
                <c:pt idx="6134">
                  <c:v>-0.129436142</c:v>
                </c:pt>
                <c:pt idx="6135">
                  <c:v>-0.13047556699999999</c:v>
                </c:pt>
                <c:pt idx="6136">
                  <c:v>-0.13054776400000001</c:v>
                </c:pt>
                <c:pt idx="6137">
                  <c:v>-0.13054939900000001</c:v>
                </c:pt>
                <c:pt idx="6138">
                  <c:v>-0.13082458199999999</c:v>
                </c:pt>
                <c:pt idx="6139">
                  <c:v>-0.13089298599999999</c:v>
                </c:pt>
                <c:pt idx="6140">
                  <c:v>-0.13096518300000001</c:v>
                </c:pt>
                <c:pt idx="6141">
                  <c:v>-0.130966783</c:v>
                </c:pt>
                <c:pt idx="6142">
                  <c:v>-0.131033552</c:v>
                </c:pt>
                <c:pt idx="6143">
                  <c:v>-0.13110195699999999</c:v>
                </c:pt>
                <c:pt idx="6144">
                  <c:v>-0.131240888</c:v>
                </c:pt>
                <c:pt idx="6145">
                  <c:v>-0.131313085</c:v>
                </c:pt>
                <c:pt idx="6146">
                  <c:v>-0.13138148899999999</c:v>
                </c:pt>
                <c:pt idx="6147">
                  <c:v>-0.131384203</c:v>
                </c:pt>
                <c:pt idx="6148">
                  <c:v>-0.13144989300000001</c:v>
                </c:pt>
                <c:pt idx="6149">
                  <c:v>-0.13159045899999999</c:v>
                </c:pt>
                <c:pt idx="6150">
                  <c:v>-0.13165886399999999</c:v>
                </c:pt>
                <c:pt idx="6151">
                  <c:v>-0.131731026</c:v>
                </c:pt>
                <c:pt idx="6152">
                  <c:v>-0.132008401</c:v>
                </c:pt>
                <c:pt idx="6153">
                  <c:v>-0.132145175</c:v>
                </c:pt>
                <c:pt idx="6154">
                  <c:v>-0.132215214</c:v>
                </c:pt>
                <c:pt idx="6155">
                  <c:v>-0.13235414500000001</c:v>
                </c:pt>
                <c:pt idx="6156">
                  <c:v>-0.132426342</c:v>
                </c:pt>
                <c:pt idx="6157">
                  <c:v>-0.132494746</c:v>
                </c:pt>
                <c:pt idx="6158">
                  <c:v>-0.13249746000000001</c:v>
                </c:pt>
                <c:pt idx="6159">
                  <c:v>-0.132635313</c:v>
                </c:pt>
                <c:pt idx="6160">
                  <c:v>-0.13277208600000001</c:v>
                </c:pt>
                <c:pt idx="6161">
                  <c:v>-0.13284428300000001</c:v>
                </c:pt>
                <c:pt idx="6162">
                  <c:v>-0.13291540099999999</c:v>
                </c:pt>
                <c:pt idx="6163">
                  <c:v>-0.13312110099999999</c:v>
                </c:pt>
                <c:pt idx="6164">
                  <c:v>-0.13333278600000001</c:v>
                </c:pt>
                <c:pt idx="6165">
                  <c:v>-0.13354123500000001</c:v>
                </c:pt>
                <c:pt idx="6166">
                  <c:v>-0.13367964399999999</c:v>
                </c:pt>
                <c:pt idx="6167">
                  <c:v>-0.133680722</c:v>
                </c:pt>
                <c:pt idx="6168">
                  <c:v>-0.133748013</c:v>
                </c:pt>
                <c:pt idx="6169">
                  <c:v>-0.13388482199999999</c:v>
                </c:pt>
                <c:pt idx="6170">
                  <c:v>-0.133956984</c:v>
                </c:pt>
                <c:pt idx="6171">
                  <c:v>-0.13395917600000001</c:v>
                </c:pt>
                <c:pt idx="6172">
                  <c:v>-0.134025388</c:v>
                </c:pt>
                <c:pt idx="6173">
                  <c:v>-0.13402865899999999</c:v>
                </c:pt>
                <c:pt idx="6174">
                  <c:v>-0.13409379199999999</c:v>
                </c:pt>
                <c:pt idx="6175">
                  <c:v>-0.134165954</c:v>
                </c:pt>
                <c:pt idx="6176">
                  <c:v>-0.134234359</c:v>
                </c:pt>
                <c:pt idx="6177">
                  <c:v>-0.13430276299999999</c:v>
                </c:pt>
                <c:pt idx="6178">
                  <c:v>-0.13437221099999999</c:v>
                </c:pt>
                <c:pt idx="6179">
                  <c:v>-0.13451281200000001</c:v>
                </c:pt>
                <c:pt idx="6180">
                  <c:v>-0.13465337899999999</c:v>
                </c:pt>
                <c:pt idx="6181">
                  <c:v>-0.13465501399999999</c:v>
                </c:pt>
                <c:pt idx="6182">
                  <c:v>-0.13472178300000001</c:v>
                </c:pt>
                <c:pt idx="6183">
                  <c:v>-0.13479018700000001</c:v>
                </c:pt>
                <c:pt idx="6184">
                  <c:v>-0.13486234899999999</c:v>
                </c:pt>
                <c:pt idx="6185">
                  <c:v>-0.13493075400000001</c:v>
                </c:pt>
                <c:pt idx="6186">
                  <c:v>-0.135068084</c:v>
                </c:pt>
                <c:pt idx="6187">
                  <c:v>-0.13520865000000001</c:v>
                </c:pt>
                <c:pt idx="6188">
                  <c:v>-0.13527705500000001</c:v>
                </c:pt>
                <c:pt idx="6189">
                  <c:v>-0.13534653799999999</c:v>
                </c:pt>
                <c:pt idx="6190">
                  <c:v>-0.13541762099999999</c:v>
                </c:pt>
                <c:pt idx="6191">
                  <c:v>-0.135420335</c:v>
                </c:pt>
                <c:pt idx="6192">
                  <c:v>-0.13548602500000001</c:v>
                </c:pt>
                <c:pt idx="6193">
                  <c:v>-0.13555822200000001</c:v>
                </c:pt>
                <c:pt idx="6194">
                  <c:v>-0.13562659199999999</c:v>
                </c:pt>
                <c:pt idx="6195">
                  <c:v>-0.135977242</c:v>
                </c:pt>
                <c:pt idx="6196">
                  <c:v>-0.13618565599999999</c:v>
                </c:pt>
                <c:pt idx="6197">
                  <c:v>-0.13625242500000001</c:v>
                </c:pt>
                <c:pt idx="6198">
                  <c:v>-0.136320829</c:v>
                </c:pt>
                <c:pt idx="6199">
                  <c:v>-0.13646139500000001</c:v>
                </c:pt>
                <c:pt idx="6200">
                  <c:v>-0.136464109</c:v>
                </c:pt>
                <c:pt idx="6201">
                  <c:v>-0.13652980000000001</c:v>
                </c:pt>
                <c:pt idx="6202">
                  <c:v>-0.136946662</c:v>
                </c:pt>
                <c:pt idx="6203">
                  <c:v>-0.13701885899999999</c:v>
                </c:pt>
                <c:pt idx="6204">
                  <c:v>-0.137087229</c:v>
                </c:pt>
                <c:pt idx="6205">
                  <c:v>-0.137155633</c:v>
                </c:pt>
                <c:pt idx="6206">
                  <c:v>-0.13722783</c:v>
                </c:pt>
                <c:pt idx="6207">
                  <c:v>-0.13729619900000001</c:v>
                </c:pt>
                <c:pt idx="6208">
                  <c:v>-0.13743408600000001</c:v>
                </c:pt>
                <c:pt idx="6209">
                  <c:v>-0.13750517000000001</c:v>
                </c:pt>
                <c:pt idx="6210">
                  <c:v>-0.137507884</c:v>
                </c:pt>
                <c:pt idx="6211">
                  <c:v>-0.137573574</c:v>
                </c:pt>
                <c:pt idx="6212">
                  <c:v>-0.137645771</c:v>
                </c:pt>
                <c:pt idx="6213">
                  <c:v>-0.13785581999999999</c:v>
                </c:pt>
                <c:pt idx="6214">
                  <c:v>-0.13799151500000001</c:v>
                </c:pt>
                <c:pt idx="6215">
                  <c:v>-0.13834105199999999</c:v>
                </c:pt>
                <c:pt idx="6216">
                  <c:v>-0.13840945700000001</c:v>
                </c:pt>
                <c:pt idx="6217">
                  <c:v>-0.13847786100000001</c:v>
                </c:pt>
                <c:pt idx="6218">
                  <c:v>-0.13854730900000001</c:v>
                </c:pt>
                <c:pt idx="6219">
                  <c:v>-0.13882847600000001</c:v>
                </c:pt>
                <c:pt idx="6220">
                  <c:v>-0.138896881</c:v>
                </c:pt>
                <c:pt idx="6221">
                  <c:v>-0.13889959499999999</c:v>
                </c:pt>
                <c:pt idx="6222">
                  <c:v>-0.13896525000000001</c:v>
                </c:pt>
                <c:pt idx="6223">
                  <c:v>-0.13903744700000001</c:v>
                </c:pt>
                <c:pt idx="6224">
                  <c:v>-0.139105851</c:v>
                </c:pt>
                <c:pt idx="6225">
                  <c:v>-0.139521635</c:v>
                </c:pt>
                <c:pt idx="6226">
                  <c:v>-0.14001393100000001</c:v>
                </c:pt>
                <c:pt idx="6227">
                  <c:v>-0.1411934</c:v>
                </c:pt>
                <c:pt idx="6228">
                  <c:v>-0.14126559699999999</c:v>
                </c:pt>
                <c:pt idx="6229">
                  <c:v>-0.14133125299999999</c:v>
                </c:pt>
                <c:pt idx="6230">
                  <c:v>-0.14154022299999999</c:v>
                </c:pt>
                <c:pt idx="6231">
                  <c:v>-0.141609184</c:v>
                </c:pt>
                <c:pt idx="6232">
                  <c:v>-0.141678632</c:v>
                </c:pt>
                <c:pt idx="6233">
                  <c:v>-0.14175082899999999</c:v>
                </c:pt>
                <c:pt idx="6234">
                  <c:v>-0.14175246499999999</c:v>
                </c:pt>
                <c:pt idx="6235">
                  <c:v>-0.14182246900000001</c:v>
                </c:pt>
                <c:pt idx="6236">
                  <c:v>-0.14196251400000001</c:v>
                </c:pt>
                <c:pt idx="6237">
                  <c:v>-0.14203091800000001</c:v>
                </c:pt>
                <c:pt idx="6238">
                  <c:v>-0.142096574</c:v>
                </c:pt>
                <c:pt idx="6239">
                  <c:v>-0.14223988900000001</c:v>
                </c:pt>
                <c:pt idx="6240">
                  <c:v>-0.14230557899999999</c:v>
                </c:pt>
                <c:pt idx="6241">
                  <c:v>-0.142378855</c:v>
                </c:pt>
                <c:pt idx="6242">
                  <c:v>-0.142448303</c:v>
                </c:pt>
                <c:pt idx="6243">
                  <c:v>-0.14251454999999999</c:v>
                </c:pt>
                <c:pt idx="6244">
                  <c:v>-0.14259106099999999</c:v>
                </c:pt>
                <c:pt idx="6245">
                  <c:v>-0.14293572700000001</c:v>
                </c:pt>
                <c:pt idx="6246">
                  <c:v>-0.14300141699999999</c:v>
                </c:pt>
                <c:pt idx="6247">
                  <c:v>-0.143074693</c:v>
                </c:pt>
                <c:pt idx="6248">
                  <c:v>-0.14356211699999999</c:v>
                </c:pt>
                <c:pt idx="6249">
                  <c:v>-0.14369673299999999</c:v>
                </c:pt>
                <c:pt idx="6250">
                  <c:v>-0.14383837799999999</c:v>
                </c:pt>
                <c:pt idx="6251">
                  <c:v>-0.14391057500000001</c:v>
                </c:pt>
                <c:pt idx="6252">
                  <c:v>-0.14404898399999999</c:v>
                </c:pt>
                <c:pt idx="6253">
                  <c:v>-0.144118467</c:v>
                </c:pt>
                <c:pt idx="6254">
                  <c:v>-0.144393093</c:v>
                </c:pt>
                <c:pt idx="6255">
                  <c:v>-0.14453369399999999</c:v>
                </c:pt>
                <c:pt idx="6256">
                  <c:v>-0.14453585199999999</c:v>
                </c:pt>
                <c:pt idx="6257">
                  <c:v>-0.14474753600000001</c:v>
                </c:pt>
                <c:pt idx="6258">
                  <c:v>-0.14481322699999999</c:v>
                </c:pt>
                <c:pt idx="6259">
                  <c:v>-0.144814305</c:v>
                </c:pt>
                <c:pt idx="6260">
                  <c:v>-0.144884867</c:v>
                </c:pt>
                <c:pt idx="6261">
                  <c:v>-0.14495</c:v>
                </c:pt>
                <c:pt idx="6262">
                  <c:v>-0.14502598999999999</c:v>
                </c:pt>
                <c:pt idx="6263">
                  <c:v>-0.14509439399999999</c:v>
                </c:pt>
                <c:pt idx="6264">
                  <c:v>-0.145162242</c:v>
                </c:pt>
                <c:pt idx="6265">
                  <c:v>-0.14557962599999999</c:v>
                </c:pt>
                <c:pt idx="6266">
                  <c:v>-0.14564966600000001</c:v>
                </c:pt>
                <c:pt idx="6267">
                  <c:v>-0.14571532100000001</c:v>
                </c:pt>
                <c:pt idx="6268">
                  <c:v>-0.14578480399999999</c:v>
                </c:pt>
                <c:pt idx="6269">
                  <c:v>-0.145928119</c:v>
                </c:pt>
                <c:pt idx="6270">
                  <c:v>-0.14599756699999999</c:v>
                </c:pt>
                <c:pt idx="6271">
                  <c:v>-0.146063258</c:v>
                </c:pt>
                <c:pt idx="6272">
                  <c:v>-0.14613653300000001</c:v>
                </c:pt>
                <c:pt idx="6273">
                  <c:v>-0.14620601599999999</c:v>
                </c:pt>
                <c:pt idx="6274">
                  <c:v>-0.14634550399999999</c:v>
                </c:pt>
                <c:pt idx="6275">
                  <c:v>-0.146414987</c:v>
                </c:pt>
                <c:pt idx="6276">
                  <c:v>-0.14648119900000001</c:v>
                </c:pt>
                <c:pt idx="6277">
                  <c:v>-0.14655391800000001</c:v>
                </c:pt>
                <c:pt idx="6278">
                  <c:v>-0.146623957</c:v>
                </c:pt>
                <c:pt idx="6279">
                  <c:v>-0.14669344000000001</c:v>
                </c:pt>
                <c:pt idx="6280">
                  <c:v>-0.146758574</c:v>
                </c:pt>
                <c:pt idx="6281">
                  <c:v>-0.14696754400000001</c:v>
                </c:pt>
                <c:pt idx="6282">
                  <c:v>-0.14704134199999999</c:v>
                </c:pt>
                <c:pt idx="6283">
                  <c:v>-0.147110825</c:v>
                </c:pt>
                <c:pt idx="6284">
                  <c:v>-0.14717651500000001</c:v>
                </c:pt>
                <c:pt idx="6285">
                  <c:v>-0.147319795</c:v>
                </c:pt>
                <c:pt idx="6286">
                  <c:v>-0.14738548600000001</c:v>
                </c:pt>
                <c:pt idx="6287">
                  <c:v>-0.14746147500000001</c:v>
                </c:pt>
                <c:pt idx="6288">
                  <c:v>-0.147528244</c:v>
                </c:pt>
                <c:pt idx="6289">
                  <c:v>-0.1475939</c:v>
                </c:pt>
                <c:pt idx="6290">
                  <c:v>-0.147667732</c:v>
                </c:pt>
                <c:pt idx="6291">
                  <c:v>-0.14773721500000001</c:v>
                </c:pt>
                <c:pt idx="6292">
                  <c:v>-0.14780287</c:v>
                </c:pt>
                <c:pt idx="6293">
                  <c:v>-0.14787235300000001</c:v>
                </c:pt>
                <c:pt idx="6294">
                  <c:v>-0.147945629</c:v>
                </c:pt>
                <c:pt idx="6295">
                  <c:v>-0.14801566799999999</c:v>
                </c:pt>
                <c:pt idx="6296">
                  <c:v>-0.14808132399999999</c:v>
                </c:pt>
                <c:pt idx="6297">
                  <c:v>-0.14815731300000001</c:v>
                </c:pt>
                <c:pt idx="6298">
                  <c:v>-0.14822571700000001</c:v>
                </c:pt>
                <c:pt idx="6299">
                  <c:v>-0.14829356499999999</c:v>
                </c:pt>
                <c:pt idx="6300">
                  <c:v>-0.14835922100000001</c:v>
                </c:pt>
                <c:pt idx="6301">
                  <c:v>-0.14843305300000001</c:v>
                </c:pt>
                <c:pt idx="6302">
                  <c:v>-0.14850253599999999</c:v>
                </c:pt>
                <c:pt idx="6303">
                  <c:v>-0.14856819099999999</c:v>
                </c:pt>
                <c:pt idx="6304">
                  <c:v>-0.148641467</c:v>
                </c:pt>
                <c:pt idx="6305">
                  <c:v>-0.14871150599999999</c:v>
                </c:pt>
                <c:pt idx="6306">
                  <c:v>-0.148777197</c:v>
                </c:pt>
                <c:pt idx="6307">
                  <c:v>-0.148853708</c:v>
                </c:pt>
                <c:pt idx="6308">
                  <c:v>-0.14898940299999999</c:v>
                </c:pt>
                <c:pt idx="6309">
                  <c:v>-0.14912509800000001</c:v>
                </c:pt>
                <c:pt idx="6310">
                  <c:v>-0.14920108800000001</c:v>
                </c:pt>
                <c:pt idx="6311">
                  <c:v>-0.149269492</c:v>
                </c:pt>
                <c:pt idx="6312">
                  <c:v>-0.14933733900000001</c:v>
                </c:pt>
                <c:pt idx="6313">
                  <c:v>-0.14940299500000001</c:v>
                </c:pt>
                <c:pt idx="6314">
                  <c:v>-0.14947682700000001</c:v>
                </c:pt>
                <c:pt idx="6315">
                  <c:v>-0.14954630999999999</c:v>
                </c:pt>
                <c:pt idx="6316">
                  <c:v>-0.149615793</c:v>
                </c:pt>
                <c:pt idx="6317">
                  <c:v>-0.14968200500000001</c:v>
                </c:pt>
                <c:pt idx="6318">
                  <c:v>-0.14995990200000001</c:v>
                </c:pt>
                <c:pt idx="6319">
                  <c:v>-0.15003317699999999</c:v>
                </c:pt>
                <c:pt idx="6320">
                  <c:v>-0.15009939</c:v>
                </c:pt>
                <c:pt idx="6321">
                  <c:v>-0.15017266500000001</c:v>
                </c:pt>
                <c:pt idx="6322">
                  <c:v>-0.15024214799999999</c:v>
                </c:pt>
                <c:pt idx="6323">
                  <c:v>-0.15030836</c:v>
                </c:pt>
                <c:pt idx="6324">
                  <c:v>-0.15038111400000001</c:v>
                </c:pt>
                <c:pt idx="6325">
                  <c:v>-0.15045111899999999</c:v>
                </c:pt>
                <c:pt idx="6326">
                  <c:v>-0.15051625199999999</c:v>
                </c:pt>
                <c:pt idx="6327">
                  <c:v>-0.15059008500000001</c:v>
                </c:pt>
                <c:pt idx="6328">
                  <c:v>-0.15065956699999999</c:v>
                </c:pt>
                <c:pt idx="6329">
                  <c:v>-0.15072522299999999</c:v>
                </c:pt>
                <c:pt idx="6330">
                  <c:v>-0.15079905499999999</c:v>
                </c:pt>
                <c:pt idx="6331">
                  <c:v>-0.150868538</c:v>
                </c:pt>
                <c:pt idx="6332">
                  <c:v>-0.15093419399999999</c:v>
                </c:pt>
                <c:pt idx="6333">
                  <c:v>-0.151003677</c:v>
                </c:pt>
                <c:pt idx="6334">
                  <c:v>-0.15107695199999999</c:v>
                </c:pt>
                <c:pt idx="6335">
                  <c:v>-0.151143164</c:v>
                </c:pt>
                <c:pt idx="6336">
                  <c:v>-0.15121644000000001</c:v>
                </c:pt>
                <c:pt idx="6337">
                  <c:v>-0.15128592299999999</c:v>
                </c:pt>
                <c:pt idx="6338">
                  <c:v>-0.151352135</c:v>
                </c:pt>
                <c:pt idx="6339">
                  <c:v>-0.15142488800000001</c:v>
                </c:pt>
                <c:pt idx="6340">
                  <c:v>-0.15149489299999999</c:v>
                </c:pt>
                <c:pt idx="6341">
                  <c:v>-0.15156002700000001</c:v>
                </c:pt>
                <c:pt idx="6342">
                  <c:v>-0.15170442000000001</c:v>
                </c:pt>
                <c:pt idx="6343">
                  <c:v>-0.15176899699999999</c:v>
                </c:pt>
                <c:pt idx="6344">
                  <c:v>-0.15184283000000001</c:v>
                </c:pt>
                <c:pt idx="6345">
                  <c:v>-0.15197796799999999</c:v>
                </c:pt>
                <c:pt idx="6346">
                  <c:v>-0.152047451</c:v>
                </c:pt>
                <c:pt idx="6347">
                  <c:v>-0.15232969699999999</c:v>
                </c:pt>
                <c:pt idx="6348">
                  <c:v>-0.152468663</c:v>
                </c:pt>
                <c:pt idx="6349">
                  <c:v>-0.15253866799999999</c:v>
                </c:pt>
                <c:pt idx="6350">
                  <c:v>-0.15267763300000001</c:v>
                </c:pt>
                <c:pt idx="6351">
                  <c:v>-0.152817121</c:v>
                </c:pt>
                <c:pt idx="6352">
                  <c:v>-0.15288225499999999</c:v>
                </c:pt>
                <c:pt idx="6353">
                  <c:v>-0.15295608699999999</c:v>
                </c:pt>
                <c:pt idx="6354">
                  <c:v>-0.15337347200000001</c:v>
                </c:pt>
                <c:pt idx="6355">
                  <c:v>-0.15344458999999999</c:v>
                </c:pt>
                <c:pt idx="6356">
                  <c:v>-0.153578093</c:v>
                </c:pt>
                <c:pt idx="6357">
                  <c:v>-0.153721408</c:v>
                </c:pt>
                <c:pt idx="6358">
                  <c:v>-0.15385654600000001</c:v>
                </c:pt>
                <c:pt idx="6359">
                  <c:v>-0.15448672899999999</c:v>
                </c:pt>
                <c:pt idx="6360">
                  <c:v>-0.154556734</c:v>
                </c:pt>
                <c:pt idx="6361">
                  <c:v>-0.15462242400000001</c:v>
                </c:pt>
                <c:pt idx="6362">
                  <c:v>-0.15469569899999999</c:v>
                </c:pt>
                <c:pt idx="6363">
                  <c:v>-0.154765182</c:v>
                </c:pt>
                <c:pt idx="6364">
                  <c:v>-0.15490466999999999</c:v>
                </c:pt>
                <c:pt idx="6365">
                  <c:v>-0.154974153</c:v>
                </c:pt>
                <c:pt idx="6366">
                  <c:v>-0.155039809</c:v>
                </c:pt>
                <c:pt idx="6367">
                  <c:v>-0.15511635500000001</c:v>
                </c:pt>
                <c:pt idx="6368">
                  <c:v>-0.15517877399999999</c:v>
                </c:pt>
                <c:pt idx="6369">
                  <c:v>-0.155391538</c:v>
                </c:pt>
                <c:pt idx="6370">
                  <c:v>-0.15546373399999999</c:v>
                </c:pt>
                <c:pt idx="6371">
                  <c:v>-0.15553050299999999</c:v>
                </c:pt>
                <c:pt idx="6372">
                  <c:v>-0.155600508</c:v>
                </c:pt>
                <c:pt idx="6373">
                  <c:v>-0.15566564199999999</c:v>
                </c:pt>
                <c:pt idx="6374">
                  <c:v>-0.15573947399999999</c:v>
                </c:pt>
                <c:pt idx="6375">
                  <c:v>-0.15587844000000001</c:v>
                </c:pt>
                <c:pt idx="6376">
                  <c:v>-0.156017927</c:v>
                </c:pt>
                <c:pt idx="6377">
                  <c:v>-0.15608741000000001</c:v>
                </c:pt>
                <c:pt idx="6378">
                  <c:v>-0.15622254899999999</c:v>
                </c:pt>
                <c:pt idx="6379">
                  <c:v>-0.15643531199999999</c:v>
                </c:pt>
                <c:pt idx="6380">
                  <c:v>-0.156501002</c:v>
                </c:pt>
                <c:pt idx="6381">
                  <c:v>-0.156575356</c:v>
                </c:pt>
                <c:pt idx="6382">
                  <c:v>-0.156709973</c:v>
                </c:pt>
                <c:pt idx="6383">
                  <c:v>-0.156918944</c:v>
                </c:pt>
                <c:pt idx="6384">
                  <c:v>-0.157061702</c:v>
                </c:pt>
                <c:pt idx="6385">
                  <c:v>-0.15712735799999999</c:v>
                </c:pt>
                <c:pt idx="6386">
                  <c:v>-0.15720390400000001</c:v>
                </c:pt>
                <c:pt idx="6387">
                  <c:v>-0.157336328</c:v>
                </c:pt>
                <c:pt idx="6388">
                  <c:v>-0.15740960400000001</c:v>
                </c:pt>
                <c:pt idx="6389">
                  <c:v>-0.15755128299999999</c:v>
                </c:pt>
                <c:pt idx="6390">
                  <c:v>-0.158174959</c:v>
                </c:pt>
                <c:pt idx="6391">
                  <c:v>-0.15831009800000001</c:v>
                </c:pt>
                <c:pt idx="6392">
                  <c:v>-0.15837958099999999</c:v>
                </c:pt>
                <c:pt idx="6393">
                  <c:v>-0.159006493</c:v>
                </c:pt>
                <c:pt idx="6394">
                  <c:v>-0.15907976800000001</c:v>
                </c:pt>
                <c:pt idx="6395">
                  <c:v>-0.159148172</c:v>
                </c:pt>
                <c:pt idx="6396">
                  <c:v>-0.15914925099999999</c:v>
                </c:pt>
                <c:pt idx="6397">
                  <c:v>-0.159215463</c:v>
                </c:pt>
                <c:pt idx="6398">
                  <c:v>-0.159427704</c:v>
                </c:pt>
                <c:pt idx="6399">
                  <c:v>-0.15991130100000001</c:v>
                </c:pt>
                <c:pt idx="6400">
                  <c:v>-0.16039820299999999</c:v>
                </c:pt>
                <c:pt idx="6401">
                  <c:v>-0.160472001</c:v>
                </c:pt>
                <c:pt idx="6402">
                  <c:v>-0.16060769599999999</c:v>
                </c:pt>
                <c:pt idx="6403">
                  <c:v>-0.16061041000000001</c:v>
                </c:pt>
                <c:pt idx="6404">
                  <c:v>-0.16067609999999999</c:v>
                </c:pt>
                <c:pt idx="6405">
                  <c:v>-0.16074829700000001</c:v>
                </c:pt>
                <c:pt idx="6406">
                  <c:v>-0.16074993200000001</c:v>
                </c:pt>
                <c:pt idx="6407">
                  <c:v>-0.16123680000000001</c:v>
                </c:pt>
                <c:pt idx="6408">
                  <c:v>-0.161441421</c:v>
                </c:pt>
                <c:pt idx="6409">
                  <c:v>-0.161515253</c:v>
                </c:pt>
                <c:pt idx="6410">
                  <c:v>-0.16179370700000001</c:v>
                </c:pt>
                <c:pt idx="6411">
                  <c:v>-0.16186315500000001</c:v>
                </c:pt>
                <c:pt idx="6412">
                  <c:v>-0.162002121</c:v>
                </c:pt>
                <c:pt idx="6413">
                  <c:v>-0.16214160899999999</c:v>
                </c:pt>
                <c:pt idx="6414">
                  <c:v>-0.162697959</c:v>
                </c:pt>
                <c:pt idx="6415">
                  <c:v>-0.16276744200000001</c:v>
                </c:pt>
                <c:pt idx="6416">
                  <c:v>-0.16283365399999999</c:v>
                </c:pt>
                <c:pt idx="6417">
                  <c:v>-0.16290692900000001</c:v>
                </c:pt>
                <c:pt idx="6418">
                  <c:v>-0.16352952700000001</c:v>
                </c:pt>
                <c:pt idx="6419">
                  <c:v>-0.16360280199999999</c:v>
                </c:pt>
                <c:pt idx="6420">
                  <c:v>-0.163950704</c:v>
                </c:pt>
                <c:pt idx="6421">
                  <c:v>-0.16401695099999999</c:v>
                </c:pt>
                <c:pt idx="6422">
                  <c:v>-0.16408966999999999</c:v>
                </c:pt>
                <c:pt idx="6423">
                  <c:v>-0.164437049</c:v>
                </c:pt>
                <c:pt idx="6424">
                  <c:v>-0.16457330100000001</c:v>
                </c:pt>
                <c:pt idx="6425">
                  <c:v>-0.164643863</c:v>
                </c:pt>
                <c:pt idx="6426">
                  <c:v>-0.164712789</c:v>
                </c:pt>
                <c:pt idx="6427">
                  <c:v>-0.16478498599999999</c:v>
                </c:pt>
                <c:pt idx="6428">
                  <c:v>-0.16485443399999999</c:v>
                </c:pt>
                <c:pt idx="6429">
                  <c:v>-0.16492120299999999</c:v>
                </c:pt>
                <c:pt idx="6430">
                  <c:v>-0.16499124300000001</c:v>
                </c:pt>
                <c:pt idx="6431">
                  <c:v>-0.165203449</c:v>
                </c:pt>
                <c:pt idx="6432">
                  <c:v>-0.16534133600000001</c:v>
                </c:pt>
                <c:pt idx="6433">
                  <c:v>-0.16541081899999999</c:v>
                </c:pt>
                <c:pt idx="6434">
                  <c:v>-0.16547811000000001</c:v>
                </c:pt>
                <c:pt idx="6435">
                  <c:v>-0.16555465599999999</c:v>
                </c:pt>
                <c:pt idx="6436">
                  <c:v>-0.165619233</c:v>
                </c:pt>
                <c:pt idx="6437">
                  <c:v>-0.165687637</c:v>
                </c:pt>
                <c:pt idx="6438">
                  <c:v>-0.16569035100000001</c:v>
                </c:pt>
                <c:pt idx="6439">
                  <c:v>-0.16582820400000001</c:v>
                </c:pt>
                <c:pt idx="6440">
                  <c:v>-0.16582928199999999</c:v>
                </c:pt>
                <c:pt idx="6441">
                  <c:v>-0.165896608</c:v>
                </c:pt>
                <c:pt idx="6442">
                  <c:v>-0.16596497700000001</c:v>
                </c:pt>
                <c:pt idx="6443">
                  <c:v>-0.16603717400000001</c:v>
                </c:pt>
                <c:pt idx="6444">
                  <c:v>-0.16610665699999999</c:v>
                </c:pt>
                <c:pt idx="6445">
                  <c:v>-0.166176662</c:v>
                </c:pt>
                <c:pt idx="6446">
                  <c:v>-0.16617721899999999</c:v>
                </c:pt>
                <c:pt idx="6447">
                  <c:v>-0.16631399299999999</c:v>
                </c:pt>
                <c:pt idx="6448">
                  <c:v>-0.16645459400000001</c:v>
                </c:pt>
                <c:pt idx="6449">
                  <c:v>-0.166524598</c:v>
                </c:pt>
                <c:pt idx="6450">
                  <c:v>-0.166730298</c:v>
                </c:pt>
                <c:pt idx="6451">
                  <c:v>-0.166802495</c:v>
                </c:pt>
                <c:pt idx="6452">
                  <c:v>-0.16687089999999999</c:v>
                </c:pt>
                <c:pt idx="6453">
                  <c:v>-0.166939269</c:v>
                </c:pt>
                <c:pt idx="6454">
                  <c:v>-0.167011466</c:v>
                </c:pt>
                <c:pt idx="6455">
                  <c:v>-0.16715095399999999</c:v>
                </c:pt>
                <c:pt idx="6456">
                  <c:v>-0.16715151</c:v>
                </c:pt>
                <c:pt idx="6457">
                  <c:v>-0.167220436</c:v>
                </c:pt>
                <c:pt idx="6458">
                  <c:v>-0.16728720499999999</c:v>
                </c:pt>
                <c:pt idx="6459">
                  <c:v>-0.16735724499999999</c:v>
                </c:pt>
                <c:pt idx="6460">
                  <c:v>-0.167499447</c:v>
                </c:pt>
                <c:pt idx="6461">
                  <c:v>-0.16791683099999999</c:v>
                </c:pt>
                <c:pt idx="6462">
                  <c:v>-0.167983044</c:v>
                </c:pt>
                <c:pt idx="6463">
                  <c:v>-0.16805631900000001</c:v>
                </c:pt>
                <c:pt idx="6464">
                  <c:v>-0.168265846</c:v>
                </c:pt>
                <c:pt idx="6465">
                  <c:v>-0.16846994600000001</c:v>
                </c:pt>
                <c:pt idx="6466">
                  <c:v>-0.16861051199999999</c:v>
                </c:pt>
                <c:pt idx="6467">
                  <c:v>-0.168612704</c:v>
                </c:pt>
                <c:pt idx="6468">
                  <c:v>-0.16867891600000001</c:v>
                </c:pt>
                <c:pt idx="6469">
                  <c:v>-0.168752192</c:v>
                </c:pt>
                <c:pt idx="6470">
                  <c:v>-0.16881784699999999</c:v>
                </c:pt>
                <c:pt idx="6471">
                  <c:v>-0.168891123</c:v>
                </c:pt>
                <c:pt idx="6472">
                  <c:v>-0.16896060600000001</c:v>
                </c:pt>
                <c:pt idx="6473">
                  <c:v>-0.169026818</c:v>
                </c:pt>
                <c:pt idx="6474">
                  <c:v>-0.16910009300000001</c:v>
                </c:pt>
                <c:pt idx="6475">
                  <c:v>-0.16916957599999999</c:v>
                </c:pt>
                <c:pt idx="6476">
                  <c:v>-0.169865449</c:v>
                </c:pt>
                <c:pt idx="6477">
                  <c:v>-0.169931105</c:v>
                </c:pt>
                <c:pt idx="6478">
                  <c:v>-0.17000438000000001</c:v>
                </c:pt>
                <c:pt idx="6479">
                  <c:v>-0.17007442</c:v>
                </c:pt>
                <c:pt idx="6480">
                  <c:v>-0.170700775</c:v>
                </c:pt>
                <c:pt idx="6481">
                  <c:v>-0.17076646500000001</c:v>
                </c:pt>
                <c:pt idx="6482">
                  <c:v>-0.17111436699999999</c:v>
                </c:pt>
                <c:pt idx="6483">
                  <c:v>-0.17118656400000001</c:v>
                </c:pt>
                <c:pt idx="6484">
                  <c:v>-0.17125712500000001</c:v>
                </c:pt>
                <c:pt idx="6485">
                  <c:v>-0.17160398299999999</c:v>
                </c:pt>
                <c:pt idx="6486">
                  <c:v>-0.171672353</c:v>
                </c:pt>
                <c:pt idx="6487">
                  <c:v>-0.17167454500000001</c:v>
                </c:pt>
                <c:pt idx="6488">
                  <c:v>-0.17174075699999999</c:v>
                </c:pt>
                <c:pt idx="6489">
                  <c:v>-0.17181076200000001</c:v>
                </c:pt>
                <c:pt idx="6490">
                  <c:v>-0.17181403200000001</c:v>
                </c:pt>
                <c:pt idx="6491">
                  <c:v>-0.171951885</c:v>
                </c:pt>
                <c:pt idx="6492">
                  <c:v>-0.172022446</c:v>
                </c:pt>
                <c:pt idx="6493">
                  <c:v>-0.17243878700000001</c:v>
                </c:pt>
                <c:pt idx="6494">
                  <c:v>-0.17250715599999999</c:v>
                </c:pt>
                <c:pt idx="6495">
                  <c:v>-0.17250987000000001</c:v>
                </c:pt>
                <c:pt idx="6496">
                  <c:v>-0.17258043200000001</c:v>
                </c:pt>
                <c:pt idx="6497">
                  <c:v>-0.17258098899999999</c:v>
                </c:pt>
                <c:pt idx="6498">
                  <c:v>-0.17264612200000001</c:v>
                </c:pt>
                <c:pt idx="6499">
                  <c:v>-0.17271452700000001</c:v>
                </c:pt>
                <c:pt idx="6500">
                  <c:v>-0.17278668899999999</c:v>
                </c:pt>
                <c:pt idx="6501">
                  <c:v>-0.172857807</c:v>
                </c:pt>
                <c:pt idx="6502">
                  <c:v>-0.17292349700000001</c:v>
                </c:pt>
                <c:pt idx="6503">
                  <c:v>-0.17299677299999999</c:v>
                </c:pt>
                <c:pt idx="6504">
                  <c:v>-0.17306622099999999</c:v>
                </c:pt>
                <c:pt idx="6505">
                  <c:v>-0.173205743</c:v>
                </c:pt>
                <c:pt idx="6506">
                  <c:v>-0.173344674</c:v>
                </c:pt>
                <c:pt idx="6507">
                  <c:v>-0.17362476299999999</c:v>
                </c:pt>
                <c:pt idx="6508">
                  <c:v>-0.173901581</c:v>
                </c:pt>
                <c:pt idx="6509">
                  <c:v>-0.17417624200000001</c:v>
                </c:pt>
                <c:pt idx="6510">
                  <c:v>-0.174388449</c:v>
                </c:pt>
                <c:pt idx="6511">
                  <c:v>-0.17445793200000001</c:v>
                </c:pt>
                <c:pt idx="6512">
                  <c:v>-0.174945356</c:v>
                </c:pt>
                <c:pt idx="6513">
                  <c:v>-0.175011046</c:v>
                </c:pt>
                <c:pt idx="6514">
                  <c:v>-0.175080494</c:v>
                </c:pt>
                <c:pt idx="6515">
                  <c:v>-0.17515376999999999</c:v>
                </c:pt>
                <c:pt idx="6516">
                  <c:v>-0.17522380900000001</c:v>
                </c:pt>
                <c:pt idx="6517">
                  <c:v>-0.17528946500000001</c:v>
                </c:pt>
                <c:pt idx="6518">
                  <c:v>-0.17536273999999999</c:v>
                </c:pt>
                <c:pt idx="6519">
                  <c:v>-0.175432223</c:v>
                </c:pt>
                <c:pt idx="6520">
                  <c:v>-0.17549843500000001</c:v>
                </c:pt>
                <c:pt idx="6521">
                  <c:v>-0.17557171099999999</c:v>
                </c:pt>
                <c:pt idx="6522">
                  <c:v>-0.175637401</c:v>
                </c:pt>
                <c:pt idx="6523">
                  <c:v>-0.17571067700000001</c:v>
                </c:pt>
                <c:pt idx="6524">
                  <c:v>-0.175849642</c:v>
                </c:pt>
                <c:pt idx="6525">
                  <c:v>-0.17591964700000001</c:v>
                </c:pt>
                <c:pt idx="6526">
                  <c:v>-0.17598533799999999</c:v>
                </c:pt>
                <c:pt idx="6527">
                  <c:v>-0.176054821</c:v>
                </c:pt>
                <c:pt idx="6528">
                  <c:v>-0.17612809600000001</c:v>
                </c:pt>
                <c:pt idx="6529">
                  <c:v>-0.176198101</c:v>
                </c:pt>
                <c:pt idx="6530">
                  <c:v>-0.176267584</c:v>
                </c:pt>
                <c:pt idx="6531">
                  <c:v>-0.17633706699999999</c:v>
                </c:pt>
                <c:pt idx="6532">
                  <c:v>-0.17640272200000001</c:v>
                </c:pt>
                <c:pt idx="6533">
                  <c:v>-0.176475998</c:v>
                </c:pt>
                <c:pt idx="6534">
                  <c:v>-0.17654603699999999</c:v>
                </c:pt>
                <c:pt idx="6535">
                  <c:v>-0.17661169299999999</c:v>
                </c:pt>
                <c:pt idx="6536">
                  <c:v>-0.176684968</c:v>
                </c:pt>
                <c:pt idx="6537">
                  <c:v>-0.17675608600000001</c:v>
                </c:pt>
                <c:pt idx="6538">
                  <c:v>-0.17696178600000001</c:v>
                </c:pt>
                <c:pt idx="6539">
                  <c:v>-0.17786770900000001</c:v>
                </c:pt>
                <c:pt idx="6540">
                  <c:v>-0.17835405400000001</c:v>
                </c:pt>
                <c:pt idx="6541">
                  <c:v>-0.17877523100000001</c:v>
                </c:pt>
                <c:pt idx="6542">
                  <c:v>-0.179050971</c:v>
                </c:pt>
                <c:pt idx="6543">
                  <c:v>-0.179398907</c:v>
                </c:pt>
                <c:pt idx="6544">
                  <c:v>-0.17981629199999999</c:v>
                </c:pt>
                <c:pt idx="6545">
                  <c:v>-0.179882504</c:v>
                </c:pt>
                <c:pt idx="6546">
                  <c:v>-0.17995470099999999</c:v>
                </c:pt>
                <c:pt idx="6547">
                  <c:v>-0.180024184</c:v>
                </c:pt>
                <c:pt idx="6548">
                  <c:v>-0.180090953</c:v>
                </c:pt>
                <c:pt idx="6549">
                  <c:v>-0.18023642500000001</c:v>
                </c:pt>
                <c:pt idx="6550">
                  <c:v>-0.18030208</c:v>
                </c:pt>
                <c:pt idx="6551">
                  <c:v>-0.180303194</c:v>
                </c:pt>
                <c:pt idx="6552">
                  <c:v>-0.18043888899999999</c:v>
                </c:pt>
                <c:pt idx="6553">
                  <c:v>-0.180583248</c:v>
                </c:pt>
                <c:pt idx="6554">
                  <c:v>-0.180721135</c:v>
                </c:pt>
                <c:pt idx="6555">
                  <c:v>-0.18085627400000001</c:v>
                </c:pt>
                <c:pt idx="6556">
                  <c:v>-0.181343698</c:v>
                </c:pt>
                <c:pt idx="6557">
                  <c:v>-0.181625387</c:v>
                </c:pt>
                <c:pt idx="6558">
                  <c:v>-0.182042806</c:v>
                </c:pt>
                <c:pt idx="6559">
                  <c:v>-0.18210901900000001</c:v>
                </c:pt>
                <c:pt idx="6560">
                  <c:v>-0.18218229399999999</c:v>
                </c:pt>
                <c:pt idx="6561">
                  <c:v>-0.18322606899999999</c:v>
                </c:pt>
                <c:pt idx="6562">
                  <c:v>-0.183295551</c:v>
                </c:pt>
                <c:pt idx="6563">
                  <c:v>-0.18384863100000001</c:v>
                </c:pt>
                <c:pt idx="6564">
                  <c:v>-0.18399139</c:v>
                </c:pt>
                <c:pt idx="6565">
                  <c:v>-0.18461777900000001</c:v>
                </c:pt>
                <c:pt idx="6566">
                  <c:v>-0.18468726199999999</c:v>
                </c:pt>
                <c:pt idx="6567">
                  <c:v>-0.185592071</c:v>
                </c:pt>
                <c:pt idx="6568">
                  <c:v>-0.18580159800000001</c:v>
                </c:pt>
                <c:pt idx="6569">
                  <c:v>-0.186284117</c:v>
                </c:pt>
                <c:pt idx="6570">
                  <c:v>-0.186493087</c:v>
                </c:pt>
                <c:pt idx="6571">
                  <c:v>-0.18656636300000001</c:v>
                </c:pt>
                <c:pt idx="6572">
                  <c:v>-0.186705328</c:v>
                </c:pt>
                <c:pt idx="6573">
                  <c:v>-0.18684425900000001</c:v>
                </c:pt>
                <c:pt idx="6574">
                  <c:v>-0.18698378199999999</c:v>
                </c:pt>
                <c:pt idx="6575">
                  <c:v>-0.188023729</c:v>
                </c:pt>
                <c:pt idx="6576">
                  <c:v>-0.18809700500000001</c:v>
                </c:pt>
                <c:pt idx="6577">
                  <c:v>-0.18816432999999999</c:v>
                </c:pt>
                <c:pt idx="6578">
                  <c:v>-0.1882327</c:v>
                </c:pt>
                <c:pt idx="6579">
                  <c:v>-0.18837166599999999</c:v>
                </c:pt>
                <c:pt idx="6580">
                  <c:v>-0.18844386199999999</c:v>
                </c:pt>
                <c:pt idx="6581">
                  <c:v>-0.188444941</c:v>
                </c:pt>
                <c:pt idx="6582">
                  <c:v>-0.188513867</c:v>
                </c:pt>
                <c:pt idx="6583">
                  <c:v>-0.18907133100000001</c:v>
                </c:pt>
                <c:pt idx="6584">
                  <c:v>-0.19011510500000001</c:v>
                </c:pt>
                <c:pt idx="6585">
                  <c:v>-0.19018131799999999</c:v>
                </c:pt>
                <c:pt idx="6586">
                  <c:v>-0.19053141100000001</c:v>
                </c:pt>
                <c:pt idx="6587">
                  <c:v>-0.190599781</c:v>
                </c:pt>
                <c:pt idx="6588">
                  <c:v>-0.19066818499999999</c:v>
                </c:pt>
                <c:pt idx="6589">
                  <c:v>-0.19073819</c:v>
                </c:pt>
                <c:pt idx="6590">
                  <c:v>-0.19129781100000001</c:v>
                </c:pt>
                <c:pt idx="6591">
                  <c:v>-0.192481073</c:v>
                </c:pt>
                <c:pt idx="6592">
                  <c:v>-0.192829009</c:v>
                </c:pt>
                <c:pt idx="6593">
                  <c:v>-0.19324639399999999</c:v>
                </c:pt>
                <c:pt idx="6594">
                  <c:v>-0.193595409</c:v>
                </c:pt>
                <c:pt idx="6595">
                  <c:v>-0.19429016800000001</c:v>
                </c:pt>
                <c:pt idx="6596">
                  <c:v>-0.19484707600000001</c:v>
                </c:pt>
                <c:pt idx="6597">
                  <c:v>-0.19491655799999999</c:v>
                </c:pt>
                <c:pt idx="6598">
                  <c:v>-0.19512173699999999</c:v>
                </c:pt>
                <c:pt idx="6599">
                  <c:v>-0.195195012</c:v>
                </c:pt>
                <c:pt idx="6600">
                  <c:v>-0.19526122400000001</c:v>
                </c:pt>
                <c:pt idx="6601">
                  <c:v>-0.195331229</c:v>
                </c:pt>
                <c:pt idx="6602">
                  <c:v>-0.19533394300000001</c:v>
                </c:pt>
                <c:pt idx="6603">
                  <c:v>-0.19554454900000001</c:v>
                </c:pt>
                <c:pt idx="6604">
                  <c:v>-0.19561239599999999</c:v>
                </c:pt>
                <c:pt idx="6605">
                  <c:v>-0.195681879</c:v>
                </c:pt>
                <c:pt idx="6606">
                  <c:v>-0.19589085000000001</c:v>
                </c:pt>
                <c:pt idx="6607">
                  <c:v>-0.19630826900000001</c:v>
                </c:pt>
                <c:pt idx="6608">
                  <c:v>-0.19637771700000001</c:v>
                </c:pt>
                <c:pt idx="6609">
                  <c:v>-0.19651724000000001</c:v>
                </c:pt>
                <c:pt idx="6610">
                  <c:v>-0.19707358999999999</c:v>
                </c:pt>
                <c:pt idx="6611">
                  <c:v>-0.197139803</c:v>
                </c:pt>
                <c:pt idx="6612">
                  <c:v>-0.19721307799999999</c:v>
                </c:pt>
                <c:pt idx="6613">
                  <c:v>-0.197282561</c:v>
                </c:pt>
                <c:pt idx="6614">
                  <c:v>-0.197352044</c:v>
                </c:pt>
                <c:pt idx="6615">
                  <c:v>-0.19742097</c:v>
                </c:pt>
                <c:pt idx="6616">
                  <c:v>-0.197487739</c:v>
                </c:pt>
                <c:pt idx="6617">
                  <c:v>-0.19763209800000001</c:v>
                </c:pt>
                <c:pt idx="6618">
                  <c:v>-0.19804788200000001</c:v>
                </c:pt>
                <c:pt idx="6619">
                  <c:v>-0.198116286</c:v>
                </c:pt>
                <c:pt idx="6620">
                  <c:v>-0.19818465599999999</c:v>
                </c:pt>
                <c:pt idx="6621">
                  <c:v>-0.19825306000000001</c:v>
                </c:pt>
                <c:pt idx="6622">
                  <c:v>-0.198325257</c:v>
                </c:pt>
                <c:pt idx="6623">
                  <c:v>-0.19832633499999999</c:v>
                </c:pt>
                <c:pt idx="6624">
                  <c:v>-0.198464744</c:v>
                </c:pt>
                <c:pt idx="6625">
                  <c:v>-0.19860750299999999</c:v>
                </c:pt>
                <c:pt idx="6626">
                  <c:v>-0.199022173</c:v>
                </c:pt>
                <c:pt idx="6627">
                  <c:v>-0.199230622</c:v>
                </c:pt>
                <c:pt idx="6628">
                  <c:v>-0.19930062700000001</c:v>
                </c:pt>
                <c:pt idx="6629">
                  <c:v>-0.20013216</c:v>
                </c:pt>
                <c:pt idx="6630">
                  <c:v>-0.20054957900000001</c:v>
                </c:pt>
                <c:pt idx="6631">
                  <c:v>-0.20082803299999999</c:v>
                </c:pt>
                <c:pt idx="6632">
                  <c:v>-0.20090075199999999</c:v>
                </c:pt>
                <c:pt idx="6633">
                  <c:v>-0.201179205</c:v>
                </c:pt>
                <c:pt idx="6634">
                  <c:v>-0.20152714199999999</c:v>
                </c:pt>
                <c:pt idx="6635">
                  <c:v>-0.201438269</c:v>
                </c:pt>
                <c:pt idx="6636">
                  <c:v>-0.20180719599999999</c:v>
                </c:pt>
                <c:pt idx="6637">
                  <c:v>-0.20187232899999999</c:v>
                </c:pt>
                <c:pt idx="6638">
                  <c:v>-0.20194452600000001</c:v>
                </c:pt>
                <c:pt idx="6639">
                  <c:v>-0.20201456600000001</c:v>
                </c:pt>
                <c:pt idx="6640">
                  <c:v>-0.20382581799999999</c:v>
                </c:pt>
                <c:pt idx="6641">
                  <c:v>-0.20389474499999999</c:v>
                </c:pt>
                <c:pt idx="6642">
                  <c:v>-0.20395987800000001</c:v>
                </c:pt>
                <c:pt idx="6643">
                  <c:v>-0.20403207500000001</c:v>
                </c:pt>
                <c:pt idx="6644">
                  <c:v>-0.204178626</c:v>
                </c:pt>
                <c:pt idx="6645">
                  <c:v>-0.204311085</c:v>
                </c:pt>
                <c:pt idx="6646">
                  <c:v>-0.204380012</c:v>
                </c:pt>
                <c:pt idx="6647">
                  <c:v>-0.20486743600000001</c:v>
                </c:pt>
                <c:pt idx="6648">
                  <c:v>-0.20500636699999999</c:v>
                </c:pt>
                <c:pt idx="6649">
                  <c:v>-0.20507585</c:v>
                </c:pt>
                <c:pt idx="6650">
                  <c:v>-0.205215337</c:v>
                </c:pt>
                <c:pt idx="6651">
                  <c:v>-0.20577224399999999</c:v>
                </c:pt>
                <c:pt idx="6652">
                  <c:v>-0.20584064899999999</c:v>
                </c:pt>
                <c:pt idx="6653">
                  <c:v>-0.205841727</c:v>
                </c:pt>
                <c:pt idx="6654">
                  <c:v>-0.20591336700000001</c:v>
                </c:pt>
                <c:pt idx="6655">
                  <c:v>-0.205913924</c:v>
                </c:pt>
                <c:pt idx="6656">
                  <c:v>-0.20605014099999999</c:v>
                </c:pt>
                <c:pt idx="6657">
                  <c:v>-0.20618962900000001</c:v>
                </c:pt>
                <c:pt idx="6658">
                  <c:v>-0.20653756500000001</c:v>
                </c:pt>
                <c:pt idx="6659">
                  <c:v>-0.206609762</c:v>
                </c:pt>
                <c:pt idx="6660">
                  <c:v>-0.20743858100000001</c:v>
                </c:pt>
                <c:pt idx="6661">
                  <c:v>-0.20772194099999999</c:v>
                </c:pt>
                <c:pt idx="6662">
                  <c:v>-0.20799764600000001</c:v>
                </c:pt>
                <c:pt idx="6663">
                  <c:v>-0.208069843</c:v>
                </c:pt>
                <c:pt idx="6664">
                  <c:v>-0.20813768999999999</c:v>
                </c:pt>
                <c:pt idx="6665">
                  <c:v>-0.208207173</c:v>
                </c:pt>
                <c:pt idx="6666">
                  <c:v>-0.20827609899999999</c:v>
                </c:pt>
                <c:pt idx="6667">
                  <c:v>-0.20848562700000001</c:v>
                </c:pt>
                <c:pt idx="6668">
                  <c:v>-0.208625114</c:v>
                </c:pt>
                <c:pt idx="6669">
                  <c:v>-0.20869459700000001</c:v>
                </c:pt>
                <c:pt idx="6670">
                  <c:v>-0.208833563</c:v>
                </c:pt>
                <c:pt idx="6671">
                  <c:v>-0.20890356800000001</c:v>
                </c:pt>
                <c:pt idx="6672">
                  <c:v>-0.20918094300000001</c:v>
                </c:pt>
                <c:pt idx="6673">
                  <c:v>-0.209182543</c:v>
                </c:pt>
                <c:pt idx="6674">
                  <c:v>-0.20925039100000001</c:v>
                </c:pt>
                <c:pt idx="6675">
                  <c:v>-0.209320952</c:v>
                </c:pt>
                <c:pt idx="6676">
                  <c:v>-0.20939043500000001</c:v>
                </c:pt>
                <c:pt idx="6677">
                  <c:v>-0.20974108599999999</c:v>
                </c:pt>
                <c:pt idx="6678">
                  <c:v>-0.20980948999999999</c:v>
                </c:pt>
                <c:pt idx="6679">
                  <c:v>-0.21064318000000001</c:v>
                </c:pt>
                <c:pt idx="6680">
                  <c:v>-0.21071266299999999</c:v>
                </c:pt>
                <c:pt idx="6681">
                  <c:v>-0.21078485999999999</c:v>
                </c:pt>
                <c:pt idx="6682">
                  <c:v>-0.21085326400000001</c:v>
                </c:pt>
                <c:pt idx="6683">
                  <c:v>-0.21092111199999999</c:v>
                </c:pt>
                <c:pt idx="6684">
                  <c:v>-0.21106059999999999</c:v>
                </c:pt>
                <c:pt idx="6685">
                  <c:v>-0.21113116100000001</c:v>
                </c:pt>
                <c:pt idx="6686">
                  <c:v>-0.21119629500000001</c:v>
                </c:pt>
                <c:pt idx="6687">
                  <c:v>-0.21126956999999999</c:v>
                </c:pt>
                <c:pt idx="6688">
                  <c:v>-0.211339053</c:v>
                </c:pt>
                <c:pt idx="6689">
                  <c:v>-0.211408501</c:v>
                </c:pt>
                <c:pt idx="6690">
                  <c:v>-0.21147474799999999</c:v>
                </c:pt>
                <c:pt idx="6691">
                  <c:v>-0.211617472</c:v>
                </c:pt>
                <c:pt idx="6692">
                  <c:v>-0.21231334499999999</c:v>
                </c:pt>
                <c:pt idx="6693">
                  <c:v>-0.21314814900000001</c:v>
                </c:pt>
                <c:pt idx="6694">
                  <c:v>-0.21349497200000001</c:v>
                </c:pt>
                <c:pt idx="6695">
                  <c:v>-0.21467607699999999</c:v>
                </c:pt>
                <c:pt idx="6696">
                  <c:v>-0.21474879499999999</c:v>
                </c:pt>
                <c:pt idx="6697">
                  <c:v>-0.21481720000000001</c:v>
                </c:pt>
                <c:pt idx="6698">
                  <c:v>-0.214887204</c:v>
                </c:pt>
                <c:pt idx="6699">
                  <c:v>-0.21495668700000001</c:v>
                </c:pt>
                <c:pt idx="6700">
                  <c:v>-0.215026727</c:v>
                </c:pt>
                <c:pt idx="6701">
                  <c:v>-0.215095653</c:v>
                </c:pt>
                <c:pt idx="6702">
                  <c:v>-0.21516621499999999</c:v>
                </c:pt>
                <c:pt idx="6703">
                  <c:v>-0.21593153600000001</c:v>
                </c:pt>
                <c:pt idx="6704">
                  <c:v>-0.21607158000000001</c:v>
                </c:pt>
                <c:pt idx="6705">
                  <c:v>-0.21635111200000001</c:v>
                </c:pt>
                <c:pt idx="6706">
                  <c:v>-0.216351669</c:v>
                </c:pt>
                <c:pt idx="6707">
                  <c:v>-0.21642003800000001</c:v>
                </c:pt>
                <c:pt idx="6708">
                  <c:v>-0.216488443</c:v>
                </c:pt>
                <c:pt idx="6709">
                  <c:v>-0.21655792600000001</c:v>
                </c:pt>
                <c:pt idx="6710">
                  <c:v>-0.21662737400000001</c:v>
                </c:pt>
                <c:pt idx="6711">
                  <c:v>-0.216700649</c:v>
                </c:pt>
                <c:pt idx="6712">
                  <c:v>-0.216766339</c:v>
                </c:pt>
                <c:pt idx="6713">
                  <c:v>-0.21683634399999999</c:v>
                </c:pt>
                <c:pt idx="6714">
                  <c:v>-0.217114798</c:v>
                </c:pt>
                <c:pt idx="6715">
                  <c:v>-0.21760170000000001</c:v>
                </c:pt>
                <c:pt idx="6716">
                  <c:v>-0.21788011900000001</c:v>
                </c:pt>
                <c:pt idx="6717">
                  <c:v>-0.217950158</c:v>
                </c:pt>
                <c:pt idx="6718">
                  <c:v>-0.218158572</c:v>
                </c:pt>
                <c:pt idx="6719">
                  <c:v>-0.218228055</c:v>
                </c:pt>
                <c:pt idx="6720">
                  <c:v>-0.21843866100000001</c:v>
                </c:pt>
                <c:pt idx="6721">
                  <c:v>-0.218857159</c:v>
                </c:pt>
                <c:pt idx="6722">
                  <c:v>-0.21899337599999999</c:v>
                </c:pt>
                <c:pt idx="6723">
                  <c:v>-0.219062859</c:v>
                </c:pt>
                <c:pt idx="6724">
                  <c:v>-0.219480278</c:v>
                </c:pt>
                <c:pt idx="6725">
                  <c:v>-0.220146116</c:v>
                </c:pt>
                <c:pt idx="6726">
                  <c:v>-0.22038508700000001</c:v>
                </c:pt>
                <c:pt idx="6727">
                  <c:v>-0.220454013</c:v>
                </c:pt>
                <c:pt idx="6728">
                  <c:v>-0.22045456999999999</c:v>
                </c:pt>
                <c:pt idx="6729">
                  <c:v>-0.22052676700000001</c:v>
                </c:pt>
                <c:pt idx="6730">
                  <c:v>-0.220595136</c:v>
                </c:pt>
                <c:pt idx="6731">
                  <c:v>-0.22066353999999999</c:v>
                </c:pt>
                <c:pt idx="6732">
                  <c:v>-0.220733023</c:v>
                </c:pt>
                <c:pt idx="6733">
                  <c:v>-0.22087901800000001</c:v>
                </c:pt>
                <c:pt idx="6734">
                  <c:v>-0.22122312699999999</c:v>
                </c:pt>
                <c:pt idx="6735">
                  <c:v>-0.22149834400000001</c:v>
                </c:pt>
                <c:pt idx="6736">
                  <c:v>-0.22157054100000001</c:v>
                </c:pt>
                <c:pt idx="6737">
                  <c:v>-0.22163891099999999</c:v>
                </c:pt>
                <c:pt idx="6738">
                  <c:v>-0.22184735899999999</c:v>
                </c:pt>
                <c:pt idx="6739">
                  <c:v>-0.22212470000000001</c:v>
                </c:pt>
                <c:pt idx="6740">
                  <c:v>-0.22226637899999999</c:v>
                </c:pt>
                <c:pt idx="6741">
                  <c:v>-0.22233530500000001</c:v>
                </c:pt>
                <c:pt idx="6742">
                  <c:v>-0.22296329600000001</c:v>
                </c:pt>
                <c:pt idx="6743">
                  <c:v>-0.22303225700000001</c:v>
                </c:pt>
                <c:pt idx="6744">
                  <c:v>-0.223098991</c:v>
                </c:pt>
                <c:pt idx="6745">
                  <c:v>-0.22316955299999999</c:v>
                </c:pt>
                <c:pt idx="6746">
                  <c:v>-0.22323795699999999</c:v>
                </c:pt>
                <c:pt idx="6747">
                  <c:v>-0.223307962</c:v>
                </c:pt>
                <c:pt idx="6748">
                  <c:v>-0.22337744500000001</c:v>
                </c:pt>
                <c:pt idx="6749">
                  <c:v>-0.22344692699999999</c:v>
                </c:pt>
                <c:pt idx="6750">
                  <c:v>-0.22358589300000001</c:v>
                </c:pt>
                <c:pt idx="6751">
                  <c:v>-0.224629668</c:v>
                </c:pt>
                <c:pt idx="6752">
                  <c:v>-0.225054115</c:v>
                </c:pt>
                <c:pt idx="6753">
                  <c:v>-0.22525710199999999</c:v>
                </c:pt>
                <c:pt idx="6754">
                  <c:v>-0.225397703</c:v>
                </c:pt>
                <c:pt idx="6755">
                  <c:v>-0.22560395899999999</c:v>
                </c:pt>
                <c:pt idx="6756">
                  <c:v>-0.22567288599999999</c:v>
                </c:pt>
                <c:pt idx="6757">
                  <c:v>-0.22574560399999999</c:v>
                </c:pt>
                <c:pt idx="6758">
                  <c:v>-0.226021901</c:v>
                </c:pt>
                <c:pt idx="6759">
                  <c:v>-0.22609030499999999</c:v>
                </c:pt>
                <c:pt idx="6760">
                  <c:v>-0.22636872399999999</c:v>
                </c:pt>
                <c:pt idx="6761">
                  <c:v>-0.226438207</c:v>
                </c:pt>
                <c:pt idx="6762">
                  <c:v>-0.22664825599999999</c:v>
                </c:pt>
                <c:pt idx="6763">
                  <c:v>-0.22671665999999999</c:v>
                </c:pt>
                <c:pt idx="6764">
                  <c:v>-0.22692347299999999</c:v>
                </c:pt>
                <c:pt idx="6765">
                  <c:v>-0.22706567499999999</c:v>
                </c:pt>
                <c:pt idx="6766">
                  <c:v>-0.22706623200000001</c:v>
                </c:pt>
                <c:pt idx="6767">
                  <c:v>-0.22713407899999999</c:v>
                </c:pt>
                <c:pt idx="6768">
                  <c:v>-0.22727301</c:v>
                </c:pt>
                <c:pt idx="6769">
                  <c:v>-0.22727408900000001</c:v>
                </c:pt>
                <c:pt idx="6770">
                  <c:v>-0.227552542</c:v>
                </c:pt>
                <c:pt idx="6771">
                  <c:v>-0.22831786300000001</c:v>
                </c:pt>
                <c:pt idx="6772">
                  <c:v>-0.22838842500000001</c:v>
                </c:pt>
                <c:pt idx="6773">
                  <c:v>-0.22873528300000001</c:v>
                </c:pt>
                <c:pt idx="6774">
                  <c:v>-0.228805288</c:v>
                </c:pt>
                <c:pt idx="6775">
                  <c:v>-0.22887369199999999</c:v>
                </c:pt>
                <c:pt idx="6776">
                  <c:v>-0.22887477000000001</c:v>
                </c:pt>
                <c:pt idx="6777">
                  <c:v>-0.229013736</c:v>
                </c:pt>
                <c:pt idx="6778">
                  <c:v>-0.22908429799999999</c:v>
                </c:pt>
                <c:pt idx="6779">
                  <c:v>-0.22915322399999999</c:v>
                </c:pt>
                <c:pt idx="6780">
                  <c:v>-0.229432199</c:v>
                </c:pt>
                <c:pt idx="6781">
                  <c:v>-0.23012695899999999</c:v>
                </c:pt>
                <c:pt idx="6782">
                  <c:v>-0.23082283200000001</c:v>
                </c:pt>
                <c:pt idx="6783">
                  <c:v>-0.23089283699999999</c:v>
                </c:pt>
                <c:pt idx="6784">
                  <c:v>-0.23096124100000001</c:v>
                </c:pt>
                <c:pt idx="6785">
                  <c:v>-0.23103343800000001</c:v>
                </c:pt>
                <c:pt idx="6786">
                  <c:v>-0.23110128499999999</c:v>
                </c:pt>
                <c:pt idx="6787">
                  <c:v>-0.23117073299999999</c:v>
                </c:pt>
                <c:pt idx="6788">
                  <c:v>-0.23124077300000001</c:v>
                </c:pt>
                <c:pt idx="6789">
                  <c:v>-0.23131025599999999</c:v>
                </c:pt>
                <c:pt idx="6790">
                  <c:v>-0.23193661099999999</c:v>
                </c:pt>
                <c:pt idx="6791">
                  <c:v>-0.232006094</c:v>
                </c:pt>
                <c:pt idx="6792">
                  <c:v>-0.23207557700000001</c:v>
                </c:pt>
                <c:pt idx="6793">
                  <c:v>-0.23242079900000001</c:v>
                </c:pt>
                <c:pt idx="6794">
                  <c:v>-0.232632484</c:v>
                </c:pt>
                <c:pt idx="6795">
                  <c:v>-0.23270085300000001</c:v>
                </c:pt>
                <c:pt idx="6796">
                  <c:v>-0.233467288</c:v>
                </c:pt>
                <c:pt idx="6797">
                  <c:v>-0.233745706</c:v>
                </c:pt>
                <c:pt idx="6798">
                  <c:v>-0.233954155</c:v>
                </c:pt>
                <c:pt idx="6799">
                  <c:v>-0.23430205700000001</c:v>
                </c:pt>
                <c:pt idx="6800">
                  <c:v>-0.234372096</c:v>
                </c:pt>
                <c:pt idx="6801">
                  <c:v>-0.23499900800000001</c:v>
                </c:pt>
                <c:pt idx="6802">
                  <c:v>-0.23534583100000001</c:v>
                </c:pt>
                <c:pt idx="6803">
                  <c:v>-0.23625175300000001</c:v>
                </c:pt>
                <c:pt idx="6804">
                  <c:v>-0.23715440500000001</c:v>
                </c:pt>
                <c:pt idx="6805">
                  <c:v>-0.23722712300000001</c:v>
                </c:pt>
                <c:pt idx="6806">
                  <c:v>-0.23729608399999999</c:v>
                </c:pt>
                <c:pt idx="6807">
                  <c:v>-0.23736121800000001</c:v>
                </c:pt>
                <c:pt idx="6808">
                  <c:v>-0.23743338</c:v>
                </c:pt>
                <c:pt idx="6809">
                  <c:v>-0.23750234100000001</c:v>
                </c:pt>
                <c:pt idx="6810">
                  <c:v>-0.23764506499999999</c:v>
                </c:pt>
                <c:pt idx="6811">
                  <c:v>-0.23771131200000001</c:v>
                </c:pt>
                <c:pt idx="6812">
                  <c:v>-0.23799136600000001</c:v>
                </c:pt>
                <c:pt idx="6813">
                  <c:v>-0.23805977</c:v>
                </c:pt>
                <c:pt idx="6814">
                  <c:v>-0.23840878500000001</c:v>
                </c:pt>
                <c:pt idx="6815">
                  <c:v>-0.238546116</c:v>
                </c:pt>
                <c:pt idx="6816">
                  <c:v>-0.23861396300000001</c:v>
                </c:pt>
                <c:pt idx="6817">
                  <c:v>-0.238687239</c:v>
                </c:pt>
                <c:pt idx="6818">
                  <c:v>-0.238825648</c:v>
                </c:pt>
                <c:pt idx="6819">
                  <c:v>-0.23889401699999999</c:v>
                </c:pt>
                <c:pt idx="6820">
                  <c:v>-0.239034618</c:v>
                </c:pt>
                <c:pt idx="6821">
                  <c:v>-0.23917354900000001</c:v>
                </c:pt>
                <c:pt idx="6822">
                  <c:v>-0.23959096899999999</c:v>
                </c:pt>
                <c:pt idx="6823">
                  <c:v>-0.239799383</c:v>
                </c:pt>
                <c:pt idx="6824">
                  <c:v>-0.239869422</c:v>
                </c:pt>
                <c:pt idx="6825">
                  <c:v>-0.23993890500000001</c:v>
                </c:pt>
                <c:pt idx="6826">
                  <c:v>-0.24001054499999999</c:v>
                </c:pt>
                <c:pt idx="6827">
                  <c:v>-0.24007947099999999</c:v>
                </c:pt>
                <c:pt idx="6828">
                  <c:v>-0.240147319</c:v>
                </c:pt>
                <c:pt idx="6829">
                  <c:v>-0.24021732400000001</c:v>
                </c:pt>
                <c:pt idx="6830">
                  <c:v>-0.240285728</c:v>
                </c:pt>
                <c:pt idx="6831">
                  <c:v>-0.24042740800000001</c:v>
                </c:pt>
                <c:pt idx="6832">
                  <c:v>-0.24049577699999999</c:v>
                </c:pt>
                <c:pt idx="6833">
                  <c:v>-0.24056526</c:v>
                </c:pt>
                <c:pt idx="6834">
                  <c:v>-0.24071236800000001</c:v>
                </c:pt>
                <c:pt idx="6835">
                  <c:v>-0.24077367399999999</c:v>
                </c:pt>
                <c:pt idx="6836">
                  <c:v>-0.240982645</c:v>
                </c:pt>
                <c:pt idx="6837">
                  <c:v>-0.24119165000000001</c:v>
                </c:pt>
                <c:pt idx="6838">
                  <c:v>-0.24153955199999999</c:v>
                </c:pt>
                <c:pt idx="6839">
                  <c:v>-0.241609035</c:v>
                </c:pt>
                <c:pt idx="6840">
                  <c:v>-0.24167851800000001</c:v>
                </c:pt>
                <c:pt idx="6841">
                  <c:v>-0.24175502900000001</c:v>
                </c:pt>
                <c:pt idx="6842">
                  <c:v>-0.24195697099999999</c:v>
                </c:pt>
                <c:pt idx="6843">
                  <c:v>-0.24216702000000001</c:v>
                </c:pt>
                <c:pt idx="6844">
                  <c:v>-0.242373277</c:v>
                </c:pt>
                <c:pt idx="6845">
                  <c:v>-0.24237435600000001</c:v>
                </c:pt>
                <c:pt idx="6846">
                  <c:v>-0.242514957</c:v>
                </c:pt>
                <c:pt idx="6847">
                  <c:v>-0.24258332599999999</c:v>
                </c:pt>
                <c:pt idx="6848">
                  <c:v>-0.24293126300000001</c:v>
                </c:pt>
                <c:pt idx="6849">
                  <c:v>-0.243210238</c:v>
                </c:pt>
                <c:pt idx="6850">
                  <c:v>-0.244043963</c:v>
                </c:pt>
                <c:pt idx="6851">
                  <c:v>-0.24411396799999999</c:v>
                </c:pt>
                <c:pt idx="6852">
                  <c:v>-0.24418564300000001</c:v>
                </c:pt>
                <c:pt idx="6853">
                  <c:v>-0.244254569</c:v>
                </c:pt>
                <c:pt idx="6854">
                  <c:v>-0.244602506</c:v>
                </c:pt>
                <c:pt idx="6855">
                  <c:v>-0.24488311600000001</c:v>
                </c:pt>
                <c:pt idx="6856">
                  <c:v>-0.24495204300000001</c:v>
                </c:pt>
                <c:pt idx="6857">
                  <c:v>-0.24529726499999999</c:v>
                </c:pt>
                <c:pt idx="6858">
                  <c:v>-0.24536619100000001</c:v>
                </c:pt>
                <c:pt idx="6859">
                  <c:v>-0.24550460099999999</c:v>
                </c:pt>
                <c:pt idx="6860">
                  <c:v>-0.24571193599999999</c:v>
                </c:pt>
                <c:pt idx="6861">
                  <c:v>-0.24578413299999999</c:v>
                </c:pt>
                <c:pt idx="6862">
                  <c:v>-0.245853616</c:v>
                </c:pt>
                <c:pt idx="6863">
                  <c:v>-0.24606150800000001</c:v>
                </c:pt>
                <c:pt idx="6864">
                  <c:v>-0.24613206900000001</c:v>
                </c:pt>
                <c:pt idx="6865">
                  <c:v>-0.24620151700000001</c:v>
                </c:pt>
                <c:pt idx="6866">
                  <c:v>-0.24655053199999999</c:v>
                </c:pt>
                <c:pt idx="6867">
                  <c:v>-0.247246405</c:v>
                </c:pt>
                <c:pt idx="6868">
                  <c:v>-0.24794116499999999</c:v>
                </c:pt>
                <c:pt idx="6869">
                  <c:v>-0.248080096</c:v>
                </c:pt>
                <c:pt idx="6870">
                  <c:v>-0.248150657</c:v>
                </c:pt>
                <c:pt idx="6871">
                  <c:v>-0.248219618</c:v>
                </c:pt>
                <c:pt idx="6872">
                  <c:v>-0.24870704199999999</c:v>
                </c:pt>
                <c:pt idx="6873">
                  <c:v>-0.24898493899999999</c:v>
                </c:pt>
                <c:pt idx="6874">
                  <c:v>-0.24912442700000001</c:v>
                </c:pt>
                <c:pt idx="6875">
                  <c:v>-0.25002871300000001</c:v>
                </c:pt>
                <c:pt idx="6876">
                  <c:v>-0.25058558600000003</c:v>
                </c:pt>
                <c:pt idx="6877">
                  <c:v>-0.25065235499999999</c:v>
                </c:pt>
                <c:pt idx="6878">
                  <c:v>-0.25072510799999997</c:v>
                </c:pt>
                <c:pt idx="6879">
                  <c:v>-0.25079347800000001</c:v>
                </c:pt>
                <c:pt idx="6880">
                  <c:v>-0.25086403899999998</c:v>
                </c:pt>
                <c:pt idx="6881">
                  <c:v>-0.25093352200000002</c:v>
                </c:pt>
                <c:pt idx="6882">
                  <c:v>-0.25100408400000002</c:v>
                </c:pt>
                <c:pt idx="6883">
                  <c:v>-0.251211976</c:v>
                </c:pt>
                <c:pt idx="6884">
                  <c:v>-0.25218953799999999</c:v>
                </c:pt>
                <c:pt idx="6885">
                  <c:v>-0.25225846400000002</c:v>
                </c:pt>
                <c:pt idx="6886">
                  <c:v>-0.25253636099999999</c:v>
                </c:pt>
                <c:pt idx="6887">
                  <c:v>-0.25267313499999999</c:v>
                </c:pt>
                <c:pt idx="6888">
                  <c:v>-0.25336900699999998</c:v>
                </c:pt>
                <c:pt idx="6889">
                  <c:v>-0.25350741700000001</c:v>
                </c:pt>
                <c:pt idx="6890">
                  <c:v>-0.25364853999999998</c:v>
                </c:pt>
                <c:pt idx="6891">
                  <c:v>-0.25378639200000003</c:v>
                </c:pt>
                <c:pt idx="6892">
                  <c:v>-0.25385587500000001</c:v>
                </c:pt>
                <c:pt idx="6893">
                  <c:v>-0.254062132</c:v>
                </c:pt>
                <c:pt idx="6894">
                  <c:v>-0.25427110200000003</c:v>
                </c:pt>
                <c:pt idx="6895">
                  <c:v>-0.25434114200000002</c:v>
                </c:pt>
                <c:pt idx="6896">
                  <c:v>-0.25441006799999999</c:v>
                </c:pt>
                <c:pt idx="6897">
                  <c:v>-0.254412782</c:v>
                </c:pt>
                <c:pt idx="6898">
                  <c:v>-0.25455119100000001</c:v>
                </c:pt>
                <c:pt idx="6899">
                  <c:v>-0.25462391000000001</c:v>
                </c:pt>
                <c:pt idx="6900">
                  <c:v>-0.25469231399999998</c:v>
                </c:pt>
                <c:pt idx="6901">
                  <c:v>-0.25475797</c:v>
                </c:pt>
                <c:pt idx="6902">
                  <c:v>-0.25489909300000002</c:v>
                </c:pt>
                <c:pt idx="6903">
                  <c:v>-0.25489964900000001</c:v>
                </c:pt>
                <c:pt idx="6904">
                  <c:v>-0.254971846</c:v>
                </c:pt>
                <c:pt idx="6905">
                  <c:v>-0.25504077200000003</c:v>
                </c:pt>
                <c:pt idx="6906">
                  <c:v>-0.25510862000000001</c:v>
                </c:pt>
                <c:pt idx="6907">
                  <c:v>-0.25517810299999999</c:v>
                </c:pt>
                <c:pt idx="6908">
                  <c:v>-0.25532521000000002</c:v>
                </c:pt>
                <c:pt idx="6909">
                  <c:v>-0.25538978699999998</c:v>
                </c:pt>
                <c:pt idx="6910">
                  <c:v>-0.255456556</c:v>
                </c:pt>
                <c:pt idx="6911">
                  <c:v>-0.25559548700000001</c:v>
                </c:pt>
                <c:pt idx="6912">
                  <c:v>-0.25594398099999999</c:v>
                </c:pt>
                <c:pt idx="6913">
                  <c:v>-0.256367872</c:v>
                </c:pt>
                <c:pt idx="6914">
                  <c:v>-0.25650033100000003</c:v>
                </c:pt>
                <c:pt idx="6915">
                  <c:v>-0.256780385</c:v>
                </c:pt>
                <c:pt idx="6916">
                  <c:v>-0.25684934599999998</c:v>
                </c:pt>
                <c:pt idx="6917">
                  <c:v>-0.25705939500000002</c:v>
                </c:pt>
                <c:pt idx="6918">
                  <c:v>-0.25768251399999997</c:v>
                </c:pt>
                <c:pt idx="6919">
                  <c:v>-0.25775199700000001</c:v>
                </c:pt>
                <c:pt idx="6920">
                  <c:v>-0.25782255900000001</c:v>
                </c:pt>
                <c:pt idx="6921">
                  <c:v>-0.25789200699999998</c:v>
                </c:pt>
                <c:pt idx="6922">
                  <c:v>-0.25879956399999998</c:v>
                </c:pt>
                <c:pt idx="6923">
                  <c:v>-0.25928427500000001</c:v>
                </c:pt>
                <c:pt idx="6924">
                  <c:v>-0.25928479700000001</c:v>
                </c:pt>
                <c:pt idx="6925">
                  <c:v>-0.25935264400000002</c:v>
                </c:pt>
                <c:pt idx="6926">
                  <c:v>-0.25942320600000002</c:v>
                </c:pt>
                <c:pt idx="6927">
                  <c:v>-0.25949160999999998</c:v>
                </c:pt>
                <c:pt idx="6928">
                  <c:v>-0.25970113700000003</c:v>
                </c:pt>
                <c:pt idx="6929">
                  <c:v>-0.25991118600000002</c:v>
                </c:pt>
                <c:pt idx="6930">
                  <c:v>-0.259979556</c:v>
                </c:pt>
                <c:pt idx="6931">
                  <c:v>-0.26005011700000003</c:v>
                </c:pt>
                <c:pt idx="6932">
                  <c:v>-0.260119078</c:v>
                </c:pt>
                <c:pt idx="6933">
                  <c:v>-0.26019123999999999</c:v>
                </c:pt>
                <c:pt idx="6934">
                  <c:v>-0.26025964499999998</c:v>
                </c:pt>
                <c:pt idx="6935">
                  <c:v>-0.26032857100000001</c:v>
                </c:pt>
                <c:pt idx="6936">
                  <c:v>-0.26039697499999997</c:v>
                </c:pt>
                <c:pt idx="6937">
                  <c:v>-0.260536463</c:v>
                </c:pt>
                <c:pt idx="6938">
                  <c:v>-0.26060594599999998</c:v>
                </c:pt>
                <c:pt idx="6939">
                  <c:v>-0.26067542900000001</c:v>
                </c:pt>
                <c:pt idx="6940">
                  <c:v>-0.26074598999999998</c:v>
                </c:pt>
                <c:pt idx="6941">
                  <c:v>-0.26081547300000002</c:v>
                </c:pt>
                <c:pt idx="6942">
                  <c:v>-0.26095548299999999</c:v>
                </c:pt>
                <c:pt idx="6943">
                  <c:v>-0.26102444400000002</c:v>
                </c:pt>
                <c:pt idx="6944">
                  <c:v>-0.26109281299999998</c:v>
                </c:pt>
                <c:pt idx="6945">
                  <c:v>-0.26137234500000001</c:v>
                </c:pt>
                <c:pt idx="6946">
                  <c:v>-0.26144075</c:v>
                </c:pt>
                <c:pt idx="6947">
                  <c:v>-0.26157752400000001</c:v>
                </c:pt>
                <c:pt idx="6948">
                  <c:v>-0.26185869099999998</c:v>
                </c:pt>
                <c:pt idx="6949">
                  <c:v>-0.26269457299999999</c:v>
                </c:pt>
                <c:pt idx="6950">
                  <c:v>-0.262833539</c:v>
                </c:pt>
                <c:pt idx="6951">
                  <c:v>-0.263040318</c:v>
                </c:pt>
                <c:pt idx="6952">
                  <c:v>-0.26310872200000002</c:v>
                </c:pt>
                <c:pt idx="6953">
                  <c:v>-0.26311087900000002</c:v>
                </c:pt>
                <c:pt idx="6954">
                  <c:v>-0.26318091900000001</c:v>
                </c:pt>
                <c:pt idx="6955">
                  <c:v>-0.26318144100000002</c:v>
                </c:pt>
                <c:pt idx="6956">
                  <c:v>-0.26325040199999999</c:v>
                </c:pt>
                <c:pt idx="6957">
                  <c:v>-0.263389333</c:v>
                </c:pt>
                <c:pt idx="6958">
                  <c:v>-0.26457207300000002</c:v>
                </c:pt>
                <c:pt idx="6959">
                  <c:v>-0.264712118</c:v>
                </c:pt>
                <c:pt idx="6960">
                  <c:v>-0.26491945300000003</c:v>
                </c:pt>
                <c:pt idx="6961">
                  <c:v>-0.26513058099999998</c:v>
                </c:pt>
                <c:pt idx="6962">
                  <c:v>-0.26519954200000001</c:v>
                </c:pt>
                <c:pt idx="6963">
                  <c:v>-0.26554744299999999</c:v>
                </c:pt>
                <c:pt idx="6964">
                  <c:v>-0.26576239800000001</c:v>
                </c:pt>
                <c:pt idx="6965">
                  <c:v>-0.26582481800000002</c:v>
                </c:pt>
                <c:pt idx="6966">
                  <c:v>-0.26652229199999999</c:v>
                </c:pt>
                <c:pt idx="6967">
                  <c:v>-0.26672962700000002</c:v>
                </c:pt>
                <c:pt idx="6968">
                  <c:v>-0.26693915400000001</c:v>
                </c:pt>
                <c:pt idx="6969">
                  <c:v>-0.26707756300000002</c:v>
                </c:pt>
                <c:pt idx="6970">
                  <c:v>-0.26721652899999998</c:v>
                </c:pt>
                <c:pt idx="6971">
                  <c:v>-0.26728437700000002</c:v>
                </c:pt>
                <c:pt idx="6972">
                  <c:v>-0.26728597700000001</c:v>
                </c:pt>
                <c:pt idx="6973">
                  <c:v>-0.26749494800000001</c:v>
                </c:pt>
                <c:pt idx="6974">
                  <c:v>-0.26763447000000001</c:v>
                </c:pt>
                <c:pt idx="6975">
                  <c:v>-0.267913446</c:v>
                </c:pt>
                <c:pt idx="6976">
                  <c:v>-0.26839759899999999</c:v>
                </c:pt>
                <c:pt idx="6977">
                  <c:v>-0.268399791</c:v>
                </c:pt>
                <c:pt idx="6978">
                  <c:v>-0.26847035299999999</c:v>
                </c:pt>
                <c:pt idx="6979">
                  <c:v>-0.26867553100000002</c:v>
                </c:pt>
                <c:pt idx="6980">
                  <c:v>-0.26874769300000001</c:v>
                </c:pt>
                <c:pt idx="6981">
                  <c:v>-0.26895395</c:v>
                </c:pt>
                <c:pt idx="6982">
                  <c:v>-0.26895614200000001</c:v>
                </c:pt>
                <c:pt idx="6983">
                  <c:v>-0.26902614600000002</c:v>
                </c:pt>
                <c:pt idx="6984">
                  <c:v>-0.26902670299999998</c:v>
                </c:pt>
                <c:pt idx="6985">
                  <c:v>-0.26909455100000002</c:v>
                </c:pt>
                <c:pt idx="6986">
                  <c:v>-0.269095629</c:v>
                </c:pt>
                <c:pt idx="6987">
                  <c:v>-0.26972146299999999</c:v>
                </c:pt>
                <c:pt idx="6988">
                  <c:v>-0.26979146700000001</c:v>
                </c:pt>
                <c:pt idx="6989">
                  <c:v>-0.27083579899999999</c:v>
                </c:pt>
                <c:pt idx="6990">
                  <c:v>-0.27118317800000002</c:v>
                </c:pt>
                <c:pt idx="6991">
                  <c:v>-0.27173952899999998</c:v>
                </c:pt>
                <c:pt idx="6992">
                  <c:v>-0.27201498200000002</c:v>
                </c:pt>
                <c:pt idx="6993">
                  <c:v>-0.27215747000000001</c:v>
                </c:pt>
                <c:pt idx="6994">
                  <c:v>-0.27222695299999999</c:v>
                </c:pt>
                <c:pt idx="6995">
                  <c:v>-0.27229643599999998</c:v>
                </c:pt>
                <c:pt idx="6996">
                  <c:v>-0.27250540600000001</c:v>
                </c:pt>
                <c:pt idx="6997">
                  <c:v>-0.2727138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62CA-43D1-9B5E-DB9227CD45FB}"/>
            </c:ext>
          </c:extLst>
        </c:ser>
        <c:ser>
          <c:idx val="9"/>
          <c:order val="9"/>
          <c:tx>
            <c:strRef>
              <c:f>'Q6&amp;Q7'!$J$3</c:f>
              <c:strCache>
                <c:ptCount val="1"/>
                <c:pt idx="0">
                  <c:v>RegEquation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Q6&amp;Q7'!$J$4:$J$7001</c:f>
              <c:numCache>
                <c:formatCode>#,##0.00</c:formatCode>
                <c:ptCount val="6998"/>
                <c:pt idx="0">
                  <c:v>2.2252803969965516E-2</c:v>
                </c:pt>
                <c:pt idx="1">
                  <c:v>2.2825725889097245E-2</c:v>
                </c:pt>
                <c:pt idx="2">
                  <c:v>-0.2477700275488702</c:v>
                </c:pt>
                <c:pt idx="3">
                  <c:v>-0.24001038874386252</c:v>
                </c:pt>
                <c:pt idx="4">
                  <c:v>-0.25213293651000457</c:v>
                </c:pt>
                <c:pt idx="5">
                  <c:v>-0.25294372540708071</c:v>
                </c:pt>
                <c:pt idx="6">
                  <c:v>-0.25300606584959195</c:v>
                </c:pt>
                <c:pt idx="7">
                  <c:v>-0.25582972082919775</c:v>
                </c:pt>
                <c:pt idx="8">
                  <c:v>-0.25308517246190398</c:v>
                </c:pt>
                <c:pt idx="9">
                  <c:v>-0.25536948121634162</c:v>
                </c:pt>
                <c:pt idx="10">
                  <c:v>-0.25607147449738166</c:v>
                </c:pt>
                <c:pt idx="11">
                  <c:v>-0.24988219790615832</c:v>
                </c:pt>
                <c:pt idx="12">
                  <c:v>-0.27520434697818219</c:v>
                </c:pt>
                <c:pt idx="13">
                  <c:v>-0.24669580573750491</c:v>
                </c:pt>
                <c:pt idx="14">
                  <c:v>-0.25381909810755543</c:v>
                </c:pt>
                <c:pt idx="15">
                  <c:v>-0.26099732620820226</c:v>
                </c:pt>
                <c:pt idx="16">
                  <c:v>-0.26617992307423288</c:v>
                </c:pt>
                <c:pt idx="17">
                  <c:v>-0.26603648167653948</c:v>
                </c:pt>
                <c:pt idx="18">
                  <c:v>-0.26691191023432825</c:v>
                </c:pt>
                <c:pt idx="19">
                  <c:v>-0.23800517180472716</c:v>
                </c:pt>
                <c:pt idx="20">
                  <c:v>-0.27968555926229266</c:v>
                </c:pt>
                <c:pt idx="21">
                  <c:v>-0.25993879951393795</c:v>
                </c:pt>
                <c:pt idx="22">
                  <c:v>-0.25891586271915668</c:v>
                </c:pt>
                <c:pt idx="23">
                  <c:v>-0.28228222427436989</c:v>
                </c:pt>
                <c:pt idx="24">
                  <c:v>-0.27386684107551384</c:v>
                </c:pt>
                <c:pt idx="25">
                  <c:v>-0.27118253019473382</c:v>
                </c:pt>
                <c:pt idx="26">
                  <c:v>-0.24801119403533842</c:v>
                </c:pt>
                <c:pt idx="27">
                  <c:v>-0.25862342259761728</c:v>
                </c:pt>
                <c:pt idx="28">
                  <c:v>-0.25701624336630979</c:v>
                </c:pt>
                <c:pt idx="29">
                  <c:v>-0.26218284012668758</c:v>
                </c:pt>
                <c:pt idx="30">
                  <c:v>-0.27897646704712631</c:v>
                </c:pt>
                <c:pt idx="31">
                  <c:v>-0.28242904025257576</c:v>
                </c:pt>
                <c:pt idx="32">
                  <c:v>-0.2791287666408151</c:v>
                </c:pt>
                <c:pt idx="33">
                  <c:v>-0.28027167770363315</c:v>
                </c:pt>
                <c:pt idx="34">
                  <c:v>-0.23654163508299952</c:v>
                </c:pt>
                <c:pt idx="35">
                  <c:v>-0.24667644479400946</c:v>
                </c:pt>
                <c:pt idx="36">
                  <c:v>-0.25764772688853577</c:v>
                </c:pt>
                <c:pt idx="37">
                  <c:v>-0.25865033209882826</c:v>
                </c:pt>
                <c:pt idx="38">
                  <c:v>-0.26208955013210677</c:v>
                </c:pt>
                <c:pt idx="39">
                  <c:v>-0.26339474259603435</c:v>
                </c:pt>
                <c:pt idx="40">
                  <c:v>-0.25224662222353067</c:v>
                </c:pt>
                <c:pt idx="41">
                  <c:v>-0.28534459677726265</c:v>
                </c:pt>
                <c:pt idx="42">
                  <c:v>-0.25212729050396382</c:v>
                </c:pt>
                <c:pt idx="43">
                  <c:v>-0.25031248799002914</c:v>
                </c:pt>
                <c:pt idx="44">
                  <c:v>-0.27616514811859938</c:v>
                </c:pt>
                <c:pt idx="45">
                  <c:v>-0.23766563200350327</c:v>
                </c:pt>
                <c:pt idx="46">
                  <c:v>-0.24916564594822094</c:v>
                </c:pt>
                <c:pt idx="47">
                  <c:v>-0.25198220188876275</c:v>
                </c:pt>
                <c:pt idx="48">
                  <c:v>-0.25299579909231162</c:v>
                </c:pt>
                <c:pt idx="49">
                  <c:v>-0.25457935227344014</c:v>
                </c:pt>
                <c:pt idx="50">
                  <c:v>-0.25189016021894173</c:v>
                </c:pt>
                <c:pt idx="51">
                  <c:v>-0.25417192669867439</c:v>
                </c:pt>
                <c:pt idx="52">
                  <c:v>-0.25310387758757852</c:v>
                </c:pt>
                <c:pt idx="53">
                  <c:v>-0.23877899170836678</c:v>
                </c:pt>
                <c:pt idx="54">
                  <c:v>-0.2677256521370629</c:v>
                </c:pt>
                <c:pt idx="55">
                  <c:v>-0.25347227764098312</c:v>
                </c:pt>
                <c:pt idx="56">
                  <c:v>-0.27201855467430458</c:v>
                </c:pt>
                <c:pt idx="57">
                  <c:v>-0.25011807501044181</c:v>
                </c:pt>
                <c:pt idx="58">
                  <c:v>-0.24901853591409961</c:v>
                </c:pt>
                <c:pt idx="59">
                  <c:v>-0.24741192735805861</c:v>
                </c:pt>
                <c:pt idx="60">
                  <c:v>-0.25333701622705279</c:v>
                </c:pt>
                <c:pt idx="61">
                  <c:v>-0.25638286642148062</c:v>
                </c:pt>
                <c:pt idx="62">
                  <c:v>-0.25708257178029181</c:v>
                </c:pt>
                <c:pt idx="63">
                  <c:v>-0.25464333865401007</c:v>
                </c:pt>
                <c:pt idx="64">
                  <c:v>-0.25626208616052276</c:v>
                </c:pt>
                <c:pt idx="65">
                  <c:v>-0.25861321370535484</c:v>
                </c:pt>
                <c:pt idx="66">
                  <c:v>-0.23852197663880384</c:v>
                </c:pt>
                <c:pt idx="67">
                  <c:v>-0.24923072757047551</c:v>
                </c:pt>
                <c:pt idx="68">
                  <c:v>-0.24943868633001301</c:v>
                </c:pt>
                <c:pt idx="69">
                  <c:v>-0.25263468128142219</c:v>
                </c:pt>
                <c:pt idx="70">
                  <c:v>-0.26523891135391642</c:v>
                </c:pt>
                <c:pt idx="71">
                  <c:v>-0.25378051860113515</c:v>
                </c:pt>
                <c:pt idx="72">
                  <c:v>-0.28271295492410375</c:v>
                </c:pt>
                <c:pt idx="73">
                  <c:v>-0.24203566814806332</c:v>
                </c:pt>
                <c:pt idx="74">
                  <c:v>-0.24266769505495608</c:v>
                </c:pt>
                <c:pt idx="75">
                  <c:v>-0.24436177786875013</c:v>
                </c:pt>
                <c:pt idx="76">
                  <c:v>-0.26886921172660749</c:v>
                </c:pt>
                <c:pt idx="77">
                  <c:v>-0.25723586446405855</c:v>
                </c:pt>
                <c:pt idx="78">
                  <c:v>-0.25334512061699643</c:v>
                </c:pt>
                <c:pt idx="79">
                  <c:v>-0.24477393949717011</c:v>
                </c:pt>
                <c:pt idx="80">
                  <c:v>-0.24544484428420188</c:v>
                </c:pt>
                <c:pt idx="81">
                  <c:v>-0.26139708046023191</c:v>
                </c:pt>
                <c:pt idx="82">
                  <c:v>-0.26568866362869303</c:v>
                </c:pt>
                <c:pt idx="83">
                  <c:v>-0.24042756452255951</c:v>
                </c:pt>
                <c:pt idx="84">
                  <c:v>-0.24944724261922058</c:v>
                </c:pt>
                <c:pt idx="85">
                  <c:v>-0.24868697208332019</c:v>
                </c:pt>
                <c:pt idx="86">
                  <c:v>-0.25482945298402981</c:v>
                </c:pt>
                <c:pt idx="87">
                  <c:v>-0.25509213658581131</c:v>
                </c:pt>
                <c:pt idx="88">
                  <c:v>-0.26226462680896001</c:v>
                </c:pt>
                <c:pt idx="89">
                  <c:v>-0.23661468872435523</c:v>
                </c:pt>
                <c:pt idx="90">
                  <c:v>-0.25603396546271934</c:v>
                </c:pt>
                <c:pt idx="91">
                  <c:v>-0.23994350419808985</c:v>
                </c:pt>
                <c:pt idx="92">
                  <c:v>-0.26743165894449938</c:v>
                </c:pt>
                <c:pt idx="93">
                  <c:v>-0.24536181155381998</c:v>
                </c:pt>
                <c:pt idx="94">
                  <c:v>-0.24570041056068212</c:v>
                </c:pt>
                <c:pt idx="95">
                  <c:v>-0.25317278549094147</c:v>
                </c:pt>
                <c:pt idx="96">
                  <c:v>-0.25958460146722817</c:v>
                </c:pt>
                <c:pt idx="97">
                  <c:v>-0.26107362423450275</c:v>
                </c:pt>
                <c:pt idx="98">
                  <c:v>-0.2601067710352527</c:v>
                </c:pt>
                <c:pt idx="99">
                  <c:v>-0.25703469295658732</c:v>
                </c:pt>
                <c:pt idx="100">
                  <c:v>-0.25954642684176732</c:v>
                </c:pt>
                <c:pt idx="101">
                  <c:v>-0.24012837235908399</c:v>
                </c:pt>
                <c:pt idx="102">
                  <c:v>-0.23874138177979443</c:v>
                </c:pt>
                <c:pt idx="103">
                  <c:v>-0.25836387439853759</c:v>
                </c:pt>
                <c:pt idx="104">
                  <c:v>-0.24633256624517508</c:v>
                </c:pt>
                <c:pt idx="105">
                  <c:v>-0.26065555555651398</c:v>
                </c:pt>
                <c:pt idx="106">
                  <c:v>-0.25865097458671793</c:v>
                </c:pt>
                <c:pt idx="107">
                  <c:v>-0.25065338632580858</c:v>
                </c:pt>
                <c:pt idx="108">
                  <c:v>-0.26116789906861149</c:v>
                </c:pt>
                <c:pt idx="109">
                  <c:v>-0.25859270473897</c:v>
                </c:pt>
                <c:pt idx="110">
                  <c:v>-0.2579782403152745</c:v>
                </c:pt>
                <c:pt idx="111">
                  <c:v>-0.25486684470065762</c:v>
                </c:pt>
                <c:pt idx="112">
                  <c:v>-0.24377385070657276</c:v>
                </c:pt>
                <c:pt idx="113">
                  <c:v>-0.25564563273399754</c:v>
                </c:pt>
                <c:pt idx="114">
                  <c:v>-0.28600153205541634</c:v>
                </c:pt>
                <c:pt idx="115">
                  <c:v>-0.25242974724940398</c:v>
                </c:pt>
                <c:pt idx="116">
                  <c:v>-0.25185598425858802</c:v>
                </c:pt>
                <c:pt idx="117">
                  <c:v>-0.25814127624737931</c:v>
                </c:pt>
                <c:pt idx="118">
                  <c:v>-0.27142994215688776</c:v>
                </c:pt>
                <c:pt idx="119">
                  <c:v>-0.26052019038661767</c:v>
                </c:pt>
                <c:pt idx="120">
                  <c:v>-0.26162790930831492</c:v>
                </c:pt>
                <c:pt idx="121">
                  <c:v>-0.2666056505141654</c:v>
                </c:pt>
                <c:pt idx="122">
                  <c:v>-0.27591798772554588</c:v>
                </c:pt>
                <c:pt idx="123">
                  <c:v>-0.23683253718795824</c:v>
                </c:pt>
                <c:pt idx="124">
                  <c:v>-0.25052570746907499</c:v>
                </c:pt>
                <c:pt idx="125">
                  <c:v>-0.25004355326979466</c:v>
                </c:pt>
                <c:pt idx="126">
                  <c:v>-0.24871181746672269</c:v>
                </c:pt>
                <c:pt idx="127">
                  <c:v>-0.24174921044777267</c:v>
                </c:pt>
                <c:pt idx="128">
                  <c:v>-0.25406697630142583</c:v>
                </c:pt>
                <c:pt idx="129">
                  <c:v>-0.23788200216037209</c:v>
                </c:pt>
                <c:pt idx="130">
                  <c:v>-0.24203566814806332</c:v>
                </c:pt>
                <c:pt idx="131">
                  <c:v>-0.24475895508069706</c:v>
                </c:pt>
                <c:pt idx="132">
                  <c:v>-0.25581702531911032</c:v>
                </c:pt>
                <c:pt idx="133">
                  <c:v>-0.26211528553622188</c:v>
                </c:pt>
                <c:pt idx="134">
                  <c:v>-0.23774989951310732</c:v>
                </c:pt>
                <c:pt idx="135">
                  <c:v>-0.26157393748868996</c:v>
                </c:pt>
                <c:pt idx="136">
                  <c:v>-0.23780800430823612</c:v>
                </c:pt>
                <c:pt idx="137">
                  <c:v>-0.24139436021012048</c:v>
                </c:pt>
                <c:pt idx="138">
                  <c:v>-0.24667605077904367</c:v>
                </c:pt>
                <c:pt idx="139">
                  <c:v>-0.24511574059048905</c:v>
                </c:pt>
                <c:pt idx="140">
                  <c:v>-0.25781686115514585</c:v>
                </c:pt>
                <c:pt idx="141">
                  <c:v>-0.25587095532743354</c:v>
                </c:pt>
                <c:pt idx="142">
                  <c:v>-0.24590287643546391</c:v>
                </c:pt>
                <c:pt idx="143">
                  <c:v>-0.25578573554027051</c:v>
                </c:pt>
                <c:pt idx="144">
                  <c:v>-0.25535604573055937</c:v>
                </c:pt>
                <c:pt idx="145">
                  <c:v>-0.26538213694478652</c:v>
                </c:pt>
                <c:pt idx="146">
                  <c:v>-0.24590287643546391</c:v>
                </c:pt>
                <c:pt idx="147">
                  <c:v>-0.25014919461593127</c:v>
                </c:pt>
                <c:pt idx="148">
                  <c:v>-0.25406697630142583</c:v>
                </c:pt>
                <c:pt idx="149">
                  <c:v>-0.2539262516958507</c:v>
                </c:pt>
                <c:pt idx="150">
                  <c:v>-0.24875250970417059</c:v>
                </c:pt>
                <c:pt idx="151">
                  <c:v>-0.24665920592028612</c:v>
                </c:pt>
                <c:pt idx="152">
                  <c:v>-0.27723981187286117</c:v>
                </c:pt>
                <c:pt idx="153">
                  <c:v>-0.24435718611150783</c:v>
                </c:pt>
                <c:pt idx="154">
                  <c:v>-0.26448086584428743</c:v>
                </c:pt>
                <c:pt idx="155">
                  <c:v>-0.26334553650139259</c:v>
                </c:pt>
                <c:pt idx="156">
                  <c:v>-0.26205630361478771</c:v>
                </c:pt>
                <c:pt idx="157">
                  <c:v>-0.25932187441321541</c:v>
                </c:pt>
                <c:pt idx="158">
                  <c:v>-0.27664391968838187</c:v>
                </c:pt>
                <c:pt idx="159">
                  <c:v>-0.23753290965566823</c:v>
                </c:pt>
                <c:pt idx="160">
                  <c:v>-0.25186529397738139</c:v>
                </c:pt>
                <c:pt idx="161">
                  <c:v>-0.25266301757822146</c:v>
                </c:pt>
                <c:pt idx="162">
                  <c:v>-0.24584937037047175</c:v>
                </c:pt>
                <c:pt idx="163">
                  <c:v>-0.2434880321516828</c:v>
                </c:pt>
                <c:pt idx="164">
                  <c:v>-0.28387885470888208</c:v>
                </c:pt>
                <c:pt idx="165">
                  <c:v>-0.23661300171485442</c:v>
                </c:pt>
                <c:pt idx="166">
                  <c:v>-0.26396990438984835</c:v>
                </c:pt>
                <c:pt idx="167">
                  <c:v>-0.24291511023255105</c:v>
                </c:pt>
                <c:pt idx="168">
                  <c:v>-0.26167822323187184</c:v>
                </c:pt>
                <c:pt idx="169">
                  <c:v>-0.24899046430814989</c:v>
                </c:pt>
                <c:pt idx="170">
                  <c:v>-0.246307443601747</c:v>
                </c:pt>
                <c:pt idx="171">
                  <c:v>-0.24706800629256079</c:v>
                </c:pt>
                <c:pt idx="172">
                  <c:v>-0.24502157383570314</c:v>
                </c:pt>
                <c:pt idx="173">
                  <c:v>-0.23713136678167021</c:v>
                </c:pt>
                <c:pt idx="174">
                  <c:v>-0.24076651072275176</c:v>
                </c:pt>
                <c:pt idx="175">
                  <c:v>-0.27311422230008131</c:v>
                </c:pt>
                <c:pt idx="176">
                  <c:v>-0.25457824671715834</c:v>
                </c:pt>
                <c:pt idx="177">
                  <c:v>-0.2374549871827499</c:v>
                </c:pt>
                <c:pt idx="178">
                  <c:v>-0.24358447281481743</c:v>
                </c:pt>
                <c:pt idx="179">
                  <c:v>-0.24152980132846671</c:v>
                </c:pt>
                <c:pt idx="180">
                  <c:v>-0.23938525116013487</c:v>
                </c:pt>
                <c:pt idx="181">
                  <c:v>-0.24047934220066838</c:v>
                </c:pt>
                <c:pt idx="182">
                  <c:v>-0.23747238133427678</c:v>
                </c:pt>
                <c:pt idx="183">
                  <c:v>-0.24964691507850936</c:v>
                </c:pt>
                <c:pt idx="184">
                  <c:v>-0.24767705512214813</c:v>
                </c:pt>
                <c:pt idx="185">
                  <c:v>-0.24819205977691364</c:v>
                </c:pt>
                <c:pt idx="186">
                  <c:v>-0.24501123090212476</c:v>
                </c:pt>
                <c:pt idx="187">
                  <c:v>-0.23809265026646706</c:v>
                </c:pt>
                <c:pt idx="188">
                  <c:v>-0.27018568006464905</c:v>
                </c:pt>
                <c:pt idx="189">
                  <c:v>-0.24527315226371252</c:v>
                </c:pt>
                <c:pt idx="190">
                  <c:v>-0.26181831920384302</c:v>
                </c:pt>
                <c:pt idx="191">
                  <c:v>-0.23948340276231422</c:v>
                </c:pt>
                <c:pt idx="192">
                  <c:v>-0.24444564612739064</c:v>
                </c:pt>
                <c:pt idx="193">
                  <c:v>-0.25520703602792216</c:v>
                </c:pt>
                <c:pt idx="194">
                  <c:v>-0.23691966347415716</c:v>
                </c:pt>
                <c:pt idx="195">
                  <c:v>-0.26621445912774266</c:v>
                </c:pt>
                <c:pt idx="196">
                  <c:v>-0.31062510316913772</c:v>
                </c:pt>
                <c:pt idx="197">
                  <c:v>-0.23733863759504017</c:v>
                </c:pt>
                <c:pt idx="198">
                  <c:v>-0.25950069348219429</c:v>
                </c:pt>
                <c:pt idx="199">
                  <c:v>-0.23759554446008144</c:v>
                </c:pt>
                <c:pt idx="200">
                  <c:v>-0.24921751871018705</c:v>
                </c:pt>
                <c:pt idx="201">
                  <c:v>-0.25807251850871549</c:v>
                </c:pt>
                <c:pt idx="202">
                  <c:v>-0.25982019000035161</c:v>
                </c:pt>
                <c:pt idx="203">
                  <c:v>-0.25968340687257496</c:v>
                </c:pt>
                <c:pt idx="204">
                  <c:v>-0.23739595612049921</c:v>
                </c:pt>
                <c:pt idx="205">
                  <c:v>-0.23763101511333859</c:v>
                </c:pt>
                <c:pt idx="206">
                  <c:v>-0.25922325401795998</c:v>
                </c:pt>
                <c:pt idx="207">
                  <c:v>-0.2585271193053047</c:v>
                </c:pt>
                <c:pt idx="208">
                  <c:v>-0.25435344052026693</c:v>
                </c:pt>
                <c:pt idx="209">
                  <c:v>-0.29889792776144741</c:v>
                </c:pt>
                <c:pt idx="210">
                  <c:v>-0.26566860116362767</c:v>
                </c:pt>
                <c:pt idx="211">
                  <c:v>-0.25478313032997812</c:v>
                </c:pt>
                <c:pt idx="212">
                  <c:v>-0.25360309583406437</c:v>
                </c:pt>
                <c:pt idx="213">
                  <c:v>-0.25283300790636698</c:v>
                </c:pt>
                <c:pt idx="214">
                  <c:v>-0.24995044797375829</c:v>
                </c:pt>
                <c:pt idx="215">
                  <c:v>-0.24915476842917009</c:v>
                </c:pt>
                <c:pt idx="216">
                  <c:v>-0.25339080342772513</c:v>
                </c:pt>
                <c:pt idx="217">
                  <c:v>-0.25466275926393833</c:v>
                </c:pt>
                <c:pt idx="218">
                  <c:v>-0.25853473677055527</c:v>
                </c:pt>
                <c:pt idx="219">
                  <c:v>-0.25203631773892038</c:v>
                </c:pt>
                <c:pt idx="220">
                  <c:v>-0.26883304891099824</c:v>
                </c:pt>
                <c:pt idx="221">
                  <c:v>-0.24373306756550792</c:v>
                </c:pt>
                <c:pt idx="222">
                  <c:v>-0.27794763054091942</c:v>
                </c:pt>
                <c:pt idx="223">
                  <c:v>-0.24079992157057137</c:v>
                </c:pt>
                <c:pt idx="224">
                  <c:v>-0.26019912676709811</c:v>
                </c:pt>
                <c:pt idx="225">
                  <c:v>-0.260493500086042</c:v>
                </c:pt>
                <c:pt idx="226">
                  <c:v>-0.24887859563323131</c:v>
                </c:pt>
                <c:pt idx="227">
                  <c:v>-0.26841393521094903</c:v>
                </c:pt>
                <c:pt idx="228">
                  <c:v>-0.24591464543188388</c:v>
                </c:pt>
                <c:pt idx="229">
                  <c:v>-0.24396788228088034</c:v>
                </c:pt>
                <c:pt idx="230">
                  <c:v>-0.24509203288681677</c:v>
                </c:pt>
                <c:pt idx="231">
                  <c:v>-0.24466296909550173</c:v>
                </c:pt>
                <c:pt idx="232">
                  <c:v>-0.29160567701975459</c:v>
                </c:pt>
                <c:pt idx="233">
                  <c:v>-0.2540420300061238</c:v>
                </c:pt>
                <c:pt idx="234">
                  <c:v>-0.25161753785415808</c:v>
                </c:pt>
                <c:pt idx="235">
                  <c:v>-0.23979960600777386</c:v>
                </c:pt>
                <c:pt idx="236">
                  <c:v>-0.27277182713234893</c:v>
                </c:pt>
                <c:pt idx="237">
                  <c:v>-0.24753827957421654</c:v>
                </c:pt>
                <c:pt idx="238">
                  <c:v>-0.25311731984731756</c:v>
                </c:pt>
                <c:pt idx="239">
                  <c:v>-0.26120564078432251</c:v>
                </c:pt>
                <c:pt idx="240">
                  <c:v>-0.29760311031503006</c:v>
                </c:pt>
                <c:pt idx="241">
                  <c:v>-0.26006115056576529</c:v>
                </c:pt>
                <c:pt idx="242">
                  <c:v>-0.28610599433906525</c:v>
                </c:pt>
                <c:pt idx="243">
                  <c:v>-0.26778334402444781</c:v>
                </c:pt>
                <c:pt idx="244">
                  <c:v>-0.26689351991737509</c:v>
                </c:pt>
                <c:pt idx="245">
                  <c:v>-0.2647493223718308</c:v>
                </c:pt>
                <c:pt idx="246">
                  <c:v>-0.27516399069687303</c:v>
                </c:pt>
                <c:pt idx="247">
                  <c:v>-0.25079454119581845</c:v>
                </c:pt>
                <c:pt idx="248">
                  <c:v>-0.2804839411038994</c:v>
                </c:pt>
                <c:pt idx="249">
                  <c:v>-0.23735105135611459</c:v>
                </c:pt>
                <c:pt idx="250">
                  <c:v>-0.25087579059389609</c:v>
                </c:pt>
                <c:pt idx="251">
                  <c:v>-0.2792900000496128</c:v>
                </c:pt>
                <c:pt idx="252">
                  <c:v>-0.23985786458249553</c:v>
                </c:pt>
                <c:pt idx="253">
                  <c:v>-0.23911034323979166</c:v>
                </c:pt>
                <c:pt idx="254">
                  <c:v>-0.24923162944792879</c:v>
                </c:pt>
                <c:pt idx="255">
                  <c:v>-0.25331074947048771</c:v>
                </c:pt>
                <c:pt idx="256">
                  <c:v>-0.26670062234386382</c:v>
                </c:pt>
                <c:pt idx="257">
                  <c:v>-0.24581192970303312</c:v>
                </c:pt>
                <c:pt idx="258">
                  <c:v>-0.25083428380329953</c:v>
                </c:pt>
                <c:pt idx="259">
                  <c:v>-0.27505859592278292</c:v>
                </c:pt>
                <c:pt idx="260">
                  <c:v>-0.23761843203909089</c:v>
                </c:pt>
                <c:pt idx="261">
                  <c:v>-0.25490301409689498</c:v>
                </c:pt>
                <c:pt idx="262">
                  <c:v>-0.27055954549047068</c:v>
                </c:pt>
                <c:pt idx="263">
                  <c:v>-0.25082909654419261</c:v>
                </c:pt>
                <c:pt idx="264">
                  <c:v>-0.25270097885080611</c:v>
                </c:pt>
                <c:pt idx="265">
                  <c:v>-0.25649749231400554</c:v>
                </c:pt>
                <c:pt idx="266">
                  <c:v>-0.27027223479037188</c:v>
                </c:pt>
                <c:pt idx="267">
                  <c:v>-0.27018351081601899</c:v>
                </c:pt>
                <c:pt idx="268">
                  <c:v>-0.27353165713530225</c:v>
                </c:pt>
                <c:pt idx="269">
                  <c:v>-0.26108917199110016</c:v>
                </c:pt>
                <c:pt idx="270">
                  <c:v>-0.26051232344709352</c:v>
                </c:pt>
                <c:pt idx="271">
                  <c:v>-0.25378051860113515</c:v>
                </c:pt>
                <c:pt idx="272">
                  <c:v>-0.25161666165483942</c:v>
                </c:pt>
                <c:pt idx="273">
                  <c:v>-0.25174605200117106</c:v>
                </c:pt>
                <c:pt idx="274">
                  <c:v>-0.24887090576593568</c:v>
                </c:pt>
                <c:pt idx="275">
                  <c:v>-0.24755757537574194</c:v>
                </c:pt>
                <c:pt idx="276">
                  <c:v>-0.24404088508719865</c:v>
                </c:pt>
                <c:pt idx="277">
                  <c:v>-0.24845071500477792</c:v>
                </c:pt>
                <c:pt idx="278">
                  <c:v>-0.2727211335150147</c:v>
                </c:pt>
                <c:pt idx="279">
                  <c:v>-0.24594322673915281</c:v>
                </c:pt>
                <c:pt idx="280">
                  <c:v>-0.25264567057032622</c:v>
                </c:pt>
                <c:pt idx="281">
                  <c:v>-0.25035024068278283</c:v>
                </c:pt>
                <c:pt idx="282">
                  <c:v>-0.25889907976116511</c:v>
                </c:pt>
                <c:pt idx="283">
                  <c:v>-0.23727555788155219</c:v>
                </c:pt>
                <c:pt idx="284">
                  <c:v>-0.24025729304673737</c:v>
                </c:pt>
                <c:pt idx="285">
                  <c:v>-0.24661597545044425</c:v>
                </c:pt>
                <c:pt idx="286">
                  <c:v>-0.25062844800130796</c:v>
                </c:pt>
                <c:pt idx="287">
                  <c:v>-0.24844174773763608</c:v>
                </c:pt>
                <c:pt idx="288">
                  <c:v>-0.2536407978042714</c:v>
                </c:pt>
                <c:pt idx="289">
                  <c:v>-0.25088711250549223</c:v>
                </c:pt>
                <c:pt idx="290">
                  <c:v>-0.25102704977961615</c:v>
                </c:pt>
                <c:pt idx="291">
                  <c:v>-0.24952823496557189</c:v>
                </c:pt>
                <c:pt idx="292">
                  <c:v>-0.24950368948763929</c:v>
                </c:pt>
                <c:pt idx="293">
                  <c:v>-0.25294120144677823</c:v>
                </c:pt>
                <c:pt idx="294">
                  <c:v>-0.2558058045238864</c:v>
                </c:pt>
                <c:pt idx="295">
                  <c:v>-0.26396990438984835</c:v>
                </c:pt>
                <c:pt idx="296">
                  <c:v>-0.25706478489117623</c:v>
                </c:pt>
                <c:pt idx="297">
                  <c:v>-0.25228494554654951</c:v>
                </c:pt>
                <c:pt idx="298">
                  <c:v>-0.24011065114600058</c:v>
                </c:pt>
                <c:pt idx="299">
                  <c:v>-0.24738903636784565</c:v>
                </c:pt>
                <c:pt idx="300">
                  <c:v>-0.25791466087596204</c:v>
                </c:pt>
                <c:pt idx="301">
                  <c:v>-0.25195804399206345</c:v>
                </c:pt>
                <c:pt idx="302">
                  <c:v>-0.27226735034288363</c:v>
                </c:pt>
                <c:pt idx="303">
                  <c:v>-0.23996832654997297</c:v>
                </c:pt>
                <c:pt idx="304">
                  <c:v>-0.25061448289175425</c:v>
                </c:pt>
                <c:pt idx="305">
                  <c:v>-0.25869038751418949</c:v>
                </c:pt>
                <c:pt idx="306">
                  <c:v>-0.26154937688903934</c:v>
                </c:pt>
                <c:pt idx="307">
                  <c:v>-0.2698021981677029</c:v>
                </c:pt>
                <c:pt idx="308">
                  <c:v>-0.24753792465257393</c:v>
                </c:pt>
                <c:pt idx="309">
                  <c:v>-0.24019374578341393</c:v>
                </c:pt>
                <c:pt idx="310">
                  <c:v>-0.26674762093413074</c:v>
                </c:pt>
                <c:pt idx="311">
                  <c:v>-0.23885463691662912</c:v>
                </c:pt>
                <c:pt idx="312">
                  <c:v>-0.26780984669259367</c:v>
                </c:pt>
                <c:pt idx="313">
                  <c:v>-0.26720415390809116</c:v>
                </c:pt>
                <c:pt idx="314">
                  <c:v>-0.26461662922655682</c:v>
                </c:pt>
                <c:pt idx="315">
                  <c:v>-0.2638387639641534</c:v>
                </c:pt>
                <c:pt idx="316">
                  <c:v>-0.25499566964395487</c:v>
                </c:pt>
                <c:pt idx="317">
                  <c:v>-0.25483946895285325</c:v>
                </c:pt>
                <c:pt idx="318">
                  <c:v>-0.25234426381958175</c:v>
                </c:pt>
                <c:pt idx="319">
                  <c:v>-0.24203412200655941</c:v>
                </c:pt>
                <c:pt idx="320">
                  <c:v>-0.23716480751058458</c:v>
                </c:pt>
                <c:pt idx="321">
                  <c:v>-0.25967559916300709</c:v>
                </c:pt>
                <c:pt idx="322">
                  <c:v>-0.2466594759235077</c:v>
                </c:pt>
                <c:pt idx="323">
                  <c:v>-0.25071727323782883</c:v>
                </c:pt>
                <c:pt idx="324">
                  <c:v>-0.25789064574272114</c:v>
                </c:pt>
                <c:pt idx="325">
                  <c:v>-0.25865874635520203</c:v>
                </c:pt>
                <c:pt idx="326">
                  <c:v>-0.2420848128164971</c:v>
                </c:pt>
                <c:pt idx="327">
                  <c:v>-0.27331483612985763</c:v>
                </c:pt>
                <c:pt idx="328">
                  <c:v>-0.24168474072213977</c:v>
                </c:pt>
                <c:pt idx="329">
                  <c:v>-0.26497683633403624</c:v>
                </c:pt>
                <c:pt idx="330">
                  <c:v>-0.27080080369201098</c:v>
                </c:pt>
                <c:pt idx="331">
                  <c:v>-0.24732885205981489</c:v>
                </c:pt>
                <c:pt idx="332">
                  <c:v>-0.25913198554132555</c:v>
                </c:pt>
                <c:pt idx="333">
                  <c:v>-0.25963269974801606</c:v>
                </c:pt>
                <c:pt idx="334">
                  <c:v>-0.27104235612218486</c:v>
                </c:pt>
                <c:pt idx="335">
                  <c:v>-0.24871059848493696</c:v>
                </c:pt>
                <c:pt idx="336">
                  <c:v>-0.25989440197883384</c:v>
                </c:pt>
                <c:pt idx="337">
                  <c:v>-0.25278359320017424</c:v>
                </c:pt>
                <c:pt idx="338">
                  <c:v>-0.25081171504116861</c:v>
                </c:pt>
                <c:pt idx="339">
                  <c:v>-0.24786318322965301</c:v>
                </c:pt>
                <c:pt idx="340">
                  <c:v>-0.27453938384478194</c:v>
                </c:pt>
                <c:pt idx="341">
                  <c:v>-0.25531964167012777</c:v>
                </c:pt>
                <c:pt idx="342">
                  <c:v>-0.2639937847359175</c:v>
                </c:pt>
                <c:pt idx="343">
                  <c:v>-0.2496124009984238</c:v>
                </c:pt>
                <c:pt idx="344">
                  <c:v>-0.24590141519810743</c:v>
                </c:pt>
                <c:pt idx="345">
                  <c:v>-0.27611843021454319</c:v>
                </c:pt>
                <c:pt idx="346">
                  <c:v>-0.24932996516553194</c:v>
                </c:pt>
                <c:pt idx="347">
                  <c:v>-0.25002813739259622</c:v>
                </c:pt>
                <c:pt idx="348">
                  <c:v>-0.25301512765710699</c:v>
                </c:pt>
                <c:pt idx="349">
                  <c:v>-0.253764314591644</c:v>
                </c:pt>
                <c:pt idx="350">
                  <c:v>-0.26133334785735163</c:v>
                </c:pt>
                <c:pt idx="351">
                  <c:v>-0.26248063235748675</c:v>
                </c:pt>
                <c:pt idx="352">
                  <c:v>-0.27962288488097786</c:v>
                </c:pt>
                <c:pt idx="353">
                  <c:v>-0.24181708618045866</c:v>
                </c:pt>
                <c:pt idx="354">
                  <c:v>-0.28828267593539669</c:v>
                </c:pt>
                <c:pt idx="355">
                  <c:v>-0.26097869529359841</c:v>
                </c:pt>
                <c:pt idx="356">
                  <c:v>-0.25913701528505406</c:v>
                </c:pt>
                <c:pt idx="357">
                  <c:v>-0.23715390974741052</c:v>
                </c:pt>
                <c:pt idx="358">
                  <c:v>-0.28067424691184328</c:v>
                </c:pt>
                <c:pt idx="359">
                  <c:v>-0.25081790369570345</c:v>
                </c:pt>
                <c:pt idx="360">
                  <c:v>-0.27457251620800582</c:v>
                </c:pt>
                <c:pt idx="361">
                  <c:v>-0.26279179133370756</c:v>
                </c:pt>
                <c:pt idx="362">
                  <c:v>-0.2558163054463467</c:v>
                </c:pt>
                <c:pt idx="363">
                  <c:v>-0.29302020036565046</c:v>
                </c:pt>
                <c:pt idx="364">
                  <c:v>-0.2617457716591246</c:v>
                </c:pt>
                <c:pt idx="365">
                  <c:v>-0.28479867599716657</c:v>
                </c:pt>
                <c:pt idx="366">
                  <c:v>-0.23837776321078641</c:v>
                </c:pt>
                <c:pt idx="367">
                  <c:v>-0.27902644437131108</c:v>
                </c:pt>
                <c:pt idx="368">
                  <c:v>-0.27892598892077858</c:v>
                </c:pt>
                <c:pt idx="369">
                  <c:v>-0.24508786832849008</c:v>
                </c:pt>
                <c:pt idx="370">
                  <c:v>-0.23797319564965175</c:v>
                </c:pt>
                <c:pt idx="371">
                  <c:v>-0.2363864059674799</c:v>
                </c:pt>
                <c:pt idx="372">
                  <c:v>-0.25945839529743286</c:v>
                </c:pt>
                <c:pt idx="373">
                  <c:v>-0.2622062073373751</c:v>
                </c:pt>
                <c:pt idx="374">
                  <c:v>-0.28901415818533038</c:v>
                </c:pt>
                <c:pt idx="375">
                  <c:v>-0.24836093709558141</c:v>
                </c:pt>
                <c:pt idx="376">
                  <c:v>-0.24721050314965437</c:v>
                </c:pt>
                <c:pt idx="377">
                  <c:v>-0.23868792199255195</c:v>
                </c:pt>
                <c:pt idx="378">
                  <c:v>-0.23777410220998552</c:v>
                </c:pt>
                <c:pt idx="379">
                  <c:v>-0.25967971002605361</c:v>
                </c:pt>
                <c:pt idx="380">
                  <c:v>-0.25356279734872278</c:v>
                </c:pt>
                <c:pt idx="381">
                  <c:v>-0.25597244240715367</c:v>
                </c:pt>
                <c:pt idx="382">
                  <c:v>-0.24791764579919626</c:v>
                </c:pt>
                <c:pt idx="383">
                  <c:v>-0.24540689761703274</c:v>
                </c:pt>
                <c:pt idx="384">
                  <c:v>-0.24216695535452412</c:v>
                </c:pt>
                <c:pt idx="385">
                  <c:v>-0.2746801357460521</c:v>
                </c:pt>
                <c:pt idx="386">
                  <c:v>-0.24474509421279117</c:v>
                </c:pt>
                <c:pt idx="387">
                  <c:v>-0.27740150671373975</c:v>
                </c:pt>
                <c:pt idx="388">
                  <c:v>-0.24460186210337062</c:v>
                </c:pt>
                <c:pt idx="389">
                  <c:v>-0.25162013116817</c:v>
                </c:pt>
                <c:pt idx="390">
                  <c:v>-0.25906808352413013</c:v>
                </c:pt>
                <c:pt idx="391">
                  <c:v>-0.2628290418833682</c:v>
                </c:pt>
                <c:pt idx="392">
                  <c:v>-0.27393546632180699</c:v>
                </c:pt>
                <c:pt idx="393">
                  <c:v>-0.23697278628978508</c:v>
                </c:pt>
                <c:pt idx="394">
                  <c:v>-0.26659257995405683</c:v>
                </c:pt>
                <c:pt idx="395">
                  <c:v>-0.25161083879408097</c:v>
                </c:pt>
                <c:pt idx="396">
                  <c:v>-0.2383956815271196</c:v>
                </c:pt>
                <c:pt idx="397">
                  <c:v>-0.27605546327502228</c:v>
                </c:pt>
                <c:pt idx="398">
                  <c:v>-0.24510844057895695</c:v>
                </c:pt>
                <c:pt idx="399">
                  <c:v>-0.26161841121893259</c:v>
                </c:pt>
                <c:pt idx="400">
                  <c:v>-0.23650535852919485</c:v>
                </c:pt>
                <c:pt idx="401">
                  <c:v>-0.2757121841640211</c:v>
                </c:pt>
                <c:pt idx="402">
                  <c:v>-0.25943127571302638</c:v>
                </c:pt>
                <c:pt idx="403">
                  <c:v>-0.24300239958865563</c:v>
                </c:pt>
                <c:pt idx="404">
                  <c:v>-0.26994158340585905</c:v>
                </c:pt>
                <c:pt idx="405">
                  <c:v>-0.26851936332611293</c:v>
                </c:pt>
                <c:pt idx="406">
                  <c:v>-0.26734869526191862</c:v>
                </c:pt>
                <c:pt idx="407">
                  <c:v>-0.25395722579407221</c:v>
                </c:pt>
                <c:pt idx="408">
                  <c:v>-0.23681537428811519</c:v>
                </c:pt>
                <c:pt idx="409">
                  <c:v>-0.26430214560826659</c:v>
                </c:pt>
                <c:pt idx="410">
                  <c:v>-0.26086301153917812</c:v>
                </c:pt>
                <c:pt idx="411">
                  <c:v>-0.25590222321515238</c:v>
                </c:pt>
                <c:pt idx="412">
                  <c:v>-0.25013197646638541</c:v>
                </c:pt>
                <c:pt idx="413">
                  <c:v>-0.26283249749118665</c:v>
                </c:pt>
                <c:pt idx="414">
                  <c:v>-0.26131845535050502</c:v>
                </c:pt>
                <c:pt idx="415">
                  <c:v>-0.2530057368885642</c:v>
                </c:pt>
                <c:pt idx="416">
                  <c:v>-0.29568576638120858</c:v>
                </c:pt>
                <c:pt idx="417">
                  <c:v>-0.26360180586674009</c:v>
                </c:pt>
                <c:pt idx="418">
                  <c:v>-0.26587879441861717</c:v>
                </c:pt>
                <c:pt idx="419">
                  <c:v>-0.25942276450422008</c:v>
                </c:pt>
                <c:pt idx="420">
                  <c:v>-0.25684995540593947</c:v>
                </c:pt>
                <c:pt idx="421">
                  <c:v>-0.25100041066092427</c:v>
                </c:pt>
                <c:pt idx="422">
                  <c:v>-0.25502763180354182</c:v>
                </c:pt>
                <c:pt idx="423">
                  <c:v>-0.25708979033553747</c:v>
                </c:pt>
                <c:pt idx="424">
                  <c:v>-0.26338761517044407</c:v>
                </c:pt>
                <c:pt idx="425">
                  <c:v>-0.26218498572350502</c:v>
                </c:pt>
                <c:pt idx="426">
                  <c:v>-0.27802616615208608</c:v>
                </c:pt>
                <c:pt idx="427">
                  <c:v>-0.27785739624131556</c:v>
                </c:pt>
                <c:pt idx="428">
                  <c:v>-0.27729162446989997</c:v>
                </c:pt>
                <c:pt idx="429">
                  <c:v>-0.2635376413682563</c:v>
                </c:pt>
                <c:pt idx="430">
                  <c:v>-0.26348275292375312</c:v>
                </c:pt>
                <c:pt idx="431">
                  <c:v>-0.2620093941845556</c:v>
                </c:pt>
                <c:pt idx="432">
                  <c:v>-0.26287705847711251</c:v>
                </c:pt>
                <c:pt idx="433">
                  <c:v>-0.26233993865946803</c:v>
                </c:pt>
                <c:pt idx="434">
                  <c:v>-0.26231789246288983</c:v>
                </c:pt>
                <c:pt idx="435">
                  <c:v>-0.26207693896588424</c:v>
                </c:pt>
                <c:pt idx="436">
                  <c:v>-0.29057724446722599</c:v>
                </c:pt>
                <c:pt idx="437">
                  <c:v>-0.26092326630375218</c:v>
                </c:pt>
                <c:pt idx="438">
                  <c:v>-0.27252243971945023</c:v>
                </c:pt>
                <c:pt idx="439">
                  <c:v>-0.25232114965782815</c:v>
                </c:pt>
                <c:pt idx="440">
                  <c:v>-0.29184965495739901</c:v>
                </c:pt>
                <c:pt idx="441">
                  <c:v>-0.25360580307974434</c:v>
                </c:pt>
                <c:pt idx="442">
                  <c:v>-0.26534722660851284</c:v>
                </c:pt>
                <c:pt idx="443">
                  <c:v>-0.2904119695288645</c:v>
                </c:pt>
                <c:pt idx="444">
                  <c:v>-0.26806712028210167</c:v>
                </c:pt>
                <c:pt idx="445">
                  <c:v>-0.264615901378769</c:v>
                </c:pt>
                <c:pt idx="446">
                  <c:v>-0.28094312980377423</c:v>
                </c:pt>
                <c:pt idx="447">
                  <c:v>-0.26103319489338594</c:v>
                </c:pt>
                <c:pt idx="448">
                  <c:v>-0.26453133763029413</c:v>
                </c:pt>
                <c:pt idx="449">
                  <c:v>-0.26716709363765001</c:v>
                </c:pt>
                <c:pt idx="450">
                  <c:v>-0.25308922515475663</c:v>
                </c:pt>
                <c:pt idx="451">
                  <c:v>-0.29186282494507754</c:v>
                </c:pt>
                <c:pt idx="452">
                  <c:v>-0.26326382387986547</c:v>
                </c:pt>
                <c:pt idx="453">
                  <c:v>-0.25575866741835768</c:v>
                </c:pt>
                <c:pt idx="454">
                  <c:v>-0.26745612571344513</c:v>
                </c:pt>
                <c:pt idx="455">
                  <c:v>-0.26751075259712198</c:v>
                </c:pt>
                <c:pt idx="456">
                  <c:v>-0.26634588034402462</c:v>
                </c:pt>
                <c:pt idx="457">
                  <c:v>-0.26630331951307684</c:v>
                </c:pt>
                <c:pt idx="458">
                  <c:v>-0.26041081127191068</c:v>
                </c:pt>
                <c:pt idx="459">
                  <c:v>-0.2860484656783796</c:v>
                </c:pt>
                <c:pt idx="460">
                  <c:v>-0.26255828249657098</c:v>
                </c:pt>
                <c:pt idx="461">
                  <c:v>-0.26094646685656275</c:v>
                </c:pt>
                <c:pt idx="462">
                  <c:v>-0.26054816134060721</c:v>
                </c:pt>
                <c:pt idx="463">
                  <c:v>-0.26312139515446809</c:v>
                </c:pt>
                <c:pt idx="464">
                  <c:v>-0.29792577526024677</c:v>
                </c:pt>
                <c:pt idx="465">
                  <c:v>-0.27629512414376323</c:v>
                </c:pt>
                <c:pt idx="466">
                  <c:v>-0.26955989262398361</c:v>
                </c:pt>
                <c:pt idx="467">
                  <c:v>-0.31481759145112487</c:v>
                </c:pt>
                <c:pt idx="468">
                  <c:v>-0.27456804053718031</c:v>
                </c:pt>
                <c:pt idx="469">
                  <c:v>-0.27720098318123765</c:v>
                </c:pt>
                <c:pt idx="470">
                  <c:v>-0.27986557643838461</c:v>
                </c:pt>
                <c:pt idx="471">
                  <c:v>-0.27570114506510468</c:v>
                </c:pt>
                <c:pt idx="472">
                  <c:v>-0.25221095145028172</c:v>
                </c:pt>
                <c:pt idx="473">
                  <c:v>-0.26884178712478835</c:v>
                </c:pt>
                <c:pt idx="474">
                  <c:v>-0.27268498835038935</c:v>
                </c:pt>
                <c:pt idx="475">
                  <c:v>-0.25218106961336617</c:v>
                </c:pt>
                <c:pt idx="476">
                  <c:v>-0.26727566767194033</c:v>
                </c:pt>
                <c:pt idx="477">
                  <c:v>-0.28239866724792106</c:v>
                </c:pt>
                <c:pt idx="478">
                  <c:v>-0.26034076366215153</c:v>
                </c:pt>
                <c:pt idx="479">
                  <c:v>-0.26490943836295522</c:v>
                </c:pt>
                <c:pt idx="480">
                  <c:v>-0.27080119468365405</c:v>
                </c:pt>
                <c:pt idx="481">
                  <c:v>-0.28241431396529992</c:v>
                </c:pt>
                <c:pt idx="482">
                  <c:v>-0.25865302706234961</c:v>
                </c:pt>
                <c:pt idx="483">
                  <c:v>-0.30640296624895547</c:v>
                </c:pt>
                <c:pt idx="484">
                  <c:v>-0.26322965267010567</c:v>
                </c:pt>
                <c:pt idx="485">
                  <c:v>-0.27768997771564441</c:v>
                </c:pt>
                <c:pt idx="486">
                  <c:v>-0.27181038480280839</c:v>
                </c:pt>
                <c:pt idx="487">
                  <c:v>-0.28495328743234505</c:v>
                </c:pt>
                <c:pt idx="488">
                  <c:v>-0.25891380073240988</c:v>
                </c:pt>
                <c:pt idx="489">
                  <c:v>-0.26154096502190238</c:v>
                </c:pt>
                <c:pt idx="490">
                  <c:v>-0.26003184878404229</c:v>
                </c:pt>
                <c:pt idx="491">
                  <c:v>-0.28062105545646454</c:v>
                </c:pt>
                <c:pt idx="492">
                  <c:v>-0.27401661113805442</c:v>
                </c:pt>
                <c:pt idx="493">
                  <c:v>-0.26544120991631537</c:v>
                </c:pt>
                <c:pt idx="494">
                  <c:v>-0.2714191461644081</c:v>
                </c:pt>
                <c:pt idx="495">
                  <c:v>-0.25420777215872326</c:v>
                </c:pt>
                <c:pt idx="496">
                  <c:v>-0.25537429806505896</c:v>
                </c:pt>
                <c:pt idx="497">
                  <c:v>-0.25141467054748379</c:v>
                </c:pt>
                <c:pt idx="498">
                  <c:v>-0.25100795951544086</c:v>
                </c:pt>
                <c:pt idx="499">
                  <c:v>-0.28313179788814591</c:v>
                </c:pt>
                <c:pt idx="500">
                  <c:v>-0.26346730552893483</c:v>
                </c:pt>
                <c:pt idx="501">
                  <c:v>-0.27589726411363691</c:v>
                </c:pt>
                <c:pt idx="502">
                  <c:v>-0.2679387349490181</c:v>
                </c:pt>
                <c:pt idx="503">
                  <c:v>-0.27760453100627436</c:v>
                </c:pt>
                <c:pt idx="504">
                  <c:v>-0.25428863116065192</c:v>
                </c:pt>
                <c:pt idx="505">
                  <c:v>-0.2642909927263033</c:v>
                </c:pt>
                <c:pt idx="506">
                  <c:v>-0.28327518357036685</c:v>
                </c:pt>
                <c:pt idx="507">
                  <c:v>-0.25502300217869395</c:v>
                </c:pt>
                <c:pt idx="508">
                  <c:v>-0.3030092414854354</c:v>
                </c:pt>
                <c:pt idx="509">
                  <c:v>-0.25793034746283228</c:v>
                </c:pt>
                <c:pt idx="510">
                  <c:v>-0.26038086037555652</c:v>
                </c:pt>
                <c:pt idx="511">
                  <c:v>-0.28176090109050411</c:v>
                </c:pt>
                <c:pt idx="512">
                  <c:v>-0.25501830903362677</c:v>
                </c:pt>
                <c:pt idx="513">
                  <c:v>-0.27790478774675498</c:v>
                </c:pt>
                <c:pt idx="514">
                  <c:v>-0.27566126943287372</c:v>
                </c:pt>
                <c:pt idx="515">
                  <c:v>-0.27404554610783594</c:v>
                </c:pt>
                <c:pt idx="516">
                  <c:v>-0.25291658913261994</c:v>
                </c:pt>
                <c:pt idx="517">
                  <c:v>-0.25511526429555698</c:v>
                </c:pt>
                <c:pt idx="518">
                  <c:v>-0.26620678161866351</c:v>
                </c:pt>
                <c:pt idx="519">
                  <c:v>-0.25380831939490334</c:v>
                </c:pt>
                <c:pt idx="520">
                  <c:v>-0.27089990443504952</c:v>
                </c:pt>
                <c:pt idx="521">
                  <c:v>-0.26978137202072161</c:v>
                </c:pt>
                <c:pt idx="522">
                  <c:v>-0.30737037953645829</c:v>
                </c:pt>
                <c:pt idx="523">
                  <c:v>-0.25384952250074494</c:v>
                </c:pt>
                <c:pt idx="524">
                  <c:v>-0.27996829894157105</c:v>
                </c:pt>
                <c:pt idx="525">
                  <c:v>-0.29195955264912543</c:v>
                </c:pt>
                <c:pt idx="526">
                  <c:v>-0.28908549119494953</c:v>
                </c:pt>
                <c:pt idx="527">
                  <c:v>-0.27084792070974273</c:v>
                </c:pt>
                <c:pt idx="528">
                  <c:v>-0.27256569061519131</c:v>
                </c:pt>
                <c:pt idx="529">
                  <c:v>-0.25809212941211324</c:v>
                </c:pt>
                <c:pt idx="530">
                  <c:v>-0.27828508466704782</c:v>
                </c:pt>
                <c:pt idx="531">
                  <c:v>-0.25220942391520496</c:v>
                </c:pt>
                <c:pt idx="532">
                  <c:v>-0.25414279519518523</c:v>
                </c:pt>
                <c:pt idx="533">
                  <c:v>-0.26175436265076191</c:v>
                </c:pt>
                <c:pt idx="534">
                  <c:v>-0.26380057163063042</c:v>
                </c:pt>
                <c:pt idx="535">
                  <c:v>-0.27306809973238033</c:v>
                </c:pt>
                <c:pt idx="536">
                  <c:v>-0.25200988150377468</c:v>
                </c:pt>
                <c:pt idx="537">
                  <c:v>-0.27506842573912293</c:v>
                </c:pt>
                <c:pt idx="538">
                  <c:v>-0.25186028483499179</c:v>
                </c:pt>
                <c:pt idx="539">
                  <c:v>-0.28680542674369724</c:v>
                </c:pt>
                <c:pt idx="540">
                  <c:v>-0.25658344239492936</c:v>
                </c:pt>
                <c:pt idx="541">
                  <c:v>-0.25533399775924925</c:v>
                </c:pt>
                <c:pt idx="542">
                  <c:v>-0.25424032928134926</c:v>
                </c:pt>
                <c:pt idx="543">
                  <c:v>-0.26197132677736579</c:v>
                </c:pt>
                <c:pt idx="544">
                  <c:v>-0.26401232128446206</c:v>
                </c:pt>
                <c:pt idx="545">
                  <c:v>-0.26931843447911397</c:v>
                </c:pt>
                <c:pt idx="546">
                  <c:v>-0.29005422324908536</c:v>
                </c:pt>
                <c:pt idx="547">
                  <c:v>-0.2911936232518173</c:v>
                </c:pt>
                <c:pt idx="548">
                  <c:v>-0.29985767913590622</c:v>
                </c:pt>
                <c:pt idx="549">
                  <c:v>-0.25152018851911673</c:v>
                </c:pt>
                <c:pt idx="550">
                  <c:v>-0.28231375175447104</c:v>
                </c:pt>
                <c:pt idx="551">
                  <c:v>-0.26182910393831982</c:v>
                </c:pt>
                <c:pt idx="552">
                  <c:v>-0.28503384513651986</c:v>
                </c:pt>
                <c:pt idx="553">
                  <c:v>-0.28121445650600374</c:v>
                </c:pt>
                <c:pt idx="554">
                  <c:v>-0.25324808734549631</c:v>
                </c:pt>
                <c:pt idx="555">
                  <c:v>-0.26001441702645567</c:v>
                </c:pt>
                <c:pt idx="556">
                  <c:v>-0.2833526104040901</c:v>
                </c:pt>
                <c:pt idx="557">
                  <c:v>-0.25297106486025411</c:v>
                </c:pt>
                <c:pt idx="558">
                  <c:v>-0.26405130311123115</c:v>
                </c:pt>
                <c:pt idx="559">
                  <c:v>-0.31631319775801703</c:v>
                </c:pt>
                <c:pt idx="560">
                  <c:v>-0.26315843130409777</c:v>
                </c:pt>
                <c:pt idx="561">
                  <c:v>-0.25281257344117125</c:v>
                </c:pt>
                <c:pt idx="562">
                  <c:v>-0.30130865916185456</c:v>
                </c:pt>
                <c:pt idx="563">
                  <c:v>-0.25273711244024022</c:v>
                </c:pt>
                <c:pt idx="564">
                  <c:v>-0.28042334877570119</c:v>
                </c:pt>
                <c:pt idx="565">
                  <c:v>-0.25592263117507863</c:v>
                </c:pt>
                <c:pt idx="566">
                  <c:v>-0.25348061525748988</c:v>
                </c:pt>
                <c:pt idx="567">
                  <c:v>-0.27536148007986583</c:v>
                </c:pt>
                <c:pt idx="568">
                  <c:v>-0.25257972038800752</c:v>
                </c:pt>
                <c:pt idx="569">
                  <c:v>-0.25994044044384401</c:v>
                </c:pt>
                <c:pt idx="570">
                  <c:v>-0.27002608343374346</c:v>
                </c:pt>
                <c:pt idx="571">
                  <c:v>-0.26922306937997509</c:v>
                </c:pt>
                <c:pt idx="572">
                  <c:v>-0.25468347420399262</c:v>
                </c:pt>
                <c:pt idx="573">
                  <c:v>-0.28676645297259307</c:v>
                </c:pt>
                <c:pt idx="574">
                  <c:v>-0.25468101017150213</c:v>
                </c:pt>
                <c:pt idx="575">
                  <c:v>-0.27673449774411929</c:v>
                </c:pt>
                <c:pt idx="576">
                  <c:v>-0.2711295824570612</c:v>
                </c:pt>
                <c:pt idx="577">
                  <c:v>-0.25166486104588848</c:v>
                </c:pt>
                <c:pt idx="578">
                  <c:v>-0.25171696871354809</c:v>
                </c:pt>
                <c:pt idx="579">
                  <c:v>-0.25034326378404492</c:v>
                </c:pt>
                <c:pt idx="580">
                  <c:v>-0.25312935852787866</c:v>
                </c:pt>
                <c:pt idx="581">
                  <c:v>-0.25216937091997649</c:v>
                </c:pt>
                <c:pt idx="582">
                  <c:v>-0.27419329331384523</c:v>
                </c:pt>
                <c:pt idx="583">
                  <c:v>-0.25396508358316117</c:v>
                </c:pt>
                <c:pt idx="584">
                  <c:v>-0.2545831223384033</c:v>
                </c:pt>
                <c:pt idx="585">
                  <c:v>-0.2618736381542851</c:v>
                </c:pt>
                <c:pt idx="586">
                  <c:v>-0.28896451774870457</c:v>
                </c:pt>
                <c:pt idx="587">
                  <c:v>-0.25411608455342677</c:v>
                </c:pt>
                <c:pt idx="588">
                  <c:v>-0.27604991317230609</c:v>
                </c:pt>
                <c:pt idx="589">
                  <c:v>-0.25460597857913081</c:v>
                </c:pt>
                <c:pt idx="590">
                  <c:v>-0.27457513318861715</c:v>
                </c:pt>
                <c:pt idx="591">
                  <c:v>-0.25274081497301093</c:v>
                </c:pt>
                <c:pt idx="592">
                  <c:v>-0.2631461969290475</c:v>
                </c:pt>
                <c:pt idx="593">
                  <c:v>-0.26164995416640413</c:v>
                </c:pt>
                <c:pt idx="594">
                  <c:v>-0.26007829311252728</c:v>
                </c:pt>
                <c:pt idx="595">
                  <c:v>-0.25583126954771951</c:v>
                </c:pt>
                <c:pt idx="596">
                  <c:v>-0.25397073239283618</c:v>
                </c:pt>
                <c:pt idx="597">
                  <c:v>-0.25370702759790803</c:v>
                </c:pt>
                <c:pt idx="598">
                  <c:v>-0.26644028620933857</c:v>
                </c:pt>
                <c:pt idx="599">
                  <c:v>-0.28015071279903503</c:v>
                </c:pt>
                <c:pt idx="600">
                  <c:v>-0.28112630727564458</c:v>
                </c:pt>
                <c:pt idx="601">
                  <c:v>-0.25171127775446689</c:v>
                </c:pt>
                <c:pt idx="602">
                  <c:v>-0.26238708121253218</c:v>
                </c:pt>
                <c:pt idx="603">
                  <c:v>-0.29995919211398225</c:v>
                </c:pt>
                <c:pt idx="604">
                  <c:v>-0.25402411761484989</c:v>
                </c:pt>
                <c:pt idx="605">
                  <c:v>-0.26113627222825031</c:v>
                </c:pt>
                <c:pt idx="606">
                  <c:v>-0.2590075359030104</c:v>
                </c:pt>
                <c:pt idx="607">
                  <c:v>-0.27312989522264952</c:v>
                </c:pt>
                <c:pt idx="608">
                  <c:v>-0.27694683151227506</c:v>
                </c:pt>
                <c:pt idx="609">
                  <c:v>-0.25700797616696569</c:v>
                </c:pt>
                <c:pt idx="610">
                  <c:v>-0.2563655759986051</c:v>
                </c:pt>
                <c:pt idx="611">
                  <c:v>-0.25546179767339339</c:v>
                </c:pt>
                <c:pt idx="612">
                  <c:v>-0.25658214272830415</c:v>
                </c:pt>
                <c:pt idx="613">
                  <c:v>-0.25378862589841655</c:v>
                </c:pt>
                <c:pt idx="614">
                  <c:v>-0.25677798478477876</c:v>
                </c:pt>
                <c:pt idx="615">
                  <c:v>-0.25398466979618589</c:v>
                </c:pt>
                <c:pt idx="616">
                  <c:v>-0.2536949813979209</c:v>
                </c:pt>
                <c:pt idx="617">
                  <c:v>-0.31886307657230195</c:v>
                </c:pt>
                <c:pt idx="618">
                  <c:v>-0.26672694146145437</c:v>
                </c:pt>
                <c:pt idx="619">
                  <c:v>-0.28620523541183485</c:v>
                </c:pt>
                <c:pt idx="620">
                  <c:v>-0.25958431493414369</c:v>
                </c:pt>
                <c:pt idx="621">
                  <c:v>-0.2611268311513586</c:v>
                </c:pt>
                <c:pt idx="622">
                  <c:v>-0.27050862920591801</c:v>
                </c:pt>
                <c:pt idx="623">
                  <c:v>-0.27650184097207731</c:v>
                </c:pt>
                <c:pt idx="624">
                  <c:v>-0.25228428695697747</c:v>
                </c:pt>
                <c:pt idx="625">
                  <c:v>-0.25691553179658388</c:v>
                </c:pt>
                <c:pt idx="626">
                  <c:v>-0.26365840678333174</c:v>
                </c:pt>
                <c:pt idx="627">
                  <c:v>-0.29259034755213476</c:v>
                </c:pt>
                <c:pt idx="628">
                  <c:v>-0.26007617782563697</c:v>
                </c:pt>
                <c:pt idx="629">
                  <c:v>-0.29273161617575416</c:v>
                </c:pt>
                <c:pt idx="630">
                  <c:v>-0.27640292847719283</c:v>
                </c:pt>
                <c:pt idx="631">
                  <c:v>-0.30633698263104914</c:v>
                </c:pt>
                <c:pt idx="632">
                  <c:v>-0.25133572936672199</c:v>
                </c:pt>
                <c:pt idx="633">
                  <c:v>-0.280975988827593</c:v>
                </c:pt>
                <c:pt idx="634">
                  <c:v>-0.26622230778716016</c:v>
                </c:pt>
                <c:pt idx="635">
                  <c:v>-0.26052851084996198</c:v>
                </c:pt>
                <c:pt idx="636">
                  <c:v>-0.2535055749373033</c:v>
                </c:pt>
                <c:pt idx="637">
                  <c:v>-0.28365447775963559</c:v>
                </c:pt>
                <c:pt idx="638">
                  <c:v>-0.25164052402961218</c:v>
                </c:pt>
                <c:pt idx="639">
                  <c:v>-0.27566623661621381</c:v>
                </c:pt>
                <c:pt idx="640">
                  <c:v>-0.26470372907229889</c:v>
                </c:pt>
                <c:pt idx="641">
                  <c:v>-0.28085097144281013</c:v>
                </c:pt>
                <c:pt idx="642">
                  <c:v>-0.26018292052322489</c:v>
                </c:pt>
                <c:pt idx="643">
                  <c:v>-0.28646544310106714</c:v>
                </c:pt>
                <c:pt idx="644">
                  <c:v>-0.27053989764370145</c:v>
                </c:pt>
                <c:pt idx="645">
                  <c:v>-0.25353488721436301</c:v>
                </c:pt>
                <c:pt idx="646">
                  <c:v>-0.25157718517584782</c:v>
                </c:pt>
                <c:pt idx="647">
                  <c:v>-0.28340499973740207</c:v>
                </c:pt>
                <c:pt idx="648">
                  <c:v>-0.25156538423928287</c:v>
                </c:pt>
                <c:pt idx="649">
                  <c:v>-0.25203459698589481</c:v>
                </c:pt>
                <c:pt idx="650">
                  <c:v>-0.25290419200317615</c:v>
                </c:pt>
                <c:pt idx="651">
                  <c:v>-0.26121581712367903</c:v>
                </c:pt>
                <c:pt idx="652">
                  <c:v>-0.27876776185702179</c:v>
                </c:pt>
                <c:pt idx="653">
                  <c:v>-0.25385174604651239</c:v>
                </c:pt>
                <c:pt idx="654">
                  <c:v>-0.31378855883855827</c:v>
                </c:pt>
                <c:pt idx="655">
                  <c:v>-0.33551528353710003</c:v>
                </c:pt>
                <c:pt idx="656">
                  <c:v>-0.25184969054962958</c:v>
                </c:pt>
                <c:pt idx="657">
                  <c:v>-0.25108691463496358</c:v>
                </c:pt>
                <c:pt idx="658">
                  <c:v>-0.25105742659609054</c:v>
                </c:pt>
                <c:pt idx="659">
                  <c:v>-0.25382276129784564</c:v>
                </c:pt>
                <c:pt idx="660">
                  <c:v>-0.25103665345908538</c:v>
                </c:pt>
                <c:pt idx="661">
                  <c:v>-0.25170844592227604</c:v>
                </c:pt>
                <c:pt idx="662">
                  <c:v>-0.25166778764964004</c:v>
                </c:pt>
                <c:pt idx="663">
                  <c:v>-0.28173068036687299</c:v>
                </c:pt>
                <c:pt idx="664">
                  <c:v>-0.26126033307370178</c:v>
                </c:pt>
                <c:pt idx="665">
                  <c:v>-0.26261842121141299</c:v>
                </c:pt>
                <c:pt idx="666">
                  <c:v>-0.26356410691890475</c:v>
                </c:pt>
                <c:pt idx="667">
                  <c:v>-0.26433695574317861</c:v>
                </c:pt>
                <c:pt idx="668">
                  <c:v>-0.25117685334645123</c:v>
                </c:pt>
                <c:pt idx="669">
                  <c:v>-0.27496112504740122</c:v>
                </c:pt>
                <c:pt idx="670">
                  <c:v>-0.2530005632059017</c:v>
                </c:pt>
                <c:pt idx="671">
                  <c:v>-0.2789504641236159</c:v>
                </c:pt>
                <c:pt idx="672">
                  <c:v>-0.25433207227383969</c:v>
                </c:pt>
                <c:pt idx="673">
                  <c:v>-0.26887793999322573</c:v>
                </c:pt>
                <c:pt idx="674">
                  <c:v>-0.2912261010614835</c:v>
                </c:pt>
                <c:pt idx="675">
                  <c:v>-0.25141240334124682</c:v>
                </c:pt>
                <c:pt idx="676">
                  <c:v>-0.25174097436923282</c:v>
                </c:pt>
                <c:pt idx="677">
                  <c:v>-0.27266101173485635</c:v>
                </c:pt>
                <c:pt idx="678">
                  <c:v>-0.25219198195000087</c:v>
                </c:pt>
                <c:pt idx="679">
                  <c:v>-0.26452627096352388</c:v>
                </c:pt>
                <c:pt idx="680">
                  <c:v>-0.26245814271777068</c:v>
                </c:pt>
                <c:pt idx="681">
                  <c:v>-0.30144172746485143</c:v>
                </c:pt>
                <c:pt idx="682">
                  <c:v>-0.26120251336633238</c:v>
                </c:pt>
                <c:pt idx="683">
                  <c:v>-0.26732976522176644</c:v>
                </c:pt>
                <c:pt idx="684">
                  <c:v>-0.27272772268758394</c:v>
                </c:pt>
                <c:pt idx="685">
                  <c:v>-0.26591341365774457</c:v>
                </c:pt>
                <c:pt idx="686">
                  <c:v>-0.2613050763411322</c:v>
                </c:pt>
                <c:pt idx="687">
                  <c:v>-0.2545524014455175</c:v>
                </c:pt>
                <c:pt idx="688">
                  <c:v>-0.24950690218384927</c:v>
                </c:pt>
                <c:pt idx="689">
                  <c:v>-0.26537252701821623</c:v>
                </c:pt>
                <c:pt idx="690">
                  <c:v>-0.25590770283692588</c:v>
                </c:pt>
                <c:pt idx="691">
                  <c:v>-0.25445051620346704</c:v>
                </c:pt>
                <c:pt idx="692">
                  <c:v>-0.29383677481254933</c:v>
                </c:pt>
                <c:pt idx="693">
                  <c:v>-0.27034655342917502</c:v>
                </c:pt>
                <c:pt idx="694">
                  <c:v>-0.27865194836784801</c:v>
                </c:pt>
                <c:pt idx="695">
                  <c:v>-0.25444561875252381</c:v>
                </c:pt>
                <c:pt idx="696">
                  <c:v>-0.28523955846305493</c:v>
                </c:pt>
                <c:pt idx="697">
                  <c:v>-0.25157952080438006</c:v>
                </c:pt>
                <c:pt idx="698">
                  <c:v>-0.27979388148762507</c:v>
                </c:pt>
                <c:pt idx="699">
                  <c:v>-0.28323038368937115</c:v>
                </c:pt>
                <c:pt idx="700">
                  <c:v>-0.2551568648911835</c:v>
                </c:pt>
                <c:pt idx="701">
                  <c:v>-0.26875296621066103</c:v>
                </c:pt>
                <c:pt idx="702">
                  <c:v>-0.29669205398503906</c:v>
                </c:pt>
                <c:pt idx="703">
                  <c:v>-0.28623379742068322</c:v>
                </c:pt>
                <c:pt idx="704">
                  <c:v>-0.25171347847727499</c:v>
                </c:pt>
                <c:pt idx="705">
                  <c:v>-0.29568309180884722</c:v>
                </c:pt>
                <c:pt idx="706">
                  <c:v>-0.26818246798724399</c:v>
                </c:pt>
                <c:pt idx="707">
                  <c:v>-0.27018473186420855</c:v>
                </c:pt>
                <c:pt idx="708">
                  <c:v>-0.30985791140426511</c:v>
                </c:pt>
                <c:pt idx="709">
                  <c:v>-0.25184936428740012</c:v>
                </c:pt>
                <c:pt idx="710">
                  <c:v>-0.252702367836386</c:v>
                </c:pt>
                <c:pt idx="711">
                  <c:v>-0.32417016137355925</c:v>
                </c:pt>
                <c:pt idx="712">
                  <c:v>-0.25169485865817354</c:v>
                </c:pt>
                <c:pt idx="713">
                  <c:v>-0.27460869608500682</c:v>
                </c:pt>
                <c:pt idx="714">
                  <c:v>-0.25326549484927002</c:v>
                </c:pt>
                <c:pt idx="715">
                  <c:v>-0.26357409744624849</c:v>
                </c:pt>
                <c:pt idx="716">
                  <c:v>-0.27856766787713039</c:v>
                </c:pt>
                <c:pt idx="717">
                  <c:v>-0.28214047042953294</c:v>
                </c:pt>
                <c:pt idx="718">
                  <c:v>-0.25475611021220085</c:v>
                </c:pt>
                <c:pt idx="719">
                  <c:v>-0.26368904970236517</c:v>
                </c:pt>
                <c:pt idx="720">
                  <c:v>-0.28659907344872915</c:v>
                </c:pt>
                <c:pt idx="721">
                  <c:v>-0.25293265425180933</c:v>
                </c:pt>
                <c:pt idx="722">
                  <c:v>-0.2627196235126088</c:v>
                </c:pt>
                <c:pt idx="723">
                  <c:v>-0.28477026419566887</c:v>
                </c:pt>
                <c:pt idx="724">
                  <c:v>-0.25726272784954229</c:v>
                </c:pt>
                <c:pt idx="725">
                  <c:v>-0.25346999968968575</c:v>
                </c:pt>
                <c:pt idx="726">
                  <c:v>-0.28382148522114048</c:v>
                </c:pt>
                <c:pt idx="727">
                  <c:v>-0.25112334850076784</c:v>
                </c:pt>
                <c:pt idx="728">
                  <c:v>-0.27617402856897189</c:v>
                </c:pt>
                <c:pt idx="729">
                  <c:v>-0.27280032098587148</c:v>
                </c:pt>
                <c:pt idx="730">
                  <c:v>-0.27054483495674808</c:v>
                </c:pt>
                <c:pt idx="731">
                  <c:v>-0.27627255729831524</c:v>
                </c:pt>
                <c:pt idx="732">
                  <c:v>-0.3062071403975829</c:v>
                </c:pt>
                <c:pt idx="733">
                  <c:v>-0.25106217054963176</c:v>
                </c:pt>
                <c:pt idx="734">
                  <c:v>-0.28629475949359751</c:v>
                </c:pt>
                <c:pt idx="735">
                  <c:v>-0.2509160044691342</c:v>
                </c:pt>
                <c:pt idx="736">
                  <c:v>-0.29574594880244121</c:v>
                </c:pt>
                <c:pt idx="737">
                  <c:v>-0.25120051671324845</c:v>
                </c:pt>
                <c:pt idx="738">
                  <c:v>-0.25089932535980625</c:v>
                </c:pt>
                <c:pt idx="739">
                  <c:v>-0.26378318647544008</c:v>
                </c:pt>
                <c:pt idx="740">
                  <c:v>-0.28684271245665638</c:v>
                </c:pt>
                <c:pt idx="741">
                  <c:v>-0.25576130636650146</c:v>
                </c:pt>
                <c:pt idx="742">
                  <c:v>-0.26406622010599579</c:v>
                </c:pt>
                <c:pt idx="743">
                  <c:v>-0.26127230637215193</c:v>
                </c:pt>
                <c:pt idx="744">
                  <c:v>-0.25332480965874171</c:v>
                </c:pt>
                <c:pt idx="745">
                  <c:v>-0.27298633297429675</c:v>
                </c:pt>
                <c:pt idx="746">
                  <c:v>-0.26301940848123673</c:v>
                </c:pt>
                <c:pt idx="747">
                  <c:v>-0.29200994465100405</c:v>
                </c:pt>
                <c:pt idx="748">
                  <c:v>-0.25480755814877498</c:v>
                </c:pt>
                <c:pt idx="749">
                  <c:v>-0.28088740582959781</c:v>
                </c:pt>
                <c:pt idx="750">
                  <c:v>-0.25584184832315293</c:v>
                </c:pt>
                <c:pt idx="751">
                  <c:v>-0.25614057291785386</c:v>
                </c:pt>
                <c:pt idx="752">
                  <c:v>-0.2646023733810452</c:v>
                </c:pt>
                <c:pt idx="753">
                  <c:v>-0.26279785707825587</c:v>
                </c:pt>
                <c:pt idx="754">
                  <c:v>-0.2593820009177511</c:v>
                </c:pt>
                <c:pt idx="755">
                  <c:v>-0.25075121234837416</c:v>
                </c:pt>
                <c:pt idx="756">
                  <c:v>-0.31040269619938277</c:v>
                </c:pt>
                <c:pt idx="757">
                  <c:v>-0.27420904886292941</c:v>
                </c:pt>
                <c:pt idx="758">
                  <c:v>-0.29867117162930901</c:v>
                </c:pt>
                <c:pt idx="759">
                  <c:v>-0.25379903260252867</c:v>
                </c:pt>
                <c:pt idx="760">
                  <c:v>-0.27913304483515833</c:v>
                </c:pt>
                <c:pt idx="761">
                  <c:v>-0.26634467643430915</c:v>
                </c:pt>
                <c:pt idx="762">
                  <c:v>-0.25283773289993894</c:v>
                </c:pt>
                <c:pt idx="763">
                  <c:v>-0.27630250197379114</c:v>
                </c:pt>
                <c:pt idx="764">
                  <c:v>-0.25226831367447355</c:v>
                </c:pt>
                <c:pt idx="765">
                  <c:v>-0.25619851752472134</c:v>
                </c:pt>
                <c:pt idx="766">
                  <c:v>-0.25402439268336419</c:v>
                </c:pt>
                <c:pt idx="767">
                  <c:v>-0.26063285447576678</c:v>
                </c:pt>
                <c:pt idx="768">
                  <c:v>-0.2718187731374957</c:v>
                </c:pt>
                <c:pt idx="769">
                  <c:v>-0.25117483584505623</c:v>
                </c:pt>
                <c:pt idx="770">
                  <c:v>-0.25454889444080953</c:v>
                </c:pt>
                <c:pt idx="771">
                  <c:v>-0.25951390517960626</c:v>
                </c:pt>
                <c:pt idx="772">
                  <c:v>-0.25836708979302414</c:v>
                </c:pt>
                <c:pt idx="773">
                  <c:v>-0.25076858963487736</c:v>
                </c:pt>
                <c:pt idx="774">
                  <c:v>-0.26379807024038204</c:v>
                </c:pt>
                <c:pt idx="775">
                  <c:v>-0.26078879773189445</c:v>
                </c:pt>
                <c:pt idx="776">
                  <c:v>-0.28485092108539301</c:v>
                </c:pt>
                <c:pt idx="777">
                  <c:v>-0.25247997196038885</c:v>
                </c:pt>
                <c:pt idx="778">
                  <c:v>-0.26564096057036723</c:v>
                </c:pt>
                <c:pt idx="779">
                  <c:v>-0.27680358298476637</c:v>
                </c:pt>
                <c:pt idx="780">
                  <c:v>-0.25889792040459503</c:v>
                </c:pt>
                <c:pt idx="781">
                  <c:v>-0.2709277616984469</c:v>
                </c:pt>
                <c:pt idx="782">
                  <c:v>-0.26247373640974714</c:v>
                </c:pt>
                <c:pt idx="783">
                  <c:v>-0.29183490748862406</c:v>
                </c:pt>
                <c:pt idx="784">
                  <c:v>-0.25072597501210803</c:v>
                </c:pt>
                <c:pt idx="785">
                  <c:v>-0.26457547149345151</c:v>
                </c:pt>
                <c:pt idx="786">
                  <c:v>-0.27033668596931903</c:v>
                </c:pt>
                <c:pt idx="787">
                  <c:v>-0.26803668695779381</c:v>
                </c:pt>
                <c:pt idx="788">
                  <c:v>-0.28292867228563978</c:v>
                </c:pt>
                <c:pt idx="789">
                  <c:v>-0.26144373249205832</c:v>
                </c:pt>
                <c:pt idx="790">
                  <c:v>-0.27232429935778779</c:v>
                </c:pt>
                <c:pt idx="791">
                  <c:v>-0.3327667886141874</c:v>
                </c:pt>
                <c:pt idx="792">
                  <c:v>-0.27805249422858447</c:v>
                </c:pt>
                <c:pt idx="793">
                  <c:v>-0.26440591995856044</c:v>
                </c:pt>
                <c:pt idx="794">
                  <c:v>-0.25054452019164819</c:v>
                </c:pt>
                <c:pt idx="795">
                  <c:v>-0.25991714126650067</c:v>
                </c:pt>
                <c:pt idx="796">
                  <c:v>-0.26977999557073851</c:v>
                </c:pt>
                <c:pt idx="797">
                  <c:v>-0.27275005257039209</c:v>
                </c:pt>
                <c:pt idx="798">
                  <c:v>-0.25069542087729157</c:v>
                </c:pt>
                <c:pt idx="799">
                  <c:v>-0.27347003792332236</c:v>
                </c:pt>
                <c:pt idx="800">
                  <c:v>-0.25069815870826428</c:v>
                </c:pt>
                <c:pt idx="801">
                  <c:v>-0.28407561341714482</c:v>
                </c:pt>
                <c:pt idx="802">
                  <c:v>-0.2601600944889485</c:v>
                </c:pt>
                <c:pt idx="803">
                  <c:v>-0.27219523369035226</c:v>
                </c:pt>
                <c:pt idx="804">
                  <c:v>-0.25086607786257065</c:v>
                </c:pt>
                <c:pt idx="805">
                  <c:v>-0.27594742378129411</c:v>
                </c:pt>
                <c:pt idx="806">
                  <c:v>-0.25418025236108055</c:v>
                </c:pt>
                <c:pt idx="807">
                  <c:v>-0.25094261337131996</c:v>
                </c:pt>
                <c:pt idx="808">
                  <c:v>-0.32764687632447964</c:v>
                </c:pt>
                <c:pt idx="809">
                  <c:v>-0.27508980708147235</c:v>
                </c:pt>
                <c:pt idx="810">
                  <c:v>-0.26538643785030458</c:v>
                </c:pt>
                <c:pt idx="811">
                  <c:v>-0.29131506098465176</c:v>
                </c:pt>
                <c:pt idx="812">
                  <c:v>-0.25208597866066013</c:v>
                </c:pt>
                <c:pt idx="813">
                  <c:v>-0.27631601254776927</c:v>
                </c:pt>
                <c:pt idx="814">
                  <c:v>-0.25098440422619106</c:v>
                </c:pt>
                <c:pt idx="815">
                  <c:v>-0.28728204081204212</c:v>
                </c:pt>
                <c:pt idx="816">
                  <c:v>-0.26021561783524616</c:v>
                </c:pt>
                <c:pt idx="817">
                  <c:v>-0.26576307046210157</c:v>
                </c:pt>
                <c:pt idx="818">
                  <c:v>-0.25130688187146488</c:v>
                </c:pt>
                <c:pt idx="819">
                  <c:v>-0.2735515934682301</c:v>
                </c:pt>
                <c:pt idx="820">
                  <c:v>-0.25151458573845986</c:v>
                </c:pt>
                <c:pt idx="821">
                  <c:v>-0.2645605693702664</c:v>
                </c:pt>
                <c:pt idx="822">
                  <c:v>-0.28394495157012778</c:v>
                </c:pt>
                <c:pt idx="823">
                  <c:v>-0.25143554134371715</c:v>
                </c:pt>
                <c:pt idx="824">
                  <c:v>-0.27839100490905755</c:v>
                </c:pt>
                <c:pt idx="825">
                  <c:v>-0.2590710879438588</c:v>
                </c:pt>
                <c:pt idx="826">
                  <c:v>-0.30963946305379331</c:v>
                </c:pt>
                <c:pt idx="827">
                  <c:v>-0.28558089631763728</c:v>
                </c:pt>
                <c:pt idx="828">
                  <c:v>-0.31394418349994646</c:v>
                </c:pt>
                <c:pt idx="829">
                  <c:v>-0.25265009638454961</c:v>
                </c:pt>
                <c:pt idx="830">
                  <c:v>-0.25504393321967</c:v>
                </c:pt>
                <c:pt idx="831">
                  <c:v>-0.26319116371716744</c:v>
                </c:pt>
                <c:pt idx="832">
                  <c:v>-0.27223806723148991</c:v>
                </c:pt>
                <c:pt idx="833">
                  <c:v>-0.26268119987916638</c:v>
                </c:pt>
                <c:pt idx="834">
                  <c:v>-0.2642300865158107</c:v>
                </c:pt>
                <c:pt idx="835">
                  <c:v>-0.26362590977220601</c:v>
                </c:pt>
                <c:pt idx="836">
                  <c:v>-0.26075029005249029</c:v>
                </c:pt>
                <c:pt idx="837">
                  <c:v>-0.25938197503810856</c:v>
                </c:pt>
                <c:pt idx="838">
                  <c:v>-0.28375522916909246</c:v>
                </c:pt>
                <c:pt idx="839">
                  <c:v>-0.25072124695370146</c:v>
                </c:pt>
                <c:pt idx="840">
                  <c:v>-0.27008003614592679</c:v>
                </c:pt>
                <c:pt idx="841">
                  <c:v>-0.26902880930232387</c:v>
                </c:pt>
                <c:pt idx="842">
                  <c:v>-0.27435609579570797</c:v>
                </c:pt>
                <c:pt idx="843">
                  <c:v>-0.28019735341715979</c:v>
                </c:pt>
                <c:pt idx="844">
                  <c:v>-0.26359527601220334</c:v>
                </c:pt>
                <c:pt idx="845">
                  <c:v>-0.28855578080521882</c:v>
                </c:pt>
                <c:pt idx="846">
                  <c:v>-0.25372457822728267</c:v>
                </c:pt>
                <c:pt idx="847">
                  <c:v>-0.26205383244276015</c:v>
                </c:pt>
                <c:pt idx="848">
                  <c:v>-0.27273039946327771</c:v>
                </c:pt>
                <c:pt idx="849">
                  <c:v>-0.25974300455375632</c:v>
                </c:pt>
                <c:pt idx="850">
                  <c:v>-0.26053998595171468</c:v>
                </c:pt>
                <c:pt idx="851">
                  <c:v>-0.26257038704998736</c:v>
                </c:pt>
                <c:pt idx="852">
                  <c:v>-0.26181961900038375</c:v>
                </c:pt>
                <c:pt idx="853">
                  <c:v>-0.26340123016256822</c:v>
                </c:pt>
                <c:pt idx="854">
                  <c:v>-0.26543158510793607</c:v>
                </c:pt>
                <c:pt idx="855">
                  <c:v>-0.25096700802631755</c:v>
                </c:pt>
                <c:pt idx="856">
                  <c:v>-0.27889790037748052</c:v>
                </c:pt>
                <c:pt idx="857">
                  <c:v>-0.25097957358136591</c:v>
                </c:pt>
                <c:pt idx="858">
                  <c:v>-0.26746743838193199</c:v>
                </c:pt>
                <c:pt idx="859">
                  <c:v>-0.29296293281367602</c:v>
                </c:pt>
                <c:pt idx="860">
                  <c:v>-0.27711976637466651</c:v>
                </c:pt>
                <c:pt idx="861">
                  <c:v>-0.2601362723257763</c:v>
                </c:pt>
                <c:pt idx="862">
                  <c:v>-0.26524214525751377</c:v>
                </c:pt>
                <c:pt idx="863">
                  <c:v>-0.2638806374640269</c:v>
                </c:pt>
                <c:pt idx="864">
                  <c:v>-0.26613794232453503</c:v>
                </c:pt>
                <c:pt idx="865">
                  <c:v>-0.25196809597462966</c:v>
                </c:pt>
                <c:pt idx="866">
                  <c:v>-0.29801863340660462</c:v>
                </c:pt>
                <c:pt idx="867">
                  <c:v>-0.25990232473033192</c:v>
                </c:pt>
                <c:pt idx="868">
                  <c:v>-0.26032963009106713</c:v>
                </c:pt>
                <c:pt idx="869">
                  <c:v>-0.27666393690910807</c:v>
                </c:pt>
                <c:pt idx="870">
                  <c:v>-0.28697923017314897</c:v>
                </c:pt>
                <c:pt idx="871">
                  <c:v>-0.25332075893009331</c:v>
                </c:pt>
                <c:pt idx="872">
                  <c:v>-0.29400406132364887</c:v>
                </c:pt>
                <c:pt idx="873">
                  <c:v>-0.26091851013942269</c:v>
                </c:pt>
                <c:pt idx="874">
                  <c:v>-0.25190707492023479</c:v>
                </c:pt>
                <c:pt idx="875">
                  <c:v>-0.28299123835306472</c:v>
                </c:pt>
                <c:pt idx="876">
                  <c:v>-0.25821302538800839</c:v>
                </c:pt>
                <c:pt idx="877">
                  <c:v>-0.25651899410806317</c:v>
                </c:pt>
                <c:pt idx="878">
                  <c:v>-0.25177807816939607</c:v>
                </c:pt>
                <c:pt idx="879">
                  <c:v>-0.28414967730919505</c:v>
                </c:pt>
                <c:pt idx="880">
                  <c:v>-0.26166310503726098</c:v>
                </c:pt>
                <c:pt idx="881">
                  <c:v>-0.2590841847711054</c:v>
                </c:pt>
                <c:pt idx="882">
                  <c:v>-0.25689270535658165</c:v>
                </c:pt>
                <c:pt idx="883">
                  <c:v>-0.25271887559406286</c:v>
                </c:pt>
                <c:pt idx="884">
                  <c:v>-0.28643179823299869</c:v>
                </c:pt>
                <c:pt idx="885">
                  <c:v>-0.25309508502537603</c:v>
                </c:pt>
                <c:pt idx="886">
                  <c:v>-0.289135535625616</c:v>
                </c:pt>
                <c:pt idx="887">
                  <c:v>-0.25225405336066853</c:v>
                </c:pt>
                <c:pt idx="888">
                  <c:v>-0.26303516799937721</c:v>
                </c:pt>
                <c:pt idx="889">
                  <c:v>-0.26360974156544925</c:v>
                </c:pt>
                <c:pt idx="890">
                  <c:v>-0.26714624216726457</c:v>
                </c:pt>
                <c:pt idx="891">
                  <c:v>-0.28721151919889809</c:v>
                </c:pt>
                <c:pt idx="892">
                  <c:v>-0.25326658373700134</c:v>
                </c:pt>
                <c:pt idx="893">
                  <c:v>-0.27676121356214212</c:v>
                </c:pt>
                <c:pt idx="894">
                  <c:v>-0.25355851710517224</c:v>
                </c:pt>
                <c:pt idx="895">
                  <c:v>-0.25256395759626754</c:v>
                </c:pt>
                <c:pt idx="896">
                  <c:v>-0.25298687047655538</c:v>
                </c:pt>
                <c:pt idx="897">
                  <c:v>-0.25145239276482872</c:v>
                </c:pt>
                <c:pt idx="898">
                  <c:v>-0.25122521327685132</c:v>
                </c:pt>
                <c:pt idx="899">
                  <c:v>-0.27498496517273219</c:v>
                </c:pt>
                <c:pt idx="900">
                  <c:v>-0.25114305640847029</c:v>
                </c:pt>
                <c:pt idx="901">
                  <c:v>-0.2596500227664692</c:v>
                </c:pt>
                <c:pt idx="902">
                  <c:v>-0.26235509919551092</c:v>
                </c:pt>
                <c:pt idx="903">
                  <c:v>-0.26410763499682999</c:v>
                </c:pt>
                <c:pt idx="904">
                  <c:v>-0.26532838419294424</c:v>
                </c:pt>
                <c:pt idx="905">
                  <c:v>-0.30168575757481542</c:v>
                </c:pt>
                <c:pt idx="906">
                  <c:v>-0.26485266386357786</c:v>
                </c:pt>
                <c:pt idx="907">
                  <c:v>-0.25987034511894225</c:v>
                </c:pt>
                <c:pt idx="908">
                  <c:v>-0.278895644335864</c:v>
                </c:pt>
                <c:pt idx="909">
                  <c:v>-0.25006042111899718</c:v>
                </c:pt>
                <c:pt idx="910">
                  <c:v>-0.25321474036311398</c:v>
                </c:pt>
                <c:pt idx="911">
                  <c:v>-0.25905075940224565</c:v>
                </c:pt>
                <c:pt idx="912">
                  <c:v>-0.25999143286863857</c:v>
                </c:pt>
                <c:pt idx="913">
                  <c:v>-0.25762471701493461</c:v>
                </c:pt>
                <c:pt idx="914">
                  <c:v>-0.28022983894590692</c:v>
                </c:pt>
                <c:pt idx="915">
                  <c:v>-0.25514059779091686</c:v>
                </c:pt>
                <c:pt idx="916">
                  <c:v>-0.25499869899497174</c:v>
                </c:pt>
                <c:pt idx="917">
                  <c:v>-0.25151105549132297</c:v>
                </c:pt>
                <c:pt idx="918">
                  <c:v>-0.25174090168787289</c:v>
                </c:pt>
                <c:pt idx="919">
                  <c:v>-0.28130152642003436</c:v>
                </c:pt>
                <c:pt idx="920">
                  <c:v>-0.25225371136315244</c:v>
                </c:pt>
                <c:pt idx="921">
                  <c:v>-0.26759733658999407</c:v>
                </c:pt>
                <c:pt idx="922">
                  <c:v>-0.28654457646793108</c:v>
                </c:pt>
                <c:pt idx="923">
                  <c:v>-0.25229523521204628</c:v>
                </c:pt>
                <c:pt idx="924">
                  <c:v>-0.27299446035894381</c:v>
                </c:pt>
                <c:pt idx="925">
                  <c:v>-0.25249530976581758</c:v>
                </c:pt>
                <c:pt idx="926">
                  <c:v>-0.25196737903002658</c:v>
                </c:pt>
                <c:pt idx="927">
                  <c:v>-0.29545648632469468</c:v>
                </c:pt>
                <c:pt idx="928">
                  <c:v>-0.25947123074398215</c:v>
                </c:pt>
                <c:pt idx="929">
                  <c:v>-0.27658957340929535</c:v>
                </c:pt>
                <c:pt idx="930">
                  <c:v>-0.26234057292518664</c:v>
                </c:pt>
                <c:pt idx="931">
                  <c:v>-0.28978888134467518</c:v>
                </c:pt>
                <c:pt idx="932">
                  <c:v>-0.2549147830331045</c:v>
                </c:pt>
                <c:pt idx="933">
                  <c:v>-0.29031457751391931</c:v>
                </c:pt>
                <c:pt idx="934">
                  <c:v>-0.25334399508380989</c:v>
                </c:pt>
                <c:pt idx="935">
                  <c:v>-0.26253286914091911</c:v>
                </c:pt>
                <c:pt idx="936">
                  <c:v>-0.27402142295028564</c:v>
                </c:pt>
                <c:pt idx="937">
                  <c:v>-0.27886434029770302</c:v>
                </c:pt>
                <c:pt idx="938">
                  <c:v>-0.25155142328617608</c:v>
                </c:pt>
                <c:pt idx="939">
                  <c:v>-0.27183760833761583</c:v>
                </c:pt>
                <c:pt idx="940">
                  <c:v>-0.27863832732040705</c:v>
                </c:pt>
                <c:pt idx="941">
                  <c:v>-0.24980661541372529</c:v>
                </c:pt>
                <c:pt idx="942">
                  <c:v>-0.26494539835686615</c:v>
                </c:pt>
                <c:pt idx="943">
                  <c:v>-0.27883198362595552</c:v>
                </c:pt>
                <c:pt idx="944">
                  <c:v>-0.27953192872579535</c:v>
                </c:pt>
                <c:pt idx="945">
                  <c:v>-0.25332141449694806</c:v>
                </c:pt>
                <c:pt idx="946">
                  <c:v>-0.25275067928235539</c:v>
                </c:pt>
                <c:pt idx="947">
                  <c:v>-0.27008314160517488</c:v>
                </c:pt>
                <c:pt idx="948">
                  <c:v>-0.27982933747957495</c:v>
                </c:pt>
                <c:pt idx="949">
                  <c:v>-0.26078086437458248</c:v>
                </c:pt>
                <c:pt idx="950">
                  <c:v>-0.26037984282566606</c:v>
                </c:pt>
                <c:pt idx="951">
                  <c:v>-0.25885419944798771</c:v>
                </c:pt>
                <c:pt idx="952">
                  <c:v>-0.25690268449585352</c:v>
                </c:pt>
                <c:pt idx="953">
                  <c:v>-0.2614555252189138</c:v>
                </c:pt>
                <c:pt idx="954">
                  <c:v>-0.27891425208842546</c:v>
                </c:pt>
                <c:pt idx="955">
                  <c:v>-0.25095385126272102</c:v>
                </c:pt>
                <c:pt idx="956">
                  <c:v>-0.2823059283611159</c:v>
                </c:pt>
                <c:pt idx="957">
                  <c:v>-0.25356060166191935</c:v>
                </c:pt>
                <c:pt idx="958">
                  <c:v>-0.28213779165070096</c:v>
                </c:pt>
                <c:pt idx="959">
                  <c:v>-0.26064568447402126</c:v>
                </c:pt>
                <c:pt idx="960">
                  <c:v>-0.25314284867085807</c:v>
                </c:pt>
                <c:pt idx="961">
                  <c:v>-0.25301290429553713</c:v>
                </c:pt>
                <c:pt idx="962">
                  <c:v>-0.25238234014955102</c:v>
                </c:pt>
                <c:pt idx="963">
                  <c:v>-0.27167489501232278</c:v>
                </c:pt>
                <c:pt idx="964">
                  <c:v>-0.25166131405532055</c:v>
                </c:pt>
                <c:pt idx="965">
                  <c:v>-0.25877467958851352</c:v>
                </c:pt>
                <c:pt idx="966">
                  <c:v>-0.26273464461950313</c:v>
                </c:pt>
                <c:pt idx="967">
                  <c:v>-0.26145522607060112</c:v>
                </c:pt>
                <c:pt idx="968">
                  <c:v>-0.26019570375862777</c:v>
                </c:pt>
                <c:pt idx="969">
                  <c:v>-0.25984052301442107</c:v>
                </c:pt>
                <c:pt idx="970">
                  <c:v>-0.25739701110802016</c:v>
                </c:pt>
                <c:pt idx="971">
                  <c:v>-0.26014893852163612</c:v>
                </c:pt>
                <c:pt idx="972">
                  <c:v>-0.25770524429534525</c:v>
                </c:pt>
                <c:pt idx="973">
                  <c:v>-0.26007024494645725</c:v>
                </c:pt>
                <c:pt idx="974">
                  <c:v>-0.25723651464386021</c:v>
                </c:pt>
                <c:pt idx="975">
                  <c:v>-0.26732146169792392</c:v>
                </c:pt>
                <c:pt idx="976">
                  <c:v>-0.27808850077007696</c:v>
                </c:pt>
                <c:pt idx="977">
                  <c:v>-0.25160388427433955</c:v>
                </c:pt>
                <c:pt idx="978">
                  <c:v>-0.25511174452987839</c:v>
                </c:pt>
                <c:pt idx="979">
                  <c:v>-0.26692756455550237</c:v>
                </c:pt>
                <c:pt idx="980">
                  <c:v>-0.30244090128636536</c:v>
                </c:pt>
                <c:pt idx="981">
                  <c:v>-0.25214403657842088</c:v>
                </c:pt>
                <c:pt idx="982">
                  <c:v>-0.27978357827563727</c:v>
                </c:pt>
                <c:pt idx="983">
                  <c:v>-0.25243058083107162</c:v>
                </c:pt>
                <c:pt idx="984">
                  <c:v>-0.25740248448967551</c:v>
                </c:pt>
                <c:pt idx="985">
                  <c:v>-0.25883344641508221</c:v>
                </c:pt>
                <c:pt idx="986">
                  <c:v>-0.26087609421364699</c:v>
                </c:pt>
                <c:pt idx="987">
                  <c:v>-0.25959121999490242</c:v>
                </c:pt>
                <c:pt idx="988">
                  <c:v>-0.26238537220209091</c:v>
                </c:pt>
                <c:pt idx="989">
                  <c:v>-0.25896338931464946</c:v>
                </c:pt>
                <c:pt idx="990">
                  <c:v>-0.25990839100313912</c:v>
                </c:pt>
                <c:pt idx="991">
                  <c:v>-0.26078626270799776</c:v>
                </c:pt>
                <c:pt idx="992">
                  <c:v>-0.26056314522035717</c:v>
                </c:pt>
                <c:pt idx="993">
                  <c:v>-0.29672868989338785</c:v>
                </c:pt>
                <c:pt idx="994">
                  <c:v>-0.25827147237291159</c:v>
                </c:pt>
                <c:pt idx="995">
                  <c:v>-0.26104841966580283</c:v>
                </c:pt>
                <c:pt idx="996">
                  <c:v>-0.26089874566479676</c:v>
                </c:pt>
                <c:pt idx="997">
                  <c:v>-0.26821903518233858</c:v>
                </c:pt>
                <c:pt idx="998">
                  <c:v>-0.26778286890024106</c:v>
                </c:pt>
                <c:pt idx="999">
                  <c:v>-0.27198509707444263</c:v>
                </c:pt>
                <c:pt idx="1000">
                  <c:v>-0.273905803029868</c:v>
                </c:pt>
                <c:pt idx="1001">
                  <c:v>-0.25194750185490428</c:v>
                </c:pt>
                <c:pt idx="1002">
                  <c:v>-0.25254507060249803</c:v>
                </c:pt>
                <c:pt idx="1003">
                  <c:v>-0.25732575135230984</c:v>
                </c:pt>
                <c:pt idx="1004">
                  <c:v>-0.28111694713084467</c:v>
                </c:pt>
                <c:pt idx="1005">
                  <c:v>-0.25677154443013084</c:v>
                </c:pt>
                <c:pt idx="1006">
                  <c:v>-0.2520852146903762</c:v>
                </c:pt>
                <c:pt idx="1007">
                  <c:v>-0.28448880099133778</c:v>
                </c:pt>
                <c:pt idx="1008">
                  <c:v>-0.25198312419477453</c:v>
                </c:pt>
                <c:pt idx="1009">
                  <c:v>-0.26248381272935306</c:v>
                </c:pt>
                <c:pt idx="1010">
                  <c:v>-0.25482053064269494</c:v>
                </c:pt>
                <c:pt idx="1011">
                  <c:v>-0.27160461734517205</c:v>
                </c:pt>
                <c:pt idx="1012">
                  <c:v>-0.26803516614690348</c:v>
                </c:pt>
                <c:pt idx="1013">
                  <c:v>-0.25975028882312878</c:v>
                </c:pt>
                <c:pt idx="1014">
                  <c:v>-0.26650416368492813</c:v>
                </c:pt>
                <c:pt idx="1015">
                  <c:v>-0.27044632484400688</c:v>
                </c:pt>
                <c:pt idx="1016">
                  <c:v>-0.26775819521200306</c:v>
                </c:pt>
                <c:pt idx="1017">
                  <c:v>-0.29355691835864473</c:v>
                </c:pt>
                <c:pt idx="1018">
                  <c:v>-0.26936882337756585</c:v>
                </c:pt>
                <c:pt idx="1019">
                  <c:v>-0.26332305304898018</c:v>
                </c:pt>
                <c:pt idx="1020">
                  <c:v>-0.26134550794033462</c:v>
                </c:pt>
                <c:pt idx="1021">
                  <c:v>-0.28340157800658172</c:v>
                </c:pt>
                <c:pt idx="1022">
                  <c:v>-0.27451933860773758</c:v>
                </c:pt>
                <c:pt idx="1023">
                  <c:v>-0.28153229519968037</c:v>
                </c:pt>
                <c:pt idx="1024">
                  <c:v>-0.27837792612922463</c:v>
                </c:pt>
                <c:pt idx="1025">
                  <c:v>-0.2770848797226394</c:v>
                </c:pt>
                <c:pt idx="1026">
                  <c:v>-0.27625087265184056</c:v>
                </c:pt>
                <c:pt idx="1027">
                  <c:v>-0.25142621517637226</c:v>
                </c:pt>
                <c:pt idx="1028">
                  <c:v>-0.2611214015182689</c:v>
                </c:pt>
                <c:pt idx="1029">
                  <c:v>-0.28442705148369585</c:v>
                </c:pt>
                <c:pt idx="1030">
                  <c:v>-0.25167595486473832</c:v>
                </c:pt>
                <c:pt idx="1031">
                  <c:v>-0.26067774136214406</c:v>
                </c:pt>
                <c:pt idx="1032">
                  <c:v>-0.26496395316888111</c:v>
                </c:pt>
                <c:pt idx="1033">
                  <c:v>-0.28673423332996806</c:v>
                </c:pt>
                <c:pt idx="1034">
                  <c:v>-0.25722556844885941</c:v>
                </c:pt>
                <c:pt idx="1035">
                  <c:v>-0.26480084831567796</c:v>
                </c:pt>
                <c:pt idx="1036">
                  <c:v>-0.2712335076623239</c:v>
                </c:pt>
                <c:pt idx="1037">
                  <c:v>-0.277310350430235</c:v>
                </c:pt>
                <c:pt idx="1038">
                  <c:v>-0.25177198838386949</c:v>
                </c:pt>
                <c:pt idx="1039">
                  <c:v>-0.26242060052375271</c:v>
                </c:pt>
                <c:pt idx="1040">
                  <c:v>-0.27205116086537817</c:v>
                </c:pt>
                <c:pt idx="1041">
                  <c:v>-0.27233750227261544</c:v>
                </c:pt>
                <c:pt idx="1042">
                  <c:v>-0.27055726865167529</c:v>
                </c:pt>
                <c:pt idx="1043">
                  <c:v>-0.26574865346600163</c:v>
                </c:pt>
                <c:pt idx="1044">
                  <c:v>-0.27272583770399395</c:v>
                </c:pt>
                <c:pt idx="1045">
                  <c:v>-0.26032492484241121</c:v>
                </c:pt>
                <c:pt idx="1046">
                  <c:v>-0.2700438862825314</c:v>
                </c:pt>
                <c:pt idx="1047">
                  <c:v>-0.26183875515987365</c:v>
                </c:pt>
                <c:pt idx="1048">
                  <c:v>-0.2579720116818236</c:v>
                </c:pt>
                <c:pt idx="1049">
                  <c:v>-0.25087213496114058</c:v>
                </c:pt>
                <c:pt idx="1050">
                  <c:v>-0.2889115893475106</c:v>
                </c:pt>
                <c:pt idx="1051">
                  <c:v>-0.2671851471817438</c:v>
                </c:pt>
                <c:pt idx="1052">
                  <c:v>-0.30346743477552895</c:v>
                </c:pt>
                <c:pt idx="1053">
                  <c:v>-0.25600440358709686</c:v>
                </c:pt>
                <c:pt idx="1054">
                  <c:v>-0.31209656366276661</c:v>
                </c:pt>
                <c:pt idx="1055">
                  <c:v>-0.27310437759836037</c:v>
                </c:pt>
                <c:pt idx="1056">
                  <c:v>-0.26151100741683064</c:v>
                </c:pt>
                <c:pt idx="1057">
                  <c:v>-0.28784977864557093</c:v>
                </c:pt>
                <c:pt idx="1058">
                  <c:v>-0.27202948635537982</c:v>
                </c:pt>
                <c:pt idx="1059">
                  <c:v>-0.29707728814981849</c:v>
                </c:pt>
                <c:pt idx="1060">
                  <c:v>-0.28114721360872996</c:v>
                </c:pt>
                <c:pt idx="1061">
                  <c:v>-0.26409825185235214</c:v>
                </c:pt>
                <c:pt idx="1062">
                  <c:v>-0.28740958850299581</c:v>
                </c:pt>
                <c:pt idx="1063">
                  <c:v>-0.26304409284697505</c:v>
                </c:pt>
                <c:pt idx="1064">
                  <c:v>-0.25949144695269033</c:v>
                </c:pt>
                <c:pt idx="1065">
                  <c:v>-0.28339543536967671</c:v>
                </c:pt>
                <c:pt idx="1066">
                  <c:v>-0.25497399401745591</c:v>
                </c:pt>
                <c:pt idx="1067">
                  <c:v>-0.25202041240618467</c:v>
                </c:pt>
                <c:pt idx="1068">
                  <c:v>-0.25765656482538279</c:v>
                </c:pt>
                <c:pt idx="1069">
                  <c:v>-0.27266094815020125</c:v>
                </c:pt>
                <c:pt idx="1070">
                  <c:v>-0.26232916369771819</c:v>
                </c:pt>
                <c:pt idx="1071">
                  <c:v>-0.2606051139727309</c:v>
                </c:pt>
                <c:pt idx="1072">
                  <c:v>-0.27721841350743237</c:v>
                </c:pt>
                <c:pt idx="1073">
                  <c:v>-0.26087102991127398</c:v>
                </c:pt>
                <c:pt idx="1074">
                  <c:v>-0.26860413782885362</c:v>
                </c:pt>
                <c:pt idx="1075">
                  <c:v>-0.25126336304991803</c:v>
                </c:pt>
                <c:pt idx="1076">
                  <c:v>-0.26744239424744776</c:v>
                </c:pt>
                <c:pt idx="1077">
                  <c:v>-0.28712999261802696</c:v>
                </c:pt>
                <c:pt idx="1078">
                  <c:v>-0.30439975106842498</c:v>
                </c:pt>
                <c:pt idx="1079">
                  <c:v>-0.25800842784513223</c:v>
                </c:pt>
                <c:pt idx="1080">
                  <c:v>-0.29111467689800252</c:v>
                </c:pt>
                <c:pt idx="1081">
                  <c:v>-0.25259600051491227</c:v>
                </c:pt>
                <c:pt idx="1082">
                  <c:v>-0.2643317914383374</c:v>
                </c:pt>
                <c:pt idx="1083">
                  <c:v>-0.26922695687905018</c:v>
                </c:pt>
                <c:pt idx="1084">
                  <c:v>-0.29046528058117382</c:v>
                </c:pt>
                <c:pt idx="1085">
                  <c:v>-0.26772203270843231</c:v>
                </c:pt>
                <c:pt idx="1086">
                  <c:v>-0.2676038800741577</c:v>
                </c:pt>
                <c:pt idx="1087">
                  <c:v>-0.29997906092307025</c:v>
                </c:pt>
                <c:pt idx="1088">
                  <c:v>-0.25315293400920214</c:v>
                </c:pt>
                <c:pt idx="1089">
                  <c:v>-0.28309309459237819</c:v>
                </c:pt>
                <c:pt idx="1090">
                  <c:v>-0.26665691929318447</c:v>
                </c:pt>
                <c:pt idx="1091">
                  <c:v>-0.28405338921255785</c:v>
                </c:pt>
                <c:pt idx="1092">
                  <c:v>-0.2716077786346246</c:v>
                </c:pt>
                <c:pt idx="1093">
                  <c:v>-0.26428583333499178</c:v>
                </c:pt>
                <c:pt idx="1094">
                  <c:v>-0.25913727274876386</c:v>
                </c:pt>
                <c:pt idx="1095">
                  <c:v>-0.28139157527117309</c:v>
                </c:pt>
                <c:pt idx="1096">
                  <c:v>-0.26382905194331607</c:v>
                </c:pt>
                <c:pt idx="1097">
                  <c:v>-0.26403377324077126</c:v>
                </c:pt>
                <c:pt idx="1098">
                  <c:v>-0.2846652539803135</c:v>
                </c:pt>
                <c:pt idx="1099">
                  <c:v>-0.27434312712574505</c:v>
                </c:pt>
                <c:pt idx="1100">
                  <c:v>-0.26506088552804463</c:v>
                </c:pt>
                <c:pt idx="1101">
                  <c:v>-0.26447160137329095</c:v>
                </c:pt>
                <c:pt idx="1102">
                  <c:v>-0.25974051448039825</c:v>
                </c:pt>
                <c:pt idx="1103">
                  <c:v>-0.25160039470940532</c:v>
                </c:pt>
                <c:pt idx="1104">
                  <c:v>-0.28852490022946387</c:v>
                </c:pt>
                <c:pt idx="1105">
                  <c:v>-0.25928656110132486</c:v>
                </c:pt>
                <c:pt idx="1106">
                  <c:v>-0.2979293081197415</c:v>
                </c:pt>
                <c:pt idx="1107">
                  <c:v>-0.26335421979636398</c:v>
                </c:pt>
                <c:pt idx="1108">
                  <c:v>-0.29246692484659298</c:v>
                </c:pt>
                <c:pt idx="1109">
                  <c:v>-0.26490904919561997</c:v>
                </c:pt>
                <c:pt idx="1110">
                  <c:v>-0.25769026902905712</c:v>
                </c:pt>
                <c:pt idx="1111">
                  <c:v>-0.29419465872525929</c:v>
                </c:pt>
                <c:pt idx="1112">
                  <c:v>-0.27995739074359616</c:v>
                </c:pt>
                <c:pt idx="1113">
                  <c:v>-0.29509159271168572</c:v>
                </c:pt>
                <c:pt idx="1114">
                  <c:v>-0.26944394555161133</c:v>
                </c:pt>
                <c:pt idx="1115">
                  <c:v>-0.27908122574202332</c:v>
                </c:pt>
                <c:pt idx="1116">
                  <c:v>-0.28232238755849359</c:v>
                </c:pt>
                <c:pt idx="1117">
                  <c:v>-0.25490748382420192</c:v>
                </c:pt>
                <c:pt idx="1118">
                  <c:v>-0.26346054731446156</c:v>
                </c:pt>
                <c:pt idx="1119">
                  <c:v>-0.26907338688301208</c:v>
                </c:pt>
                <c:pt idx="1120">
                  <c:v>-0.27535189738541943</c:v>
                </c:pt>
                <c:pt idx="1121">
                  <c:v>-0.25793454521916837</c:v>
                </c:pt>
                <c:pt idx="1122">
                  <c:v>-0.29156498693919553</c:v>
                </c:pt>
                <c:pt idx="1123">
                  <c:v>-0.2519473463817431</c:v>
                </c:pt>
                <c:pt idx="1124">
                  <c:v>-0.25843241342412088</c:v>
                </c:pt>
                <c:pt idx="1125">
                  <c:v>-0.27069072739838984</c:v>
                </c:pt>
                <c:pt idx="1126">
                  <c:v>-0.28188526142009096</c:v>
                </c:pt>
                <c:pt idx="1127">
                  <c:v>-0.25393202298435225</c:v>
                </c:pt>
                <c:pt idx="1128">
                  <c:v>-0.27176149371650926</c:v>
                </c:pt>
                <c:pt idx="1129">
                  <c:v>-0.25111603799558058</c:v>
                </c:pt>
                <c:pt idx="1130">
                  <c:v>-0.2544576167937222</c:v>
                </c:pt>
                <c:pt idx="1131">
                  <c:v>-0.2775084963858141</c:v>
                </c:pt>
                <c:pt idx="1132">
                  <c:v>-0.25186969144345295</c:v>
                </c:pt>
                <c:pt idx="1133">
                  <c:v>-0.26734845030957255</c:v>
                </c:pt>
                <c:pt idx="1134">
                  <c:v>-0.26380024505433297</c:v>
                </c:pt>
                <c:pt idx="1135">
                  <c:v>-0.26361613512349702</c:v>
                </c:pt>
                <c:pt idx="1136">
                  <c:v>-0.26428176778262225</c:v>
                </c:pt>
                <c:pt idx="1137">
                  <c:v>-0.26502696262542336</c:v>
                </c:pt>
                <c:pt idx="1138">
                  <c:v>-0.28636749600420519</c:v>
                </c:pt>
                <c:pt idx="1139">
                  <c:v>-0.27418770047079144</c:v>
                </c:pt>
                <c:pt idx="1140">
                  <c:v>-0.27131448977317041</c:v>
                </c:pt>
                <c:pt idx="1141">
                  <c:v>-0.26812536829809996</c:v>
                </c:pt>
                <c:pt idx="1142">
                  <c:v>-0.26015948512895171</c:v>
                </c:pt>
                <c:pt idx="1143">
                  <c:v>-0.25895561092124364</c:v>
                </c:pt>
                <c:pt idx="1144">
                  <c:v>-0.27069189891491763</c:v>
                </c:pt>
                <c:pt idx="1145">
                  <c:v>-0.25121129331160075</c:v>
                </c:pt>
                <c:pt idx="1146">
                  <c:v>-0.27727848216595263</c:v>
                </c:pt>
                <c:pt idx="1147">
                  <c:v>-0.26995984956190444</c:v>
                </c:pt>
                <c:pt idx="1148">
                  <c:v>-0.26752161508253447</c:v>
                </c:pt>
                <c:pt idx="1149">
                  <c:v>-0.27611006137707361</c:v>
                </c:pt>
                <c:pt idx="1150">
                  <c:v>-2.9260773349804716</c:v>
                </c:pt>
                <c:pt idx="1151">
                  <c:v>-2.9245006389071277</c:v>
                </c:pt>
                <c:pt idx="1152">
                  <c:v>-2.9225697938393802</c:v>
                </c:pt>
                <c:pt idx="1153">
                  <c:v>-2.9164389578311374</c:v>
                </c:pt>
                <c:pt idx="1154">
                  <c:v>-2.9190241038614322</c:v>
                </c:pt>
                <c:pt idx="1155">
                  <c:v>-2.9113567588464773</c:v>
                </c:pt>
                <c:pt idx="1156">
                  <c:v>-2.9116440280457492</c:v>
                </c:pt>
                <c:pt idx="1157">
                  <c:v>-2.9351744010757526</c:v>
                </c:pt>
                <c:pt idx="1158">
                  <c:v>-2.9318171085272748</c:v>
                </c:pt>
                <c:pt idx="1159">
                  <c:v>-2.9155855579102155</c:v>
                </c:pt>
                <c:pt idx="1160">
                  <c:v>-2.9184348342411042</c:v>
                </c:pt>
                <c:pt idx="1161">
                  <c:v>-2.9273883059829946</c:v>
                </c:pt>
                <c:pt idx="1162">
                  <c:v>-2.9228428233195007</c:v>
                </c:pt>
                <c:pt idx="1163">
                  <c:v>-2.9224487994892652</c:v>
                </c:pt>
                <c:pt idx="1164">
                  <c:v>-2.9204285501629239</c:v>
                </c:pt>
                <c:pt idx="1165">
                  <c:v>-2.9189042368662212</c:v>
                </c:pt>
                <c:pt idx="1166">
                  <c:v>-2.912150236841192</c:v>
                </c:pt>
                <c:pt idx="1167">
                  <c:v>-2.9267583456034396</c:v>
                </c:pt>
                <c:pt idx="1168">
                  <c:v>-2.9173038122242776</c:v>
                </c:pt>
                <c:pt idx="1169">
                  <c:v>-2.9208580570161744</c:v>
                </c:pt>
                <c:pt idx="1170">
                  <c:v>-2.9139591786220338</c:v>
                </c:pt>
                <c:pt idx="1171">
                  <c:v>-2.9139480155513287</c:v>
                </c:pt>
                <c:pt idx="1172">
                  <c:v>-2.9151391470038845</c:v>
                </c:pt>
                <c:pt idx="1173">
                  <c:v>-2.9123489035914099</c:v>
                </c:pt>
                <c:pt idx="1174">
                  <c:v>-2.915121843530482</c:v>
                </c:pt>
                <c:pt idx="1175">
                  <c:v>-2.9123029583010887</c:v>
                </c:pt>
                <c:pt idx="1176">
                  <c:v>-2.9150812772066406</c:v>
                </c:pt>
                <c:pt idx="1177">
                  <c:v>-2.9148183948199069</c:v>
                </c:pt>
                <c:pt idx="1178">
                  <c:v>-2.9216837179099935</c:v>
                </c:pt>
                <c:pt idx="1179">
                  <c:v>-2.9168471746422386</c:v>
                </c:pt>
                <c:pt idx="1180">
                  <c:v>-2.9513381841348774</c:v>
                </c:pt>
                <c:pt idx="1181">
                  <c:v>-2.9107798025260783</c:v>
                </c:pt>
                <c:pt idx="1182">
                  <c:v>-2.921455350444873</c:v>
                </c:pt>
                <c:pt idx="1183">
                  <c:v>-2.9251081359600555</c:v>
                </c:pt>
                <c:pt idx="1184">
                  <c:v>-2.9215128485191664</c:v>
                </c:pt>
                <c:pt idx="1185">
                  <c:v>-2.9197651847672734</c:v>
                </c:pt>
                <c:pt idx="1186">
                  <c:v>-2.915870039812166</c:v>
                </c:pt>
                <c:pt idx="1187">
                  <c:v>-2.9110374229408915</c:v>
                </c:pt>
                <c:pt idx="1188">
                  <c:v>-2.910382056833388</c:v>
                </c:pt>
                <c:pt idx="1189">
                  <c:v>-2.9179705474729523</c:v>
                </c:pt>
                <c:pt idx="1190">
                  <c:v>-2.9034670537642615</c:v>
                </c:pt>
                <c:pt idx="1191">
                  <c:v>-2.9306796582789665</c:v>
                </c:pt>
                <c:pt idx="1192">
                  <c:v>-2.9250618030161646</c:v>
                </c:pt>
                <c:pt idx="1193">
                  <c:v>-2.9036083236014423</c:v>
                </c:pt>
                <c:pt idx="1194">
                  <c:v>-2.930357490605132</c:v>
                </c:pt>
                <c:pt idx="1195">
                  <c:v>-2.9043256797959138</c:v>
                </c:pt>
                <c:pt idx="1196">
                  <c:v>-2.9205993800651453</c:v>
                </c:pt>
                <c:pt idx="1197">
                  <c:v>-2.9340827200921673</c:v>
                </c:pt>
                <c:pt idx="1198">
                  <c:v>-2.9041439537287368</c:v>
                </c:pt>
                <c:pt idx="1199">
                  <c:v>-2.9245262723701648</c:v>
                </c:pt>
                <c:pt idx="1200">
                  <c:v>-2.9280429216824251</c:v>
                </c:pt>
                <c:pt idx="1201">
                  <c:v>-2.9212705462062249</c:v>
                </c:pt>
                <c:pt idx="1202">
                  <c:v>-2.9033053004557816</c:v>
                </c:pt>
                <c:pt idx="1203">
                  <c:v>-2.9255481792058404</c:v>
                </c:pt>
                <c:pt idx="1204">
                  <c:v>-2.9044730063341686</c:v>
                </c:pt>
                <c:pt idx="1205">
                  <c:v>-2.9027347785356605</c:v>
                </c:pt>
                <c:pt idx="1206">
                  <c:v>-2.9083019431063568</c:v>
                </c:pt>
                <c:pt idx="1207">
                  <c:v>-2.9195653751776112</c:v>
                </c:pt>
                <c:pt idx="1208">
                  <c:v>-2.9190049761058359</c:v>
                </c:pt>
                <c:pt idx="1209">
                  <c:v>-2.9172145139684784</c:v>
                </c:pt>
                <c:pt idx="1210">
                  <c:v>-2.9124863216017518</c:v>
                </c:pt>
                <c:pt idx="1211">
                  <c:v>-2.9630405744997348</c:v>
                </c:pt>
                <c:pt idx="1212">
                  <c:v>-2.9210683590608086</c:v>
                </c:pt>
                <c:pt idx="1213">
                  <c:v>-2.9349531323316231</c:v>
                </c:pt>
                <c:pt idx="1214">
                  <c:v>-2.9041512492625237</c:v>
                </c:pt>
                <c:pt idx="1215">
                  <c:v>-2.9056207233145126</c:v>
                </c:pt>
                <c:pt idx="1216">
                  <c:v>-2.9141868307578154</c:v>
                </c:pt>
                <c:pt idx="1217">
                  <c:v>-2.9543885299780603</c:v>
                </c:pt>
                <c:pt idx="1218">
                  <c:v>-2.9040702082310021</c:v>
                </c:pt>
                <c:pt idx="1219">
                  <c:v>-2.9153487843286032</c:v>
                </c:pt>
                <c:pt idx="1220">
                  <c:v>-2.9157146298171273</c:v>
                </c:pt>
                <c:pt idx="1221">
                  <c:v>-2.9187016142801387</c:v>
                </c:pt>
                <c:pt idx="1222">
                  <c:v>-2.925770338253924</c:v>
                </c:pt>
                <c:pt idx="1223">
                  <c:v>-2.9038408524765043</c:v>
                </c:pt>
                <c:pt idx="1224">
                  <c:v>-2.9320849363613055</c:v>
                </c:pt>
                <c:pt idx="1225">
                  <c:v>-2.9325147180622881</c:v>
                </c:pt>
                <c:pt idx="1226">
                  <c:v>-2.9349689654644266</c:v>
                </c:pt>
                <c:pt idx="1227">
                  <c:v>-2.9322200090323141</c:v>
                </c:pt>
                <c:pt idx="1228">
                  <c:v>-2.9323517335266587</c:v>
                </c:pt>
                <c:pt idx="1229">
                  <c:v>-2.9366437989225611</c:v>
                </c:pt>
                <c:pt idx="1230">
                  <c:v>-2.9044154822835178</c:v>
                </c:pt>
                <c:pt idx="1231">
                  <c:v>-2.9323405427849525</c:v>
                </c:pt>
                <c:pt idx="1232">
                  <c:v>-2.9115530280268138</c:v>
                </c:pt>
                <c:pt idx="1233">
                  <c:v>-2.9121369847462777</c:v>
                </c:pt>
                <c:pt idx="1234">
                  <c:v>-2.9130783923947123</c:v>
                </c:pt>
                <c:pt idx="1235">
                  <c:v>-2.9138075544282893</c:v>
                </c:pt>
                <c:pt idx="1236">
                  <c:v>-2.9154585330775302</c:v>
                </c:pt>
                <c:pt idx="1237">
                  <c:v>-2.9183256812769565</c:v>
                </c:pt>
                <c:pt idx="1238">
                  <c:v>-2.9134073493605026</c:v>
                </c:pt>
                <c:pt idx="1239">
                  <c:v>-2.9105791504396814</c:v>
                </c:pt>
                <c:pt idx="1240">
                  <c:v>-2.9041649133715652</c:v>
                </c:pt>
                <c:pt idx="1241">
                  <c:v>-2.9036551272299591</c:v>
                </c:pt>
                <c:pt idx="1242">
                  <c:v>-2.9265463262033276</c:v>
                </c:pt>
                <c:pt idx="1243">
                  <c:v>-2.9039096856377138</c:v>
                </c:pt>
                <c:pt idx="1244">
                  <c:v>-2.9664759564332561</c:v>
                </c:pt>
                <c:pt idx="1245">
                  <c:v>-3.0226153472754382</c:v>
                </c:pt>
                <c:pt idx="1246">
                  <c:v>-2.9667432574002257</c:v>
                </c:pt>
                <c:pt idx="1247">
                  <c:v>-2.9036647363034995</c:v>
                </c:pt>
                <c:pt idx="1248">
                  <c:v>-2.928042189094537</c:v>
                </c:pt>
                <c:pt idx="1249">
                  <c:v>-2.9301322456503414</c:v>
                </c:pt>
                <c:pt idx="1250">
                  <c:v>-2.9273215471941674</c:v>
                </c:pt>
                <c:pt idx="1251">
                  <c:v>-2.9178475148743468</c:v>
                </c:pt>
                <c:pt idx="1252">
                  <c:v>-2.9064780065918918</c:v>
                </c:pt>
                <c:pt idx="1253">
                  <c:v>-2.9294757504602815</c:v>
                </c:pt>
                <c:pt idx="1254">
                  <c:v>-2.9066377464795048</c:v>
                </c:pt>
                <c:pt idx="1255">
                  <c:v>-2.9495852576289505</c:v>
                </c:pt>
                <c:pt idx="1256">
                  <c:v>-2.9160641136888463</c:v>
                </c:pt>
                <c:pt idx="1257">
                  <c:v>-2.9263755940259193</c:v>
                </c:pt>
                <c:pt idx="1258">
                  <c:v>-2.9651752530784137</c:v>
                </c:pt>
                <c:pt idx="1259">
                  <c:v>-2.9163360788668418</c:v>
                </c:pt>
                <c:pt idx="1260">
                  <c:v>-2.9311380165084104</c:v>
                </c:pt>
                <c:pt idx="1261">
                  <c:v>-2.9071090080582489</c:v>
                </c:pt>
                <c:pt idx="1262">
                  <c:v>-2.9180288374759211</c:v>
                </c:pt>
                <c:pt idx="1263">
                  <c:v>-2.9883382048431328</c:v>
                </c:pt>
                <c:pt idx="1264">
                  <c:v>-2.9242831699817216</c:v>
                </c:pt>
                <c:pt idx="1265">
                  <c:v>-2.9379714021760033</c:v>
                </c:pt>
                <c:pt idx="1266">
                  <c:v>-2.9041221061653326</c:v>
                </c:pt>
                <c:pt idx="1267">
                  <c:v>-2.9045256758088054</c:v>
                </c:pt>
                <c:pt idx="1268">
                  <c:v>-2.9061280354149011</c:v>
                </c:pt>
                <c:pt idx="1269">
                  <c:v>-2.9292034658200796</c:v>
                </c:pt>
                <c:pt idx="1270">
                  <c:v>-2.963774705994545</c:v>
                </c:pt>
                <c:pt idx="1271">
                  <c:v>-3.0113556291319394</c:v>
                </c:pt>
                <c:pt idx="1272">
                  <c:v>-2.9086076294044472</c:v>
                </c:pt>
                <c:pt idx="1273">
                  <c:v>-2.9193801038928671</c:v>
                </c:pt>
                <c:pt idx="1274">
                  <c:v>-2.9326026671525787</c:v>
                </c:pt>
                <c:pt idx="1275">
                  <c:v>-2.9041270449498442</c:v>
                </c:pt>
                <c:pt idx="1276">
                  <c:v>-2.9333019623486236</c:v>
                </c:pt>
                <c:pt idx="1277">
                  <c:v>-2.9262405014394375</c:v>
                </c:pt>
                <c:pt idx="1278">
                  <c:v>-2.9204748674409968</c:v>
                </c:pt>
                <c:pt idx="1279">
                  <c:v>-2.9123375428970193</c:v>
                </c:pt>
                <c:pt idx="1280">
                  <c:v>-2.933936930596448</c:v>
                </c:pt>
                <c:pt idx="1281">
                  <c:v>-2.9379083370585586</c:v>
                </c:pt>
                <c:pt idx="1282">
                  <c:v>-2.9213497294778632</c:v>
                </c:pt>
                <c:pt idx="1283">
                  <c:v>-2.9266098825973272</c:v>
                </c:pt>
                <c:pt idx="1284">
                  <c:v>-2.9155150271257986</c:v>
                </c:pt>
                <c:pt idx="1285">
                  <c:v>-2.9204636300483173</c:v>
                </c:pt>
                <c:pt idx="1286">
                  <c:v>-2.9217236495695271</c:v>
                </c:pt>
                <c:pt idx="1287">
                  <c:v>-2.9225798550461564</c:v>
                </c:pt>
                <c:pt idx="1288">
                  <c:v>-2.919425574804293</c:v>
                </c:pt>
                <c:pt idx="1289">
                  <c:v>-2.9702684452970924</c:v>
                </c:pt>
                <c:pt idx="1290">
                  <c:v>-2.9055269460082305</c:v>
                </c:pt>
                <c:pt idx="1291">
                  <c:v>-2.9341649305572939</c:v>
                </c:pt>
                <c:pt idx="1292">
                  <c:v>-2.9646718217878245</c:v>
                </c:pt>
                <c:pt idx="1293">
                  <c:v>-2.9146819304395089</c:v>
                </c:pt>
                <c:pt idx="1294">
                  <c:v>-2.9479096683867798</c:v>
                </c:pt>
                <c:pt idx="1295">
                  <c:v>-2.9141053109928645</c:v>
                </c:pt>
                <c:pt idx="1296">
                  <c:v>-2.9234136229301679</c:v>
                </c:pt>
                <c:pt idx="1297">
                  <c:v>-2.9023471121214417</c:v>
                </c:pt>
                <c:pt idx="1298">
                  <c:v>-2.9317028341288305</c:v>
                </c:pt>
                <c:pt idx="1299">
                  <c:v>-2.9021964180940314</c:v>
                </c:pt>
                <c:pt idx="1300">
                  <c:v>-2.9109940448779312</c:v>
                </c:pt>
                <c:pt idx="1301">
                  <c:v>-2.9131970862992866</c:v>
                </c:pt>
                <c:pt idx="1302">
                  <c:v>-2.9169159414010086</c:v>
                </c:pt>
                <c:pt idx="1303">
                  <c:v>-2.9405350502883292</c:v>
                </c:pt>
                <c:pt idx="1304">
                  <c:v>-2.9264708380030853</c:v>
                </c:pt>
                <c:pt idx="1305">
                  <c:v>-2.9446541202411982</c:v>
                </c:pt>
                <c:pt idx="1306">
                  <c:v>-2.909262473782519</c:v>
                </c:pt>
                <c:pt idx="1307">
                  <c:v>-2.9138299514865147</c:v>
                </c:pt>
                <c:pt idx="1308">
                  <c:v>-2.9661019478401633</c:v>
                </c:pt>
                <c:pt idx="1309">
                  <c:v>-2.9046217385450221</c:v>
                </c:pt>
                <c:pt idx="1310">
                  <c:v>-2.9347117725285483</c:v>
                </c:pt>
                <c:pt idx="1311">
                  <c:v>-2.9754838192685016</c:v>
                </c:pt>
                <c:pt idx="1312">
                  <c:v>-2.9352224112126035</c:v>
                </c:pt>
                <c:pt idx="1313">
                  <c:v>-2.9167234763777143</c:v>
                </c:pt>
                <c:pt idx="1314">
                  <c:v>-2.9146777270454223</c:v>
                </c:pt>
                <c:pt idx="1315">
                  <c:v>-2.9086343543987097</c:v>
                </c:pt>
                <c:pt idx="1316">
                  <c:v>-2.9336985181170934</c:v>
                </c:pt>
                <c:pt idx="1317">
                  <c:v>-2.9039029798695362</c:v>
                </c:pt>
                <c:pt idx="1318">
                  <c:v>-2.9392796885104637</c:v>
                </c:pt>
                <c:pt idx="1319">
                  <c:v>-2.9031820287021741</c:v>
                </c:pt>
                <c:pt idx="1320">
                  <c:v>-2.9458634638399048</c:v>
                </c:pt>
                <c:pt idx="1321">
                  <c:v>-2.902892906224277</c:v>
                </c:pt>
                <c:pt idx="1322">
                  <c:v>-2.9038837907836585</c:v>
                </c:pt>
                <c:pt idx="1323">
                  <c:v>-2.9793653939164773</c:v>
                </c:pt>
                <c:pt idx="1324">
                  <c:v>-2.971199161428534</c:v>
                </c:pt>
                <c:pt idx="1325">
                  <c:v>-2.9283723680720168</c:v>
                </c:pt>
                <c:pt idx="1326">
                  <c:v>-2.9028593294575264</c:v>
                </c:pt>
                <c:pt idx="1327">
                  <c:v>-2.9028587973003281</c:v>
                </c:pt>
                <c:pt idx="1328">
                  <c:v>-2.9029816031600673</c:v>
                </c:pt>
                <c:pt idx="1329">
                  <c:v>-2.9858131467613926</c:v>
                </c:pt>
                <c:pt idx="1330">
                  <c:v>-2.9124144420532803</c:v>
                </c:pt>
                <c:pt idx="1331">
                  <c:v>-2.9182998837194725</c:v>
                </c:pt>
                <c:pt idx="1332">
                  <c:v>-2.9317394277756237</c:v>
                </c:pt>
                <c:pt idx="1333">
                  <c:v>-2.9380593686943461</c:v>
                </c:pt>
                <c:pt idx="1334">
                  <c:v>-2.9094247650588261</c:v>
                </c:pt>
                <c:pt idx="1335">
                  <c:v>-2.9122475200843807</c:v>
                </c:pt>
                <c:pt idx="1336">
                  <c:v>-2.9697498280847481</c:v>
                </c:pt>
                <c:pt idx="1337">
                  <c:v>-2.9812165748310715</c:v>
                </c:pt>
                <c:pt idx="1338">
                  <c:v>-2.9284706049410514</c:v>
                </c:pt>
                <c:pt idx="1339">
                  <c:v>-2.9711652476567441</c:v>
                </c:pt>
                <c:pt idx="1340">
                  <c:v>-2.925418862234709</c:v>
                </c:pt>
                <c:pt idx="1341">
                  <c:v>-2.9528816220644405</c:v>
                </c:pt>
                <c:pt idx="1342">
                  <c:v>-2.9274737335120142</c:v>
                </c:pt>
                <c:pt idx="1343">
                  <c:v>-2.9456265561560713</c:v>
                </c:pt>
                <c:pt idx="1344">
                  <c:v>-2.9036910264287559</c:v>
                </c:pt>
                <c:pt idx="1345">
                  <c:v>-2.909496933957429</c:v>
                </c:pt>
                <c:pt idx="1346">
                  <c:v>-2.9215116510380761</c:v>
                </c:pt>
                <c:pt idx="1347">
                  <c:v>-2.9243627777146188</c:v>
                </c:pt>
                <c:pt idx="1348">
                  <c:v>-2.9247910011887317</c:v>
                </c:pt>
                <c:pt idx="1349">
                  <c:v>-2.9160019069354526</c:v>
                </c:pt>
                <c:pt idx="1350">
                  <c:v>-2.9259441845011067</c:v>
                </c:pt>
                <c:pt idx="1351">
                  <c:v>-2.9408266060158681</c:v>
                </c:pt>
                <c:pt idx="1352">
                  <c:v>-2.9058769243159985</c:v>
                </c:pt>
                <c:pt idx="1353">
                  <c:v>-2.9431138980719389</c:v>
                </c:pt>
                <c:pt idx="1354">
                  <c:v>-2.9041541803900395</c:v>
                </c:pt>
                <c:pt idx="1355">
                  <c:v>-2.905160514017004</c:v>
                </c:pt>
                <c:pt idx="1356">
                  <c:v>-2.9079180587120921</c:v>
                </c:pt>
                <c:pt idx="1357">
                  <c:v>-2.9054682492641914</c:v>
                </c:pt>
                <c:pt idx="1358">
                  <c:v>-2.9152005137300585</c:v>
                </c:pt>
                <c:pt idx="1359">
                  <c:v>-2.9522029460146229</c:v>
                </c:pt>
                <c:pt idx="1360">
                  <c:v>-2.9085535233730071</c:v>
                </c:pt>
                <c:pt idx="1361">
                  <c:v>-2.9087912858308864</c:v>
                </c:pt>
                <c:pt idx="1362">
                  <c:v>-2.9138255964086035</c:v>
                </c:pt>
                <c:pt idx="1363">
                  <c:v>-2.9146832446380149</c:v>
                </c:pt>
                <c:pt idx="1364">
                  <c:v>-2.918883487455461</c:v>
                </c:pt>
                <c:pt idx="1365">
                  <c:v>-2.9177765386321681</c:v>
                </c:pt>
                <c:pt idx="1366">
                  <c:v>-2.9177280859970436</c:v>
                </c:pt>
                <c:pt idx="1367">
                  <c:v>-2.912261843109881</c:v>
                </c:pt>
                <c:pt idx="1368">
                  <c:v>-2.9239999109354935</c:v>
                </c:pt>
                <c:pt idx="1369">
                  <c:v>-2.9202549793266193</c:v>
                </c:pt>
                <c:pt idx="1370">
                  <c:v>-2.9026991172859002</c:v>
                </c:pt>
                <c:pt idx="1371">
                  <c:v>-2.9313374689745886</c:v>
                </c:pt>
                <c:pt idx="1372">
                  <c:v>-2.9134761449808346</c:v>
                </c:pt>
                <c:pt idx="1373">
                  <c:v>-2.9366658277695041</c:v>
                </c:pt>
                <c:pt idx="1374">
                  <c:v>-2.903354571284396</c:v>
                </c:pt>
                <c:pt idx="1375">
                  <c:v>-2.903388656015383</c:v>
                </c:pt>
                <c:pt idx="1376">
                  <c:v>-2.9062816401095417</c:v>
                </c:pt>
                <c:pt idx="1377">
                  <c:v>-2.9102612046071847</c:v>
                </c:pt>
                <c:pt idx="1378">
                  <c:v>-2.9147242454210476</c:v>
                </c:pt>
                <c:pt idx="1379">
                  <c:v>-2.9333759632077947</c:v>
                </c:pt>
                <c:pt idx="1380">
                  <c:v>-2.9041676721178264</c:v>
                </c:pt>
                <c:pt idx="1381">
                  <c:v>-2.9281402133348027</c:v>
                </c:pt>
                <c:pt idx="1382">
                  <c:v>-2.9106979642297031</c:v>
                </c:pt>
                <c:pt idx="1383">
                  <c:v>-2.9185988473742221</c:v>
                </c:pt>
                <c:pt idx="1384">
                  <c:v>-2.9190019779492991</c:v>
                </c:pt>
                <c:pt idx="1385">
                  <c:v>-2.9217373050880755</c:v>
                </c:pt>
                <c:pt idx="1386">
                  <c:v>-2.9116430323292919</c:v>
                </c:pt>
                <c:pt idx="1387">
                  <c:v>-2.9342541660819061</c:v>
                </c:pt>
                <c:pt idx="1388">
                  <c:v>-2.9032755921074851</c:v>
                </c:pt>
                <c:pt idx="1389">
                  <c:v>-2.9217470660517857</c:v>
                </c:pt>
                <c:pt idx="1390">
                  <c:v>-2.9863429412445179</c:v>
                </c:pt>
                <c:pt idx="1391">
                  <c:v>-2.9084242981351167</c:v>
                </c:pt>
                <c:pt idx="1392">
                  <c:v>-2.9102211279045798</c:v>
                </c:pt>
                <c:pt idx="1393">
                  <c:v>-2.9103540041912748</c:v>
                </c:pt>
                <c:pt idx="1394">
                  <c:v>-2.9189537403545689</c:v>
                </c:pt>
                <c:pt idx="1395">
                  <c:v>-2.9208403835187768</c:v>
                </c:pt>
                <c:pt idx="1396">
                  <c:v>-2.9177862851289467</c:v>
                </c:pt>
                <c:pt idx="1397">
                  <c:v>-2.9173918740576785</c:v>
                </c:pt>
                <c:pt idx="1398">
                  <c:v>-2.9236830026458525</c:v>
                </c:pt>
                <c:pt idx="1399">
                  <c:v>-2.9177115439553392</c:v>
                </c:pt>
                <c:pt idx="1400">
                  <c:v>-2.9158172460582308</c:v>
                </c:pt>
                <c:pt idx="1401">
                  <c:v>-2.9131763024500152</c:v>
                </c:pt>
                <c:pt idx="1402">
                  <c:v>-2.9102267844173353</c:v>
                </c:pt>
                <c:pt idx="1403">
                  <c:v>-2.9086174308303647</c:v>
                </c:pt>
                <c:pt idx="1404">
                  <c:v>-2.9034364589137986</c:v>
                </c:pt>
                <c:pt idx="1405">
                  <c:v>-2.9219599915261103</c:v>
                </c:pt>
                <c:pt idx="1406">
                  <c:v>-2.9276838078047391</c:v>
                </c:pt>
                <c:pt idx="1407">
                  <c:v>-2.9263396422508974</c:v>
                </c:pt>
                <c:pt idx="1408">
                  <c:v>-2.9429689186890373</c:v>
                </c:pt>
                <c:pt idx="1409">
                  <c:v>-2.9037144376293198</c:v>
                </c:pt>
                <c:pt idx="1410">
                  <c:v>-2.9158604013871505</c:v>
                </c:pt>
                <c:pt idx="1411">
                  <c:v>-2.9139072263728085</c:v>
                </c:pt>
                <c:pt idx="1412">
                  <c:v>-2.9167704473446578</c:v>
                </c:pt>
                <c:pt idx="1413">
                  <c:v>-2.9346509350328338</c:v>
                </c:pt>
                <c:pt idx="1414">
                  <c:v>-2.9132403730208649</c:v>
                </c:pt>
                <c:pt idx="1415">
                  <c:v>-2.9145989860099579</c:v>
                </c:pt>
                <c:pt idx="1416">
                  <c:v>-2.9162212442021067</c:v>
                </c:pt>
                <c:pt idx="1417">
                  <c:v>-2.9243381269522839</c:v>
                </c:pt>
                <c:pt idx="1418">
                  <c:v>-2.9864994934855211</c:v>
                </c:pt>
                <c:pt idx="1419">
                  <c:v>-2.9360817807421018</c:v>
                </c:pt>
                <c:pt idx="1420">
                  <c:v>-2.9316400656860049</c:v>
                </c:pt>
                <c:pt idx="1421">
                  <c:v>-2.9031365204013735</c:v>
                </c:pt>
                <c:pt idx="1422">
                  <c:v>-2.9259285450130141</c:v>
                </c:pt>
                <c:pt idx="1423">
                  <c:v>-2.9273216493769763</c:v>
                </c:pt>
                <c:pt idx="1424">
                  <c:v>-2.9031153998791441</c:v>
                </c:pt>
                <c:pt idx="1425">
                  <c:v>-2.9049376238363793</c:v>
                </c:pt>
                <c:pt idx="1426">
                  <c:v>-2.9082172503339634</c:v>
                </c:pt>
                <c:pt idx="1427">
                  <c:v>-2.9226737385441588</c:v>
                </c:pt>
                <c:pt idx="1428">
                  <c:v>-2.9144865193941691</c:v>
                </c:pt>
                <c:pt idx="1429">
                  <c:v>-2.9166334032466601</c:v>
                </c:pt>
                <c:pt idx="1430">
                  <c:v>-2.9173111614081235</c:v>
                </c:pt>
                <c:pt idx="1431">
                  <c:v>-2.9194579887613079</c:v>
                </c:pt>
                <c:pt idx="1432">
                  <c:v>-2.9226219335616141</c:v>
                </c:pt>
                <c:pt idx="1433">
                  <c:v>-2.9206011723636061</c:v>
                </c:pt>
                <c:pt idx="1434">
                  <c:v>-2.9057517428280217</c:v>
                </c:pt>
                <c:pt idx="1435">
                  <c:v>-2.9049186390318673</c:v>
                </c:pt>
                <c:pt idx="1436">
                  <c:v>-2.9210307992175983</c:v>
                </c:pt>
                <c:pt idx="1437">
                  <c:v>-2.9309095888845116</c:v>
                </c:pt>
                <c:pt idx="1438">
                  <c:v>-2.9078257216858581</c:v>
                </c:pt>
                <c:pt idx="1439">
                  <c:v>-2.9117799920114655</c:v>
                </c:pt>
                <c:pt idx="1440">
                  <c:v>-2.9119635469481886</c:v>
                </c:pt>
                <c:pt idx="1441">
                  <c:v>-2.929149932965025</c:v>
                </c:pt>
                <c:pt idx="1442">
                  <c:v>-2.9215996301437546</c:v>
                </c:pt>
                <c:pt idx="1443">
                  <c:v>-2.9139423837742311</c:v>
                </c:pt>
                <c:pt idx="1444">
                  <c:v>-2.92427250932379</c:v>
                </c:pt>
                <c:pt idx="1445">
                  <c:v>-2.9167667160765132</c:v>
                </c:pt>
                <c:pt idx="1446">
                  <c:v>-2.9185368123400321</c:v>
                </c:pt>
                <c:pt idx="1447">
                  <c:v>-2.9037725214300654</c:v>
                </c:pt>
                <c:pt idx="1448">
                  <c:v>-2.9241242544185901</c:v>
                </c:pt>
                <c:pt idx="1449">
                  <c:v>-2.9045928678402704</c:v>
                </c:pt>
                <c:pt idx="1450">
                  <c:v>-2.9189542378957203</c:v>
                </c:pt>
                <c:pt idx="1451">
                  <c:v>-2.9089404697330541</c:v>
                </c:pt>
                <c:pt idx="1452">
                  <c:v>-2.9024366042753913</c:v>
                </c:pt>
                <c:pt idx="1453">
                  <c:v>-2.9994554942080009</c:v>
                </c:pt>
                <c:pt idx="1454">
                  <c:v>-2.9026670850090053</c:v>
                </c:pt>
                <c:pt idx="1455">
                  <c:v>-2.9092999866190827</c:v>
                </c:pt>
                <c:pt idx="1456">
                  <c:v>-2.9108810316733926</c:v>
                </c:pt>
                <c:pt idx="1457">
                  <c:v>-2.9027166761453325</c:v>
                </c:pt>
                <c:pt idx="1458">
                  <c:v>-2.9525466409810641</c:v>
                </c:pt>
                <c:pt idx="1459">
                  <c:v>-2.9026602449768277</c:v>
                </c:pt>
                <c:pt idx="1460">
                  <c:v>-2.9022134121071743</c:v>
                </c:pt>
                <c:pt idx="1461">
                  <c:v>-2.9035997456356486</c:v>
                </c:pt>
                <c:pt idx="1462">
                  <c:v>-2.9027726371139706</c:v>
                </c:pt>
                <c:pt idx="1463">
                  <c:v>-2.9055395873152055</c:v>
                </c:pt>
                <c:pt idx="1464">
                  <c:v>-2.9027522651965114</c:v>
                </c:pt>
                <c:pt idx="1465">
                  <c:v>-2.9055162861910091</c:v>
                </c:pt>
                <c:pt idx="1466">
                  <c:v>-2.9020328324407627</c:v>
                </c:pt>
                <c:pt idx="1467">
                  <c:v>-2.8978100079557798</c:v>
                </c:pt>
                <c:pt idx="1468">
                  <c:v>-2.9205949767244372</c:v>
                </c:pt>
                <c:pt idx="1469">
                  <c:v>-2.9496476085738026</c:v>
                </c:pt>
                <c:pt idx="1470">
                  <c:v>-2.8929554035623068</c:v>
                </c:pt>
                <c:pt idx="1471">
                  <c:v>-2.8951550715590648</c:v>
                </c:pt>
                <c:pt idx="1472">
                  <c:v>-2.8981399439653908</c:v>
                </c:pt>
                <c:pt idx="1473">
                  <c:v>-2.8994097187958245</c:v>
                </c:pt>
                <c:pt idx="1474">
                  <c:v>-2.9596517664372697</c:v>
                </c:pt>
                <c:pt idx="1475">
                  <c:v>-2.8870122576169499</c:v>
                </c:pt>
                <c:pt idx="1476">
                  <c:v>-2.8748290348859631</c:v>
                </c:pt>
                <c:pt idx="1477">
                  <c:v>-2.8604032147723286</c:v>
                </c:pt>
                <c:pt idx="1478">
                  <c:v>-2.8539117719503122</c:v>
                </c:pt>
                <c:pt idx="1479">
                  <c:v>-2.8424226591422008</c:v>
                </c:pt>
                <c:pt idx="1480">
                  <c:v>-2.8343974961976137</c:v>
                </c:pt>
                <c:pt idx="1481">
                  <c:v>-2.8368519702958879</c:v>
                </c:pt>
                <c:pt idx="1482">
                  <c:v>-2.8351726296801973</c:v>
                </c:pt>
                <c:pt idx="1483">
                  <c:v>-2.8885802634538562</c:v>
                </c:pt>
                <c:pt idx="1484">
                  <c:v>-2.8326753567213698</c:v>
                </c:pt>
                <c:pt idx="1485">
                  <c:v>-2.8319270889575021</c:v>
                </c:pt>
                <c:pt idx="1486">
                  <c:v>-2.8353390905092573</c:v>
                </c:pt>
                <c:pt idx="1487">
                  <c:v>-2.8282910873924081</c:v>
                </c:pt>
                <c:pt idx="1488">
                  <c:v>-2.8209339317380526</c:v>
                </c:pt>
                <c:pt idx="1489">
                  <c:v>-2.8347168428378828</c:v>
                </c:pt>
                <c:pt idx="1490">
                  <c:v>-2.8156932927578007</c:v>
                </c:pt>
                <c:pt idx="1491">
                  <c:v>-2.8602664781646867</c:v>
                </c:pt>
                <c:pt idx="1492">
                  <c:v>-2.8573229846163275</c:v>
                </c:pt>
                <c:pt idx="1493">
                  <c:v>-2.8198678386131752</c:v>
                </c:pt>
                <c:pt idx="1494">
                  <c:v>-2.8163055270368584</c:v>
                </c:pt>
                <c:pt idx="1495">
                  <c:v>-2.8188913963332585</c:v>
                </c:pt>
                <c:pt idx="1496">
                  <c:v>-2.8054938235825011</c:v>
                </c:pt>
                <c:pt idx="1497">
                  <c:v>-2.8038614937665005</c:v>
                </c:pt>
                <c:pt idx="1498">
                  <c:v>-2.8064504959093859</c:v>
                </c:pt>
                <c:pt idx="1499">
                  <c:v>-2.8042447982949148</c:v>
                </c:pt>
                <c:pt idx="1500">
                  <c:v>-2.8492185202558749</c:v>
                </c:pt>
                <c:pt idx="1501">
                  <c:v>-2.795462407847852</c:v>
                </c:pt>
                <c:pt idx="1502">
                  <c:v>-2.8056301499253902</c:v>
                </c:pt>
                <c:pt idx="1503">
                  <c:v>-2.8070732428838903</c:v>
                </c:pt>
                <c:pt idx="1504">
                  <c:v>-2.8121279105110095</c:v>
                </c:pt>
                <c:pt idx="1505">
                  <c:v>-2.7809804909877851</c:v>
                </c:pt>
                <c:pt idx="1506">
                  <c:v>-2.7879998557003791</c:v>
                </c:pt>
                <c:pt idx="1507">
                  <c:v>-2.8571512703773712</c:v>
                </c:pt>
                <c:pt idx="1508">
                  <c:v>-2.7799934915915547</c:v>
                </c:pt>
                <c:pt idx="1509">
                  <c:v>-2.776192412029058</c:v>
                </c:pt>
                <c:pt idx="1510">
                  <c:v>-2.7659550696342401</c:v>
                </c:pt>
                <c:pt idx="1511">
                  <c:v>-2.7614233513118798</c:v>
                </c:pt>
                <c:pt idx="1512">
                  <c:v>-2.8064453156785971</c:v>
                </c:pt>
                <c:pt idx="1513">
                  <c:v>-2.7563425423060517</c:v>
                </c:pt>
                <c:pt idx="1514">
                  <c:v>-2.754164789472739</c:v>
                </c:pt>
                <c:pt idx="1515">
                  <c:v>-2.739403075383668</c:v>
                </c:pt>
                <c:pt idx="1516">
                  <c:v>-2.7824199067695363</c:v>
                </c:pt>
                <c:pt idx="1517">
                  <c:v>-2.7387187511848019</c:v>
                </c:pt>
                <c:pt idx="1518">
                  <c:v>-2.7369732856974802</c:v>
                </c:pt>
                <c:pt idx="1519">
                  <c:v>-2.7357252862624364</c:v>
                </c:pt>
                <c:pt idx="1520">
                  <c:v>-2.7760389096981077</c:v>
                </c:pt>
                <c:pt idx="1521">
                  <c:v>-2.7328247123236209</c:v>
                </c:pt>
                <c:pt idx="1522">
                  <c:v>-2.7236010327879265</c:v>
                </c:pt>
                <c:pt idx="1523">
                  <c:v>-2.7474896638120216</c:v>
                </c:pt>
                <c:pt idx="1524">
                  <c:v>-2.7234041401187752</c:v>
                </c:pt>
                <c:pt idx="1525">
                  <c:v>-2.794842490205224</c:v>
                </c:pt>
                <c:pt idx="1526">
                  <c:v>-2.7259834736507376</c:v>
                </c:pt>
                <c:pt idx="1527">
                  <c:v>-2.7149057460291037</c:v>
                </c:pt>
                <c:pt idx="1528">
                  <c:v>-2.7606522857380771</c:v>
                </c:pt>
                <c:pt idx="1529">
                  <c:v>-2.8262273154205522</c:v>
                </c:pt>
                <c:pt idx="1530">
                  <c:v>-2.7481094806205517</c:v>
                </c:pt>
                <c:pt idx="1531">
                  <c:v>-2.7169828780125442</c:v>
                </c:pt>
                <c:pt idx="1532">
                  <c:v>-2.7099892972746971</c:v>
                </c:pt>
                <c:pt idx="1533">
                  <c:v>-2.7135203524170488</c:v>
                </c:pt>
                <c:pt idx="1534">
                  <c:v>-2.6973791467240051</c:v>
                </c:pt>
                <c:pt idx="1535">
                  <c:v>-2.785509202477586</c:v>
                </c:pt>
                <c:pt idx="1536">
                  <c:v>-2.6917721157892012</c:v>
                </c:pt>
                <c:pt idx="1537">
                  <c:v>-2.6874657253749388</c:v>
                </c:pt>
                <c:pt idx="1538">
                  <c:v>-2.6866336463275822</c:v>
                </c:pt>
                <c:pt idx="1539">
                  <c:v>-2.6856336914878489</c:v>
                </c:pt>
                <c:pt idx="1540">
                  <c:v>-2.7550506753583108</c:v>
                </c:pt>
                <c:pt idx="1541">
                  <c:v>-2.6851491949943269</c:v>
                </c:pt>
                <c:pt idx="1542">
                  <c:v>-2.6846556025624744</c:v>
                </c:pt>
                <c:pt idx="1543">
                  <c:v>-2.6827653761497006</c:v>
                </c:pt>
                <c:pt idx="1544">
                  <c:v>-2.6693059251208151</c:v>
                </c:pt>
                <c:pt idx="1545">
                  <c:v>-2.6683124170097221</c:v>
                </c:pt>
                <c:pt idx="1546">
                  <c:v>-2.7030047465968887</c:v>
                </c:pt>
                <c:pt idx="1547">
                  <c:v>-2.6664516024251261</c:v>
                </c:pt>
                <c:pt idx="1548">
                  <c:v>-2.6664745767406615</c:v>
                </c:pt>
                <c:pt idx="1549">
                  <c:v>-2.6661216119415125</c:v>
                </c:pt>
                <c:pt idx="1550">
                  <c:v>-2.6675411654709662</c:v>
                </c:pt>
                <c:pt idx="1551">
                  <c:v>-2.6672267053407843</c:v>
                </c:pt>
                <c:pt idx="1552">
                  <c:v>-2.685083398870785</c:v>
                </c:pt>
                <c:pt idx="1553">
                  <c:v>-2.6587940619571993</c:v>
                </c:pt>
                <c:pt idx="1554">
                  <c:v>-2.6534640830021203</c:v>
                </c:pt>
                <c:pt idx="1555">
                  <c:v>-2.6408667428282251</c:v>
                </c:pt>
                <c:pt idx="1556">
                  <c:v>-2.7800499719069909</c:v>
                </c:pt>
                <c:pt idx="1557">
                  <c:v>-2.6425568864126476</c:v>
                </c:pt>
                <c:pt idx="1558">
                  <c:v>-2.6606467759044592</c:v>
                </c:pt>
                <c:pt idx="1559">
                  <c:v>-2.6373445580497608</c:v>
                </c:pt>
                <c:pt idx="1560">
                  <c:v>-2.633121967836221</c:v>
                </c:pt>
                <c:pt idx="1561">
                  <c:v>-2.6350764917582987</c:v>
                </c:pt>
                <c:pt idx="1562">
                  <c:v>-2.6321206521496032</c:v>
                </c:pt>
                <c:pt idx="1563">
                  <c:v>-2.6877601972365976</c:v>
                </c:pt>
                <c:pt idx="1564">
                  <c:v>-2.6503104274348863</c:v>
                </c:pt>
                <c:pt idx="1565">
                  <c:v>-2.6676189471072203</c:v>
                </c:pt>
                <c:pt idx="1566">
                  <c:v>-2.6376653591805828</c:v>
                </c:pt>
                <c:pt idx="1567">
                  <c:v>-2.6463655109466497</c:v>
                </c:pt>
                <c:pt idx="1568">
                  <c:v>-2.6237154310604933</c:v>
                </c:pt>
                <c:pt idx="1569">
                  <c:v>-2.62780713031743</c:v>
                </c:pt>
                <c:pt idx="1570">
                  <c:v>-2.6354638603183735</c:v>
                </c:pt>
                <c:pt idx="1571">
                  <c:v>-2.6259590725223281</c:v>
                </c:pt>
                <c:pt idx="1572">
                  <c:v>-2.6150495529138609</c:v>
                </c:pt>
                <c:pt idx="1573">
                  <c:v>-2.6624446834529323</c:v>
                </c:pt>
                <c:pt idx="1574">
                  <c:v>-2.647941644050082</c:v>
                </c:pt>
                <c:pt idx="1575">
                  <c:v>-2.617765532178038</c:v>
                </c:pt>
                <c:pt idx="1576">
                  <c:v>-2.6173325383771133</c:v>
                </c:pt>
                <c:pt idx="1577">
                  <c:v>-2.6159913122519898</c:v>
                </c:pt>
                <c:pt idx="1578">
                  <c:v>-2.6133223142070365</c:v>
                </c:pt>
                <c:pt idx="1579">
                  <c:v>-2.5929364057179787</c:v>
                </c:pt>
                <c:pt idx="1580">
                  <c:v>-2.6087191307923083</c:v>
                </c:pt>
                <c:pt idx="1581">
                  <c:v>-2.5990263377485201</c:v>
                </c:pt>
                <c:pt idx="1582">
                  <c:v>-2.5901694987041175</c:v>
                </c:pt>
                <c:pt idx="1583">
                  <c:v>-2.5743701967793928</c:v>
                </c:pt>
                <c:pt idx="1584">
                  <c:v>-2.6047644494520896</c:v>
                </c:pt>
                <c:pt idx="1585">
                  <c:v>-2.5864710181185764</c:v>
                </c:pt>
                <c:pt idx="1586">
                  <c:v>-2.5779911988567359</c:v>
                </c:pt>
                <c:pt idx="1587">
                  <c:v>-2.5804824048123178</c:v>
                </c:pt>
                <c:pt idx="1588">
                  <c:v>-2.5678446807823043</c:v>
                </c:pt>
                <c:pt idx="1589">
                  <c:v>-2.5646626316669701</c:v>
                </c:pt>
                <c:pt idx="1590">
                  <c:v>-2.5594948296089419</c:v>
                </c:pt>
                <c:pt idx="1591">
                  <c:v>-2.5577024422820895</c:v>
                </c:pt>
                <c:pt idx="1592">
                  <c:v>-2.5754842941004696</c:v>
                </c:pt>
                <c:pt idx="1593">
                  <c:v>-2.5820169560955701</c:v>
                </c:pt>
                <c:pt idx="1594">
                  <c:v>-2.5530640712833352</c:v>
                </c:pt>
                <c:pt idx="1595">
                  <c:v>-2.5440725446294667</c:v>
                </c:pt>
                <c:pt idx="1596">
                  <c:v>-2.6030512687945135</c:v>
                </c:pt>
                <c:pt idx="1597">
                  <c:v>-2.5691890036450173</c:v>
                </c:pt>
                <c:pt idx="1598">
                  <c:v>-2.546769635530747</c:v>
                </c:pt>
                <c:pt idx="1599">
                  <c:v>-2.5490560325022744</c:v>
                </c:pt>
                <c:pt idx="1600">
                  <c:v>-2.537078501908876</c:v>
                </c:pt>
                <c:pt idx="1601">
                  <c:v>-2.5371001413364596</c:v>
                </c:pt>
                <c:pt idx="1602">
                  <c:v>-2.5313010505140388</c:v>
                </c:pt>
                <c:pt idx="1603">
                  <c:v>-2.5372711194363711</c:v>
                </c:pt>
                <c:pt idx="1604">
                  <c:v>-2.5344543568309166</c:v>
                </c:pt>
                <c:pt idx="1605">
                  <c:v>-2.5309230085563348</c:v>
                </c:pt>
                <c:pt idx="1606">
                  <c:v>-2.5237514398866914</c:v>
                </c:pt>
                <c:pt idx="1607">
                  <c:v>-2.5226798262283805</c:v>
                </c:pt>
                <c:pt idx="1608">
                  <c:v>-2.5437857984975327</c:v>
                </c:pt>
                <c:pt idx="1609">
                  <c:v>-2.523094144285654</c:v>
                </c:pt>
                <c:pt idx="1610">
                  <c:v>-2.4954494981975004</c:v>
                </c:pt>
                <c:pt idx="1611">
                  <c:v>-2.5062443715060758</c:v>
                </c:pt>
                <c:pt idx="1612">
                  <c:v>-2.5066749584299837</c:v>
                </c:pt>
                <c:pt idx="1613">
                  <c:v>-2.4928273736201372</c:v>
                </c:pt>
                <c:pt idx="1614">
                  <c:v>-2.4881905655797008</c:v>
                </c:pt>
                <c:pt idx="1615">
                  <c:v>-2.4789408515710809</c:v>
                </c:pt>
                <c:pt idx="1616">
                  <c:v>-2.5064781378507912</c:v>
                </c:pt>
                <c:pt idx="1617">
                  <c:v>-2.4757909250415979</c:v>
                </c:pt>
                <c:pt idx="1618">
                  <c:v>-2.4754881735313159</c:v>
                </c:pt>
                <c:pt idx="1619">
                  <c:v>-2.47195970254886</c:v>
                </c:pt>
                <c:pt idx="1620">
                  <c:v>-2.4696469757771853</c:v>
                </c:pt>
                <c:pt idx="1621">
                  <c:v>-2.4678413565022965</c:v>
                </c:pt>
                <c:pt idx="1622">
                  <c:v>-2.5394144761631861</c:v>
                </c:pt>
                <c:pt idx="1623">
                  <c:v>-2.4617643766455855</c:v>
                </c:pt>
                <c:pt idx="1624">
                  <c:v>-2.4599512825427645</c:v>
                </c:pt>
                <c:pt idx="1625">
                  <c:v>-2.5177647433879056</c:v>
                </c:pt>
                <c:pt idx="1626">
                  <c:v>-2.4661825544624003</c:v>
                </c:pt>
                <c:pt idx="1627">
                  <c:v>-2.4776174422969075</c:v>
                </c:pt>
                <c:pt idx="1628">
                  <c:v>-2.4574025256899925</c:v>
                </c:pt>
                <c:pt idx="1629">
                  <c:v>-2.4739376649308489</c:v>
                </c:pt>
                <c:pt idx="1630">
                  <c:v>-2.4794337070319585</c:v>
                </c:pt>
                <c:pt idx="1631">
                  <c:v>-2.4511426231470601</c:v>
                </c:pt>
                <c:pt idx="1632">
                  <c:v>-2.4508448535126774</c:v>
                </c:pt>
                <c:pt idx="1633">
                  <c:v>-2.4462888022695961</c:v>
                </c:pt>
                <c:pt idx="1634">
                  <c:v>-2.4468575740495715</c:v>
                </c:pt>
                <c:pt idx="1635">
                  <c:v>-2.4421559765280856</c:v>
                </c:pt>
                <c:pt idx="1636">
                  <c:v>-2.4399415809124214</c:v>
                </c:pt>
                <c:pt idx="1637">
                  <c:v>-2.4425494118443964</c:v>
                </c:pt>
                <c:pt idx="1638">
                  <c:v>-2.4390987007138794</c:v>
                </c:pt>
                <c:pt idx="1639">
                  <c:v>-2.4407271955389347</c:v>
                </c:pt>
                <c:pt idx="1640">
                  <c:v>-2.4376712445723272</c:v>
                </c:pt>
                <c:pt idx="1641">
                  <c:v>-2.4227055342309609</c:v>
                </c:pt>
                <c:pt idx="1642">
                  <c:v>-2.4505297959775749</c:v>
                </c:pt>
                <c:pt idx="1643">
                  <c:v>-2.4215681993997191</c:v>
                </c:pt>
                <c:pt idx="1644">
                  <c:v>-2.4280867784928524</c:v>
                </c:pt>
                <c:pt idx="1645">
                  <c:v>-2.4122185661035664</c:v>
                </c:pt>
                <c:pt idx="1646">
                  <c:v>-2.400142291138907</c:v>
                </c:pt>
                <c:pt idx="1647">
                  <c:v>-2.3992482954096008</c:v>
                </c:pt>
                <c:pt idx="1648">
                  <c:v>-2.4548617657213305</c:v>
                </c:pt>
                <c:pt idx="1649">
                  <c:v>-2.3943581278404245</c:v>
                </c:pt>
                <c:pt idx="1650">
                  <c:v>-2.3920153327249456</c:v>
                </c:pt>
                <c:pt idx="1651">
                  <c:v>-2.3763839641705244</c:v>
                </c:pt>
                <c:pt idx="1652">
                  <c:v>-2.3669816904667869</c:v>
                </c:pt>
                <c:pt idx="1653">
                  <c:v>-2.3652512112896469</c:v>
                </c:pt>
                <c:pt idx="1654">
                  <c:v>-2.389332193098312</c:v>
                </c:pt>
                <c:pt idx="1655">
                  <c:v>-2.3573158818557958</c:v>
                </c:pt>
                <c:pt idx="1656">
                  <c:v>-2.3566254103449085</c:v>
                </c:pt>
                <c:pt idx="1657">
                  <c:v>-2.1039006667090474</c:v>
                </c:pt>
                <c:pt idx="1658">
                  <c:v>-2.2194982482552943</c:v>
                </c:pt>
                <c:pt idx="1659">
                  <c:v>-2.3826659049844277</c:v>
                </c:pt>
                <c:pt idx="1660">
                  <c:v>-2.2898020650428679</c:v>
                </c:pt>
                <c:pt idx="1661">
                  <c:v>-2.1777204286791041</c:v>
                </c:pt>
                <c:pt idx="1662">
                  <c:v>-2.2549476869778218</c:v>
                </c:pt>
                <c:pt idx="1663">
                  <c:v>-2.2184020629837375</c:v>
                </c:pt>
                <c:pt idx="1664">
                  <c:v>-2.1833619222588716</c:v>
                </c:pt>
                <c:pt idx="1665">
                  <c:v>-2.2700019683127173</c:v>
                </c:pt>
                <c:pt idx="1666">
                  <c:v>-2.1645477413449048</c:v>
                </c:pt>
                <c:pt idx="1667">
                  <c:v>-2.3010930586560998</c:v>
                </c:pt>
                <c:pt idx="1668">
                  <c:v>-2.1266129779296805</c:v>
                </c:pt>
                <c:pt idx="1669">
                  <c:v>-2.2431535570861882</c:v>
                </c:pt>
                <c:pt idx="1670">
                  <c:v>-2.3368451676369486</c:v>
                </c:pt>
                <c:pt idx="1671">
                  <c:v>-2.1982771175582121</c:v>
                </c:pt>
                <c:pt idx="1672">
                  <c:v>-2.2641865831604653</c:v>
                </c:pt>
                <c:pt idx="1673">
                  <c:v>-2.2837967587404391</c:v>
                </c:pt>
                <c:pt idx="1674">
                  <c:v>-2.0836149031786313</c:v>
                </c:pt>
                <c:pt idx="1675">
                  <c:v>-2.1726992750984868</c:v>
                </c:pt>
                <c:pt idx="1676">
                  <c:v>-1.3975682476874423</c:v>
                </c:pt>
                <c:pt idx="1677">
                  <c:v>-0.13963838237224266</c:v>
                </c:pt>
                <c:pt idx="1678">
                  <c:v>0.44242786508035248</c:v>
                </c:pt>
                <c:pt idx="1679">
                  <c:v>0.4432837611360152</c:v>
                </c:pt>
                <c:pt idx="1680">
                  <c:v>0.51376029196483886</c:v>
                </c:pt>
                <c:pt idx="1681">
                  <c:v>0.48924387019518023</c:v>
                </c:pt>
                <c:pt idx="1682">
                  <c:v>0.43705695411013123</c:v>
                </c:pt>
                <c:pt idx="1683">
                  <c:v>0.50235060746713311</c:v>
                </c:pt>
                <c:pt idx="1684">
                  <c:v>0.42120036696765462</c:v>
                </c:pt>
                <c:pt idx="1685">
                  <c:v>0.52147271213797353</c:v>
                </c:pt>
                <c:pt idx="1686">
                  <c:v>0.59842768746409969</c:v>
                </c:pt>
                <c:pt idx="1687">
                  <c:v>0.46550900171022946</c:v>
                </c:pt>
                <c:pt idx="1688">
                  <c:v>0.54992482019282496</c:v>
                </c:pt>
                <c:pt idx="1689">
                  <c:v>0.61102219240797784</c:v>
                </c:pt>
                <c:pt idx="1690">
                  <c:v>0.45338507133339223</c:v>
                </c:pt>
                <c:pt idx="1691">
                  <c:v>0.64600136256986562</c:v>
                </c:pt>
                <c:pt idx="1692">
                  <c:v>0.50702020318696472</c:v>
                </c:pt>
                <c:pt idx="1693">
                  <c:v>0.61568742601966109</c:v>
                </c:pt>
                <c:pt idx="1694">
                  <c:v>0.50795310700410434</c:v>
                </c:pt>
                <c:pt idx="1695">
                  <c:v>0.74907335082317683</c:v>
                </c:pt>
                <c:pt idx="1696">
                  <c:v>0.58350783523166794</c:v>
                </c:pt>
                <c:pt idx="1697">
                  <c:v>0.71934518672237835</c:v>
                </c:pt>
                <c:pt idx="1698">
                  <c:v>0.7378817912292206</c:v>
                </c:pt>
                <c:pt idx="1699">
                  <c:v>0.57464868140366687</c:v>
                </c:pt>
                <c:pt idx="1700">
                  <c:v>0.65533324019197225</c:v>
                </c:pt>
                <c:pt idx="1701">
                  <c:v>0.58864122418131148</c:v>
                </c:pt>
                <c:pt idx="1702">
                  <c:v>0.65766586009085748</c:v>
                </c:pt>
                <c:pt idx="1703">
                  <c:v>0.53314205415056826</c:v>
                </c:pt>
                <c:pt idx="1704">
                  <c:v>0.68145186619295406</c:v>
                </c:pt>
                <c:pt idx="1705">
                  <c:v>0.74814528559638682</c:v>
                </c:pt>
                <c:pt idx="1706">
                  <c:v>0.62502064818020642</c:v>
                </c:pt>
                <c:pt idx="1707">
                  <c:v>0.72669211608016826</c:v>
                </c:pt>
                <c:pt idx="1708">
                  <c:v>0.61522713072399782</c:v>
                </c:pt>
                <c:pt idx="1709">
                  <c:v>0.69035083912879192</c:v>
                </c:pt>
                <c:pt idx="1710">
                  <c:v>0.7994482782003467</c:v>
                </c:pt>
                <c:pt idx="1711">
                  <c:v>0.66233244296198213</c:v>
                </c:pt>
                <c:pt idx="1712">
                  <c:v>0.82323514000224307</c:v>
                </c:pt>
                <c:pt idx="1713">
                  <c:v>0.67445938618752632</c:v>
                </c:pt>
                <c:pt idx="1714">
                  <c:v>0.79338795686231145</c:v>
                </c:pt>
                <c:pt idx="1715">
                  <c:v>0.64181390776053282</c:v>
                </c:pt>
                <c:pt idx="1716">
                  <c:v>0.70004372416282634</c:v>
                </c:pt>
                <c:pt idx="1717">
                  <c:v>0.55526699199425333</c:v>
                </c:pt>
                <c:pt idx="1718">
                  <c:v>0.28524874161331115</c:v>
                </c:pt>
                <c:pt idx="1719">
                  <c:v>0.28992398782350248</c:v>
                </c:pt>
                <c:pt idx="1720">
                  <c:v>0.30099320554751285</c:v>
                </c:pt>
                <c:pt idx="1721">
                  <c:v>9.7891979627612508E-2</c:v>
                </c:pt>
                <c:pt idx="1722">
                  <c:v>-0.69424323188494608</c:v>
                </c:pt>
                <c:pt idx="1723">
                  <c:v>-0.72847707711001963</c:v>
                </c:pt>
                <c:pt idx="1724">
                  <c:v>-2.7959270641166016</c:v>
                </c:pt>
                <c:pt idx="1725">
                  <c:v>-2.3432798323236796</c:v>
                </c:pt>
                <c:pt idx="1726">
                  <c:v>-2.2756782422280981</c:v>
                </c:pt>
                <c:pt idx="1727">
                  <c:v>-2.2406307257086793</c:v>
                </c:pt>
                <c:pt idx="1728">
                  <c:v>-2.1287303835016411</c:v>
                </c:pt>
                <c:pt idx="1729">
                  <c:v>-1.7167963537941393</c:v>
                </c:pt>
                <c:pt idx="1730">
                  <c:v>-1.8451073754031762</c:v>
                </c:pt>
                <c:pt idx="1731">
                  <c:v>-1.9775903841780749</c:v>
                </c:pt>
                <c:pt idx="1732">
                  <c:v>-1.8160667732363147</c:v>
                </c:pt>
                <c:pt idx="1733">
                  <c:v>-1.8439952631637277</c:v>
                </c:pt>
                <c:pt idx="1734">
                  <c:v>-1.9076483758958114</c:v>
                </c:pt>
                <c:pt idx="1735">
                  <c:v>-1.8151409419418889</c:v>
                </c:pt>
                <c:pt idx="1736">
                  <c:v>-1.6205082345039021</c:v>
                </c:pt>
                <c:pt idx="1737">
                  <c:v>-1.7813960498751586</c:v>
                </c:pt>
                <c:pt idx="1738">
                  <c:v>-1.6722922802622842</c:v>
                </c:pt>
                <c:pt idx="1739">
                  <c:v>-1.5325485036655815</c:v>
                </c:pt>
                <c:pt idx="1740">
                  <c:v>-1.7423189249500473</c:v>
                </c:pt>
                <c:pt idx="1741">
                  <c:v>-1.6047129403881315</c:v>
                </c:pt>
                <c:pt idx="1742">
                  <c:v>-1.4762151379852964</c:v>
                </c:pt>
                <c:pt idx="1743">
                  <c:v>-1.6461489522382169</c:v>
                </c:pt>
                <c:pt idx="1744">
                  <c:v>-1.4998756268462494</c:v>
                </c:pt>
                <c:pt idx="1745">
                  <c:v>-1.4100346480045944</c:v>
                </c:pt>
                <c:pt idx="1746">
                  <c:v>-1.5976911814832357</c:v>
                </c:pt>
                <c:pt idx="1747">
                  <c:v>-1.4071110513911695</c:v>
                </c:pt>
                <c:pt idx="1748">
                  <c:v>-1.4495876414373323</c:v>
                </c:pt>
                <c:pt idx="1749">
                  <c:v>-1.5161730542089127</c:v>
                </c:pt>
                <c:pt idx="1750">
                  <c:v>-0.27867318554896869</c:v>
                </c:pt>
                <c:pt idx="1751">
                  <c:v>0.71217743820019752</c:v>
                </c:pt>
                <c:pt idx="1752">
                  <c:v>0.6184682494906345</c:v>
                </c:pt>
                <c:pt idx="1753">
                  <c:v>0.80035231126641371</c:v>
                </c:pt>
                <c:pt idx="1754">
                  <c:v>0.73224779462102596</c:v>
                </c:pt>
                <c:pt idx="1755">
                  <c:v>0.62286973942816526</c:v>
                </c:pt>
                <c:pt idx="1756">
                  <c:v>0.85255165116449061</c:v>
                </c:pt>
                <c:pt idx="1757">
                  <c:v>0.71285885111493774</c:v>
                </c:pt>
                <c:pt idx="1758">
                  <c:v>0.82476527447018766</c:v>
                </c:pt>
                <c:pt idx="1759">
                  <c:v>0.66828271479504631</c:v>
                </c:pt>
                <c:pt idx="1760">
                  <c:v>0.79138682449375275</c:v>
                </c:pt>
                <c:pt idx="1761">
                  <c:v>0.69693064453667775</c:v>
                </c:pt>
                <c:pt idx="1762">
                  <c:v>0.80790921235864277</c:v>
                </c:pt>
                <c:pt idx="1763">
                  <c:v>0.71485063841118446</c:v>
                </c:pt>
                <c:pt idx="1764">
                  <c:v>0.79296202964519624</c:v>
                </c:pt>
                <c:pt idx="1765">
                  <c:v>0.72577447987616661</c:v>
                </c:pt>
                <c:pt idx="1766">
                  <c:v>0.80457362224604723</c:v>
                </c:pt>
                <c:pt idx="1767">
                  <c:v>0.7199061308303214</c:v>
                </c:pt>
                <c:pt idx="1768">
                  <c:v>0.80336628720769387</c:v>
                </c:pt>
                <c:pt idx="1769">
                  <c:v>0.72592944741447796</c:v>
                </c:pt>
                <c:pt idx="1770">
                  <c:v>0.81009618927748739</c:v>
                </c:pt>
                <c:pt idx="1771">
                  <c:v>0.70280728849869689</c:v>
                </c:pt>
                <c:pt idx="1772">
                  <c:v>0.83547810071269812</c:v>
                </c:pt>
                <c:pt idx="1773">
                  <c:v>0.76761176074472637</c:v>
                </c:pt>
                <c:pt idx="1774">
                  <c:v>0.82794916469235225</c:v>
                </c:pt>
                <c:pt idx="1775">
                  <c:v>0.72696035466152464</c:v>
                </c:pt>
                <c:pt idx="1776">
                  <c:v>0.86032271530650672</c:v>
                </c:pt>
                <c:pt idx="1777">
                  <c:v>0.72576002067290257</c:v>
                </c:pt>
                <c:pt idx="1778">
                  <c:v>0.80853123892783962</c:v>
                </c:pt>
                <c:pt idx="1779">
                  <c:v>0.87358216617156481</c:v>
                </c:pt>
                <c:pt idx="1780">
                  <c:v>0.70123841837780576</c:v>
                </c:pt>
                <c:pt idx="1781">
                  <c:v>0.83764428341098995</c:v>
                </c:pt>
                <c:pt idx="1782">
                  <c:v>0.73222255100852529</c:v>
                </c:pt>
                <c:pt idx="1783">
                  <c:v>0.88867855932374473</c:v>
                </c:pt>
                <c:pt idx="1784">
                  <c:v>0.75200395615663218</c:v>
                </c:pt>
                <c:pt idx="1785">
                  <c:v>0.91779160376867763</c:v>
                </c:pt>
                <c:pt idx="1786">
                  <c:v>0.79769006041189083</c:v>
                </c:pt>
                <c:pt idx="1787">
                  <c:v>0.88044204723055297</c:v>
                </c:pt>
                <c:pt idx="1788">
                  <c:v>0.92451783109749863</c:v>
                </c:pt>
                <c:pt idx="1789">
                  <c:v>0.77689983611542257</c:v>
                </c:pt>
                <c:pt idx="1790">
                  <c:v>0.94290738737850577</c:v>
                </c:pt>
                <c:pt idx="1791">
                  <c:v>0.79435138897944269</c:v>
                </c:pt>
                <c:pt idx="1792">
                  <c:v>0.93470781967376992</c:v>
                </c:pt>
                <c:pt idx="1793">
                  <c:v>0.73671674855645986</c:v>
                </c:pt>
                <c:pt idx="1794">
                  <c:v>0.8269542751265504</c:v>
                </c:pt>
                <c:pt idx="1795">
                  <c:v>0.9199825004571921</c:v>
                </c:pt>
                <c:pt idx="1796">
                  <c:v>0.75883376310464323</c:v>
                </c:pt>
                <c:pt idx="1797">
                  <c:v>0.9316213604345891</c:v>
                </c:pt>
                <c:pt idx="1798">
                  <c:v>0.7888850559718803</c:v>
                </c:pt>
                <c:pt idx="1799">
                  <c:v>0.98031806703511848</c:v>
                </c:pt>
                <c:pt idx="1800">
                  <c:v>0.91723231090176893</c:v>
                </c:pt>
                <c:pt idx="1801">
                  <c:v>0.76786904843382764</c:v>
                </c:pt>
                <c:pt idx="1802">
                  <c:v>0.84971169519033674</c:v>
                </c:pt>
                <c:pt idx="1803">
                  <c:v>0.97865125192163172</c:v>
                </c:pt>
                <c:pt idx="1804">
                  <c:v>0.77366854163706755</c:v>
                </c:pt>
                <c:pt idx="1805">
                  <c:v>0.85503711274323202</c:v>
                </c:pt>
                <c:pt idx="1806">
                  <c:v>0.96066299567554703</c:v>
                </c:pt>
                <c:pt idx="1807">
                  <c:v>0.76546701407481132</c:v>
                </c:pt>
                <c:pt idx="1808">
                  <c:v>0.89767893969954327</c:v>
                </c:pt>
                <c:pt idx="1809">
                  <c:v>0.77639418178223374</c:v>
                </c:pt>
                <c:pt idx="1810">
                  <c:v>0.9855556718664541</c:v>
                </c:pt>
                <c:pt idx="1811">
                  <c:v>0.88177040596065981</c:v>
                </c:pt>
                <c:pt idx="1812">
                  <c:v>0.78715571046097077</c:v>
                </c:pt>
                <c:pt idx="1813">
                  <c:v>0.97931940381413329</c:v>
                </c:pt>
                <c:pt idx="1814">
                  <c:v>0.77870369702394038</c:v>
                </c:pt>
                <c:pt idx="1815">
                  <c:v>0.80668685708692967</c:v>
                </c:pt>
                <c:pt idx="1816">
                  <c:v>0.95562384607779594</c:v>
                </c:pt>
                <c:pt idx="1817">
                  <c:v>0.69344568535385953</c:v>
                </c:pt>
                <c:pt idx="1818">
                  <c:v>0.77814008466633822</c:v>
                </c:pt>
                <c:pt idx="1819">
                  <c:v>0.85921903603496086</c:v>
                </c:pt>
                <c:pt idx="1820">
                  <c:v>0.64122300968276991</c:v>
                </c:pt>
                <c:pt idx="1821">
                  <c:v>0.8623020044872346</c:v>
                </c:pt>
                <c:pt idx="1822">
                  <c:v>1.3089725740813072</c:v>
                </c:pt>
                <c:pt idx="1823">
                  <c:v>0.98563952864793791</c:v>
                </c:pt>
                <c:pt idx="1824">
                  <c:v>1.3036379743057676</c:v>
                </c:pt>
                <c:pt idx="1825">
                  <c:v>1.0917513731429676</c:v>
                </c:pt>
                <c:pt idx="1826">
                  <c:v>1.2627857404002731</c:v>
                </c:pt>
                <c:pt idx="1827">
                  <c:v>1.0728560220068488</c:v>
                </c:pt>
                <c:pt idx="1828">
                  <c:v>1.1790606969645119</c:v>
                </c:pt>
                <c:pt idx="1829">
                  <c:v>1.1605318122740345</c:v>
                </c:pt>
                <c:pt idx="1830">
                  <c:v>1.1234457557019919</c:v>
                </c:pt>
                <c:pt idx="1831">
                  <c:v>1.0598564502485448</c:v>
                </c:pt>
                <c:pt idx="1832">
                  <c:v>1.2231771396438547</c:v>
                </c:pt>
                <c:pt idx="1833">
                  <c:v>1.1302770148244123</c:v>
                </c:pt>
                <c:pt idx="1834">
                  <c:v>1.117691411895428</c:v>
                </c:pt>
                <c:pt idx="1835">
                  <c:v>1.0653469890033622</c:v>
                </c:pt>
                <c:pt idx="1836">
                  <c:v>0.76932096951865558</c:v>
                </c:pt>
                <c:pt idx="1837">
                  <c:v>0.92674602630458169</c:v>
                </c:pt>
                <c:pt idx="1838">
                  <c:v>0.78105069855661258</c:v>
                </c:pt>
                <c:pt idx="1839">
                  <c:v>0.8743915927233944</c:v>
                </c:pt>
                <c:pt idx="1840">
                  <c:v>0.87460418330945611</c:v>
                </c:pt>
                <c:pt idx="1841">
                  <c:v>0.73537627422357721</c:v>
                </c:pt>
                <c:pt idx="1842">
                  <c:v>0.74521036002093577</c:v>
                </c:pt>
                <c:pt idx="1843">
                  <c:v>0.61270860512002534</c:v>
                </c:pt>
                <c:pt idx="1844">
                  <c:v>0.5398879564988186</c:v>
                </c:pt>
                <c:pt idx="1845">
                  <c:v>0.37267770817360391</c:v>
                </c:pt>
                <c:pt idx="1846">
                  <c:v>0.15914651669974519</c:v>
                </c:pt>
                <c:pt idx="1847">
                  <c:v>2.3664673623756211E-2</c:v>
                </c:pt>
                <c:pt idx="1848">
                  <c:v>6.071217926512093E-2</c:v>
                </c:pt>
                <c:pt idx="1849">
                  <c:v>-0.22110622439573294</c:v>
                </c:pt>
                <c:pt idx="1850">
                  <c:v>-0.12401768120720716</c:v>
                </c:pt>
                <c:pt idx="1851">
                  <c:v>-0.29448092473099963</c:v>
                </c:pt>
                <c:pt idx="1852">
                  <c:v>-0.33088632907292403</c:v>
                </c:pt>
                <c:pt idx="1853">
                  <c:v>-0.5563830612953411</c:v>
                </c:pt>
                <c:pt idx="1854">
                  <c:v>-0.49924855696272541</c:v>
                </c:pt>
                <c:pt idx="1855">
                  <c:v>-0.79368901065192143</c:v>
                </c:pt>
                <c:pt idx="1856">
                  <c:v>-0.61296674584998723</c:v>
                </c:pt>
                <c:pt idx="1857">
                  <c:v>-0.83849291999437847</c:v>
                </c:pt>
                <c:pt idx="1858">
                  <c:v>-0.82677320330636084</c:v>
                </c:pt>
                <c:pt idx="1859">
                  <c:v>-0.76127434487300438</c:v>
                </c:pt>
                <c:pt idx="1860">
                  <c:v>-0.99447748719803908</c:v>
                </c:pt>
                <c:pt idx="1861">
                  <c:v>-0.86292211023630205</c:v>
                </c:pt>
                <c:pt idx="1862">
                  <c:v>-0.97939393733237012</c:v>
                </c:pt>
                <c:pt idx="1863">
                  <c:v>-0.87163040743383968</c:v>
                </c:pt>
                <c:pt idx="1864">
                  <c:v>-1.0347381870785073</c:v>
                </c:pt>
                <c:pt idx="1865">
                  <c:v>-0.92640356333154172</c:v>
                </c:pt>
                <c:pt idx="1866">
                  <c:v>-1.0170623424438188</c:v>
                </c:pt>
                <c:pt idx="1867">
                  <c:v>-0.86677041871032645</c:v>
                </c:pt>
                <c:pt idx="1868">
                  <c:v>-0.97295485086017353</c:v>
                </c:pt>
                <c:pt idx="1869">
                  <c:v>-0.90740026732356638</c:v>
                </c:pt>
                <c:pt idx="1870">
                  <c:v>-0.98655123447949622</c:v>
                </c:pt>
                <c:pt idx="1871">
                  <c:v>-0.85534668309240347</c:v>
                </c:pt>
                <c:pt idx="1872">
                  <c:v>-0.98504642867912784</c:v>
                </c:pt>
                <c:pt idx="1873">
                  <c:v>-0.856827488718646</c:v>
                </c:pt>
                <c:pt idx="1874">
                  <c:v>-0.99599233692159106</c:v>
                </c:pt>
                <c:pt idx="1875">
                  <c:v>-0.90362857112369288</c:v>
                </c:pt>
                <c:pt idx="1876">
                  <c:v>-0.96846764225469761</c:v>
                </c:pt>
                <c:pt idx="1877">
                  <c:v>-0.84779363368498628</c:v>
                </c:pt>
                <c:pt idx="1878">
                  <c:v>-0.92379453877258655</c:v>
                </c:pt>
                <c:pt idx="1879">
                  <c:v>-0.86309878449770094</c:v>
                </c:pt>
                <c:pt idx="1880">
                  <c:v>-0.82702565843806708</c:v>
                </c:pt>
                <c:pt idx="1881">
                  <c:v>-0.96210704533751312</c:v>
                </c:pt>
                <c:pt idx="1882">
                  <c:v>-0.86928243009750639</c:v>
                </c:pt>
                <c:pt idx="1883">
                  <c:v>-1.0051901097227773</c:v>
                </c:pt>
                <c:pt idx="1884">
                  <c:v>-0.78801302132437123</c:v>
                </c:pt>
                <c:pt idx="1885">
                  <c:v>-0.93615291232690856</c:v>
                </c:pt>
                <c:pt idx="1886">
                  <c:v>-0.76031590414361538</c:v>
                </c:pt>
                <c:pt idx="1887">
                  <c:v>-1.0093730139772039</c:v>
                </c:pt>
                <c:pt idx="1888">
                  <c:v>-0.84566012529871659</c:v>
                </c:pt>
                <c:pt idx="1889">
                  <c:v>-1.0131101893466017</c:v>
                </c:pt>
                <c:pt idx="1890">
                  <c:v>-0.76732082636028776</c:v>
                </c:pt>
                <c:pt idx="1891">
                  <c:v>-0.93380654371885075</c:v>
                </c:pt>
                <c:pt idx="1892">
                  <c:v>-0.78829932530268576</c:v>
                </c:pt>
                <c:pt idx="1893">
                  <c:v>-1.0294353673067822</c:v>
                </c:pt>
                <c:pt idx="1894">
                  <c:v>-0.84426909600900424</c:v>
                </c:pt>
                <c:pt idx="1895">
                  <c:v>-0.91422176568461577</c:v>
                </c:pt>
                <c:pt idx="1896">
                  <c:v>-0.79619907841272475</c:v>
                </c:pt>
                <c:pt idx="1897">
                  <c:v>-0.9365819493421278</c:v>
                </c:pt>
                <c:pt idx="1898">
                  <c:v>-0.8493561934293189</c:v>
                </c:pt>
                <c:pt idx="1899">
                  <c:v>-0.93237375562071734</c:v>
                </c:pt>
                <c:pt idx="1900">
                  <c:v>-0.79943368988165686</c:v>
                </c:pt>
                <c:pt idx="1901">
                  <c:v>-0.93469397792058662</c:v>
                </c:pt>
                <c:pt idx="1902">
                  <c:v>-0.80827288140439701</c:v>
                </c:pt>
                <c:pt idx="1903">
                  <c:v>-0.91833348635578094</c:v>
                </c:pt>
                <c:pt idx="1904">
                  <c:v>-0.80871320008870462</c:v>
                </c:pt>
                <c:pt idx="1905">
                  <c:v>-0.96168170558363841</c:v>
                </c:pt>
                <c:pt idx="1906">
                  <c:v>-0.77231035783126079</c:v>
                </c:pt>
                <c:pt idx="1907">
                  <c:v>-0.89217926514266566</c:v>
                </c:pt>
                <c:pt idx="1908">
                  <c:v>-0.84434978184399234</c:v>
                </c:pt>
                <c:pt idx="1909">
                  <c:v>-0.79583855850685203</c:v>
                </c:pt>
                <c:pt idx="1910">
                  <c:v>-0.97003868919149006</c:v>
                </c:pt>
                <c:pt idx="1911">
                  <c:v>-0.81493460202246448</c:v>
                </c:pt>
                <c:pt idx="1912">
                  <c:v>-0.94131106312445889</c:v>
                </c:pt>
                <c:pt idx="1913">
                  <c:v>-0.72981260996265929</c:v>
                </c:pt>
                <c:pt idx="1914">
                  <c:v>-0.97672956471610328</c:v>
                </c:pt>
                <c:pt idx="1915">
                  <c:v>-0.84499589812109799</c:v>
                </c:pt>
                <c:pt idx="1916">
                  <c:v>-0.75894221660399885</c:v>
                </c:pt>
                <c:pt idx="1917">
                  <c:v>-0.94943936271181995</c:v>
                </c:pt>
                <c:pt idx="1918">
                  <c:v>-0.77197460016382669</c:v>
                </c:pt>
                <c:pt idx="1919">
                  <c:v>-0.91304915333745051</c:v>
                </c:pt>
                <c:pt idx="1920">
                  <c:v>-0.76796513241109998</c:v>
                </c:pt>
                <c:pt idx="1921">
                  <c:v>-0.94124520423847491</c:v>
                </c:pt>
                <c:pt idx="1922">
                  <c:v>-0.82483761014119039</c:v>
                </c:pt>
                <c:pt idx="1923">
                  <c:v>-0.8864893359720365</c:v>
                </c:pt>
                <c:pt idx="1924">
                  <c:v>-0.91933869995370754</c:v>
                </c:pt>
                <c:pt idx="1925">
                  <c:v>-0.7604890224025852</c:v>
                </c:pt>
                <c:pt idx="1926">
                  <c:v>-0.84734030762855606</c:v>
                </c:pt>
                <c:pt idx="1927">
                  <c:v>-0.81191813956127323</c:v>
                </c:pt>
                <c:pt idx="1928">
                  <c:v>-0.75146221867072371</c:v>
                </c:pt>
                <c:pt idx="1929">
                  <c:v>-0.87746926523992241</c:v>
                </c:pt>
                <c:pt idx="1930">
                  <c:v>-0.74884217498485039</c:v>
                </c:pt>
                <c:pt idx="1931">
                  <c:v>-0.87070472894887574</c:v>
                </c:pt>
                <c:pt idx="1932">
                  <c:v>-0.7485654379107004</c:v>
                </c:pt>
                <c:pt idx="1933">
                  <c:v>-0.82934386186871756</c:v>
                </c:pt>
                <c:pt idx="1934">
                  <c:v>-0.73513816217921713</c:v>
                </c:pt>
                <c:pt idx="1935">
                  <c:v>-0.85969301730370173</c:v>
                </c:pt>
                <c:pt idx="1936">
                  <c:v>-0.64750819321481579</c:v>
                </c:pt>
                <c:pt idx="1937">
                  <c:v>-0.78602134473451923</c:v>
                </c:pt>
                <c:pt idx="1938">
                  <c:v>-0.64475939249377434</c:v>
                </c:pt>
                <c:pt idx="1939">
                  <c:v>-0.85463558969258002</c:v>
                </c:pt>
                <c:pt idx="1940">
                  <c:v>-0.74600121119910368</c:v>
                </c:pt>
                <c:pt idx="1941">
                  <c:v>-0.85701689306111406</c:v>
                </c:pt>
                <c:pt idx="1942">
                  <c:v>-0.64972704452124697</c:v>
                </c:pt>
                <c:pt idx="1943">
                  <c:v>-0.80990974482827227</c:v>
                </c:pt>
                <c:pt idx="1944">
                  <c:v>-0.65506918636600642</c:v>
                </c:pt>
                <c:pt idx="1945">
                  <c:v>-0.85586367429398125</c:v>
                </c:pt>
                <c:pt idx="1946">
                  <c:v>-0.71616251339654469</c:v>
                </c:pt>
                <c:pt idx="1947">
                  <c:v>-0.85981514029758632</c:v>
                </c:pt>
                <c:pt idx="1948">
                  <c:v>-0.66508107622915358</c:v>
                </c:pt>
                <c:pt idx="1949">
                  <c:v>-0.7926534580556871</c:v>
                </c:pt>
                <c:pt idx="1950">
                  <c:v>-0.72593136990951079</c:v>
                </c:pt>
                <c:pt idx="1951">
                  <c:v>-0.8679616991424175</c:v>
                </c:pt>
                <c:pt idx="1952">
                  <c:v>-0.69469913828128282</c:v>
                </c:pt>
                <c:pt idx="1953">
                  <c:v>-0.77304053194951272</c:v>
                </c:pt>
                <c:pt idx="1954">
                  <c:v>-0.74813889559616042</c:v>
                </c:pt>
                <c:pt idx="1955">
                  <c:v>-0.69327827875093873</c:v>
                </c:pt>
                <c:pt idx="1956">
                  <c:v>-0.76575393462323371</c:v>
                </c:pt>
                <c:pt idx="1957">
                  <c:v>-0.64633706863658624</c:v>
                </c:pt>
                <c:pt idx="1958">
                  <c:v>-0.77972580383275847</c:v>
                </c:pt>
                <c:pt idx="1959">
                  <c:v>-0.68030385208896049</c:v>
                </c:pt>
                <c:pt idx="1960">
                  <c:v>-0.72990627293065413</c:v>
                </c:pt>
                <c:pt idx="1961">
                  <c:v>-0.78625099287434208</c:v>
                </c:pt>
                <c:pt idx="1962">
                  <c:v>-0.58924720278801346</c:v>
                </c:pt>
                <c:pt idx="1963">
                  <c:v>-0.72661227343001056</c:v>
                </c:pt>
                <c:pt idx="1964">
                  <c:v>-0.56716795846249679</c:v>
                </c:pt>
                <c:pt idx="1965">
                  <c:v>-0.78894890185418254</c:v>
                </c:pt>
                <c:pt idx="1966">
                  <c:v>-0.66795893056419631</c:v>
                </c:pt>
                <c:pt idx="1967">
                  <c:v>-0.77294258231281809</c:v>
                </c:pt>
                <c:pt idx="1968">
                  <c:v>-0.56519566250050135</c:v>
                </c:pt>
                <c:pt idx="1969">
                  <c:v>-0.71563028133579298</c:v>
                </c:pt>
                <c:pt idx="1970">
                  <c:v>-0.60235211500007912</c:v>
                </c:pt>
                <c:pt idx="1971">
                  <c:v>-0.8311290882977308</c:v>
                </c:pt>
                <c:pt idx="1972">
                  <c:v>-0.64577331610881183</c:v>
                </c:pt>
                <c:pt idx="1973">
                  <c:v>-0.75494931084358086</c:v>
                </c:pt>
                <c:pt idx="1974">
                  <c:v>-0.60457250002222562</c:v>
                </c:pt>
                <c:pt idx="1975">
                  <c:v>-0.71536453199955263</c:v>
                </c:pt>
                <c:pt idx="1976">
                  <c:v>-0.64126306488280294</c:v>
                </c:pt>
                <c:pt idx="1977">
                  <c:v>-0.77475054801658894</c:v>
                </c:pt>
                <c:pt idx="1978">
                  <c:v>-0.65732547149289478</c:v>
                </c:pt>
                <c:pt idx="1979">
                  <c:v>-0.7287862565084452</c:v>
                </c:pt>
                <c:pt idx="1980">
                  <c:v>-0.61110484206783211</c:v>
                </c:pt>
                <c:pt idx="1981">
                  <c:v>-0.70202854974181383</c:v>
                </c:pt>
                <c:pt idx="1982">
                  <c:v>-0.62690239552864357</c:v>
                </c:pt>
                <c:pt idx="1983">
                  <c:v>-0.65628973093371001</c:v>
                </c:pt>
                <c:pt idx="1984">
                  <c:v>-0.71644191978259275</c:v>
                </c:pt>
                <c:pt idx="1985">
                  <c:v>-0.62454384435829546</c:v>
                </c:pt>
                <c:pt idx="1986">
                  <c:v>-0.70332745374926331</c:v>
                </c:pt>
                <c:pt idx="1987">
                  <c:v>-0.61889492955841685</c:v>
                </c:pt>
                <c:pt idx="1988">
                  <c:v>-0.77557459996814726</c:v>
                </c:pt>
                <c:pt idx="1989">
                  <c:v>-0.60113408539877689</c:v>
                </c:pt>
                <c:pt idx="1990">
                  <c:v>-0.76433356747424674</c:v>
                </c:pt>
                <c:pt idx="1991">
                  <c:v>-0.55117204369878225</c:v>
                </c:pt>
                <c:pt idx="1992">
                  <c:v>-0.68967752807599969</c:v>
                </c:pt>
                <c:pt idx="1993">
                  <c:v>-0.55019062862537471</c:v>
                </c:pt>
                <c:pt idx="1994">
                  <c:v>-0.77356344856753256</c:v>
                </c:pt>
                <c:pt idx="1995">
                  <c:v>-0.61171859067414636</c:v>
                </c:pt>
                <c:pt idx="1996">
                  <c:v>-0.74133432638455532</c:v>
                </c:pt>
                <c:pt idx="1997">
                  <c:v>-0.5435706279666449</c:v>
                </c:pt>
                <c:pt idx="1998">
                  <c:v>-0.72263723670699043</c:v>
                </c:pt>
                <c:pt idx="1999">
                  <c:v>-0.57242752070840563</c:v>
                </c:pt>
                <c:pt idx="2000">
                  <c:v>-0.76129840848069941</c:v>
                </c:pt>
                <c:pt idx="2001">
                  <c:v>-0.59711506465192621</c:v>
                </c:pt>
                <c:pt idx="2002">
                  <c:v>-0.7449230434443771</c:v>
                </c:pt>
                <c:pt idx="2003">
                  <c:v>-0.58725762205914711</c:v>
                </c:pt>
                <c:pt idx="2004">
                  <c:v>-0.72483098067198015</c:v>
                </c:pt>
                <c:pt idx="2005">
                  <c:v>-0.65438241375886752</c:v>
                </c:pt>
                <c:pt idx="2006">
                  <c:v>-0.74669851616270044</c:v>
                </c:pt>
                <c:pt idx="2007">
                  <c:v>-0.58158196809245644</c:v>
                </c:pt>
                <c:pt idx="2008">
                  <c:v>-0.65336650867131119</c:v>
                </c:pt>
                <c:pt idx="2009">
                  <c:v>-0.58466608187172098</c:v>
                </c:pt>
                <c:pt idx="2010">
                  <c:v>-0.69890487077647101</c:v>
                </c:pt>
                <c:pt idx="2011">
                  <c:v>-0.59069078414749565</c:v>
                </c:pt>
                <c:pt idx="2012">
                  <c:v>-0.74083141049554724</c:v>
                </c:pt>
                <c:pt idx="2013">
                  <c:v>-0.51974148804867737</c:v>
                </c:pt>
                <c:pt idx="2014">
                  <c:v>-0.68249477411161419</c:v>
                </c:pt>
                <c:pt idx="2015">
                  <c:v>-0.58937511172823009</c:v>
                </c:pt>
                <c:pt idx="2016">
                  <c:v>-0.54377214812961971</c:v>
                </c:pt>
                <c:pt idx="2017">
                  <c:v>-0.68489894975817789</c:v>
                </c:pt>
                <c:pt idx="2018">
                  <c:v>-0.61755170361788536</c:v>
                </c:pt>
                <c:pt idx="2019">
                  <c:v>-0.67987409154631118</c:v>
                </c:pt>
                <c:pt idx="2020">
                  <c:v>-0.71292946979133642</c:v>
                </c:pt>
                <c:pt idx="2021">
                  <c:v>-0.55143887919097689</c:v>
                </c:pt>
                <c:pt idx="2022">
                  <c:v>-0.68028287151845002</c:v>
                </c:pt>
                <c:pt idx="2023">
                  <c:v>-0.53211232123239671</c:v>
                </c:pt>
                <c:pt idx="2024">
                  <c:v>-0.74579468532244808</c:v>
                </c:pt>
                <c:pt idx="2025">
                  <c:v>-0.60456087863422503</c:v>
                </c:pt>
                <c:pt idx="2026">
                  <c:v>-0.68671080338455448</c:v>
                </c:pt>
                <c:pt idx="2027">
                  <c:v>-0.52025966059991158</c:v>
                </c:pt>
                <c:pt idx="2028">
                  <c:v>-0.67513861224067295</c:v>
                </c:pt>
                <c:pt idx="2029">
                  <c:v>-0.54789732408025238</c:v>
                </c:pt>
                <c:pt idx="2030">
                  <c:v>-0.73682227610177686</c:v>
                </c:pt>
                <c:pt idx="2031">
                  <c:v>-0.55309388713988372</c:v>
                </c:pt>
                <c:pt idx="2032">
                  <c:v>-0.61516997736301204</c:v>
                </c:pt>
                <c:pt idx="2033">
                  <c:v>-0.69869319386191198</c:v>
                </c:pt>
                <c:pt idx="2034">
                  <c:v>-0.53268752682950737</c:v>
                </c:pt>
                <c:pt idx="2035">
                  <c:v>-0.63254027942058255</c:v>
                </c:pt>
                <c:pt idx="2036">
                  <c:v>-0.56880708667663893</c:v>
                </c:pt>
                <c:pt idx="2037">
                  <c:v>-0.65279633782156743</c:v>
                </c:pt>
                <c:pt idx="2038">
                  <c:v>-0.56105920830212208</c:v>
                </c:pt>
                <c:pt idx="2039">
                  <c:v>-0.64458972234458556</c:v>
                </c:pt>
                <c:pt idx="2040">
                  <c:v>-0.54667546260200528</c:v>
                </c:pt>
                <c:pt idx="2041">
                  <c:v>-0.68900284418346169</c:v>
                </c:pt>
                <c:pt idx="2042">
                  <c:v>-0.5272230698741468</c:v>
                </c:pt>
                <c:pt idx="2043">
                  <c:v>-0.61446935121291457</c:v>
                </c:pt>
                <c:pt idx="2044">
                  <c:v>-0.548870827434918</c:v>
                </c:pt>
                <c:pt idx="2045">
                  <c:v>-0.70938011455532257</c:v>
                </c:pt>
                <c:pt idx="2046">
                  <c:v>-0.44823247625288298</c:v>
                </c:pt>
                <c:pt idx="2047">
                  <c:v>-0.62038152335942887</c:v>
                </c:pt>
                <c:pt idx="2048">
                  <c:v>-0.52298805239451374</c:v>
                </c:pt>
                <c:pt idx="2049">
                  <c:v>-0.69838131644101931</c:v>
                </c:pt>
                <c:pt idx="2050">
                  <c:v>-0.54077052917274704</c:v>
                </c:pt>
                <c:pt idx="2051">
                  <c:v>-0.69102630953311539</c:v>
                </c:pt>
                <c:pt idx="2052">
                  <c:v>-0.47280703797999746</c:v>
                </c:pt>
                <c:pt idx="2053">
                  <c:v>-0.66126550885934632</c:v>
                </c:pt>
                <c:pt idx="2054">
                  <c:v>-0.57267387144299475</c:v>
                </c:pt>
                <c:pt idx="2055">
                  <c:v>-0.50365613602071335</c:v>
                </c:pt>
                <c:pt idx="2056">
                  <c:v>-0.68604766513566573</c:v>
                </c:pt>
                <c:pt idx="2057">
                  <c:v>-0.53028283833296375</c:v>
                </c:pt>
                <c:pt idx="2058">
                  <c:v>-0.61706538319658333</c:v>
                </c:pt>
                <c:pt idx="2059">
                  <c:v>-0.49397587113754604</c:v>
                </c:pt>
                <c:pt idx="2060">
                  <c:v>-0.64928867211640695</c:v>
                </c:pt>
                <c:pt idx="2061">
                  <c:v>-0.52336675060801363</c:v>
                </c:pt>
                <c:pt idx="2062">
                  <c:v>-0.58818926857969867</c:v>
                </c:pt>
                <c:pt idx="2063">
                  <c:v>-0.52431067864511827</c:v>
                </c:pt>
                <c:pt idx="2064">
                  <c:v>-0.51929764351848362</c:v>
                </c:pt>
                <c:pt idx="2065">
                  <c:v>-0.55827515484056744</c:v>
                </c:pt>
                <c:pt idx="2066">
                  <c:v>-0.59595992006394349</c:v>
                </c:pt>
                <c:pt idx="2067">
                  <c:v>-0.48546519543543176</c:v>
                </c:pt>
                <c:pt idx="2068">
                  <c:v>-0.65012244133963981</c:v>
                </c:pt>
                <c:pt idx="2069">
                  <c:v>-0.48971794397938917</c:v>
                </c:pt>
                <c:pt idx="2070">
                  <c:v>-0.56110857686456528</c:v>
                </c:pt>
                <c:pt idx="2071">
                  <c:v>-0.68752965415706901</c:v>
                </c:pt>
                <c:pt idx="2072">
                  <c:v>-0.45063827628200814</c:v>
                </c:pt>
                <c:pt idx="2073">
                  <c:v>-0.60363646138640703</c:v>
                </c:pt>
                <c:pt idx="2074">
                  <c:v>-0.44932910709786678</c:v>
                </c:pt>
                <c:pt idx="2075">
                  <c:v>-0.66249705826172789</c:v>
                </c:pt>
                <c:pt idx="2076">
                  <c:v>-0.53800389223537126</c:v>
                </c:pt>
                <c:pt idx="2077">
                  <c:v>-0.62527655767850687</c:v>
                </c:pt>
                <c:pt idx="2078">
                  <c:v>-0.47559875228744064</c:v>
                </c:pt>
                <c:pt idx="2079">
                  <c:v>-0.67290314860450018</c:v>
                </c:pt>
                <c:pt idx="2080">
                  <c:v>-0.60251727444048109</c:v>
                </c:pt>
                <c:pt idx="2081">
                  <c:v>-0.47288724580809693</c:v>
                </c:pt>
                <c:pt idx="2082">
                  <c:v>-0.67766380587233721</c:v>
                </c:pt>
                <c:pt idx="2083">
                  <c:v>-0.48228034581326107</c:v>
                </c:pt>
                <c:pt idx="2084">
                  <c:v>-0.61712748433031039</c:v>
                </c:pt>
                <c:pt idx="2085">
                  <c:v>-0.49589560531399857</c:v>
                </c:pt>
                <c:pt idx="2086">
                  <c:v>-0.59712796219896325</c:v>
                </c:pt>
                <c:pt idx="2087">
                  <c:v>-0.50258068504225306</c:v>
                </c:pt>
                <c:pt idx="2088">
                  <c:v>-0.53745216721642486</c:v>
                </c:pt>
                <c:pt idx="2089">
                  <c:v>-0.61220792167561311</c:v>
                </c:pt>
                <c:pt idx="2090">
                  <c:v>-0.52831472892068809</c:v>
                </c:pt>
                <c:pt idx="2091">
                  <c:v>-0.59737703727083769</c:v>
                </c:pt>
                <c:pt idx="2092">
                  <c:v>-0.52557879850289646</c:v>
                </c:pt>
                <c:pt idx="2093">
                  <c:v>-0.59323839344909801</c:v>
                </c:pt>
                <c:pt idx="2094">
                  <c:v>-0.520545131125982</c:v>
                </c:pt>
                <c:pt idx="2095">
                  <c:v>-0.62923651159057903</c:v>
                </c:pt>
                <c:pt idx="2096">
                  <c:v>-0.52993496138895113</c:v>
                </c:pt>
                <c:pt idx="2097">
                  <c:v>-0.66576658652351905</c:v>
                </c:pt>
                <c:pt idx="2098">
                  <c:v>-0.43523463624490388</c:v>
                </c:pt>
                <c:pt idx="2099">
                  <c:v>-0.53958637733013226</c:v>
                </c:pt>
                <c:pt idx="2100">
                  <c:v>-0.61688737971325425</c:v>
                </c:pt>
                <c:pt idx="2101">
                  <c:v>-0.43348680351873636</c:v>
                </c:pt>
                <c:pt idx="2102">
                  <c:v>-0.56255129446753682</c:v>
                </c:pt>
                <c:pt idx="2103">
                  <c:v>-0.48490392608981969</c:v>
                </c:pt>
                <c:pt idx="2104">
                  <c:v>-0.60930479282514294</c:v>
                </c:pt>
                <c:pt idx="2105">
                  <c:v>-0.4643104320936623</c:v>
                </c:pt>
                <c:pt idx="2106">
                  <c:v>-0.57344937765161275</c:v>
                </c:pt>
                <c:pt idx="2107">
                  <c:v>-0.43220190622145116</c:v>
                </c:pt>
                <c:pt idx="2108">
                  <c:v>-0.63419531771147353</c:v>
                </c:pt>
                <c:pt idx="2109">
                  <c:v>-0.53579467356208932</c:v>
                </c:pt>
                <c:pt idx="2110">
                  <c:v>-0.46819757482402846</c:v>
                </c:pt>
                <c:pt idx="2111">
                  <c:v>-0.63442724101366854</c:v>
                </c:pt>
                <c:pt idx="2112">
                  <c:v>-0.48057934657236634</c:v>
                </c:pt>
                <c:pt idx="2113">
                  <c:v>-0.56287926488708451</c:v>
                </c:pt>
                <c:pt idx="2114">
                  <c:v>-0.49193256777306604</c:v>
                </c:pt>
                <c:pt idx="2115">
                  <c:v>-0.60546306409461681</c:v>
                </c:pt>
                <c:pt idx="2116">
                  <c:v>-0.48579619608095082</c:v>
                </c:pt>
                <c:pt idx="2117">
                  <c:v>-0.58741131174942651</c:v>
                </c:pt>
                <c:pt idx="2118">
                  <c:v>-0.47476306979657579</c:v>
                </c:pt>
                <c:pt idx="2119">
                  <c:v>-0.5364571414585747</c:v>
                </c:pt>
                <c:pt idx="2120">
                  <c:v>-0.44172547642813875</c:v>
                </c:pt>
                <c:pt idx="2121">
                  <c:v>-0.56971915774168214</c:v>
                </c:pt>
                <c:pt idx="2122">
                  <c:v>-0.54598652302388506</c:v>
                </c:pt>
                <c:pt idx="2123">
                  <c:v>-0.49437563017974318</c:v>
                </c:pt>
                <c:pt idx="2124">
                  <c:v>-0.60479010076091655</c:v>
                </c:pt>
                <c:pt idx="2125">
                  <c:v>-0.46227099899899737</c:v>
                </c:pt>
                <c:pt idx="2126">
                  <c:v>-0.60727066297618026</c:v>
                </c:pt>
                <c:pt idx="2127">
                  <c:v>-0.38360105634964381</c:v>
                </c:pt>
                <c:pt idx="2128">
                  <c:v>-0.54796671787019824</c:v>
                </c:pt>
                <c:pt idx="2129">
                  <c:v>-0.41592404991635668</c:v>
                </c:pt>
                <c:pt idx="2130">
                  <c:v>-0.63534033853041383</c:v>
                </c:pt>
                <c:pt idx="2131">
                  <c:v>-0.40560707067157964</c:v>
                </c:pt>
                <c:pt idx="2132">
                  <c:v>-0.51587315661644317</c:v>
                </c:pt>
                <c:pt idx="2133">
                  <c:v>-0.55516133254110123</c:v>
                </c:pt>
                <c:pt idx="2134">
                  <c:v>-0.63361792521464977</c:v>
                </c:pt>
                <c:pt idx="2135">
                  <c:v>-0.34419942796730918</c:v>
                </c:pt>
                <c:pt idx="2136">
                  <c:v>-0.61489476808917998</c:v>
                </c:pt>
                <c:pt idx="2137">
                  <c:v>-0.50411185721983143</c:v>
                </c:pt>
                <c:pt idx="2138">
                  <c:v>-0.39283986906430612</c:v>
                </c:pt>
                <c:pt idx="2139">
                  <c:v>-0.62297738255087531</c:v>
                </c:pt>
                <c:pt idx="2140">
                  <c:v>-0.41563105440932546</c:v>
                </c:pt>
                <c:pt idx="2141">
                  <c:v>-0.5329097058863016</c:v>
                </c:pt>
                <c:pt idx="2142">
                  <c:v>-0.42604548100003858</c:v>
                </c:pt>
                <c:pt idx="2143">
                  <c:v>-0.60393125547322091</c:v>
                </c:pt>
                <c:pt idx="2144">
                  <c:v>-0.44464476214342674</c:v>
                </c:pt>
                <c:pt idx="2145">
                  <c:v>-0.57936184729461049</c:v>
                </c:pt>
                <c:pt idx="2146">
                  <c:v>-0.42504037140809625</c:v>
                </c:pt>
                <c:pt idx="2147">
                  <c:v>-0.51089578165581873</c:v>
                </c:pt>
                <c:pt idx="2148">
                  <c:v>-0.46406130558648384</c:v>
                </c:pt>
                <c:pt idx="2149">
                  <c:v>-0.44784178370896</c:v>
                </c:pt>
                <c:pt idx="2150">
                  <c:v>-0.5269008376338864</c:v>
                </c:pt>
                <c:pt idx="2151">
                  <c:v>-0.45523666169895061</c:v>
                </c:pt>
                <c:pt idx="2152">
                  <c:v>-0.53501907734273035</c:v>
                </c:pt>
                <c:pt idx="2153">
                  <c:v>-0.44179410670045594</c:v>
                </c:pt>
                <c:pt idx="2154">
                  <c:v>-0.50617834575056331</c:v>
                </c:pt>
                <c:pt idx="2155">
                  <c:v>-0.41581001131042761</c:v>
                </c:pt>
                <c:pt idx="2156">
                  <c:v>-0.57767530058426453</c:v>
                </c:pt>
                <c:pt idx="2157">
                  <c:v>-0.42475320899404501</c:v>
                </c:pt>
                <c:pt idx="2158">
                  <c:v>-0.50967892768841949</c:v>
                </c:pt>
                <c:pt idx="2159">
                  <c:v>-0.4034185023440483</c:v>
                </c:pt>
                <c:pt idx="2160">
                  <c:v>-0.54804134198636767</c:v>
                </c:pt>
                <c:pt idx="2161">
                  <c:v>-0.42030448465070258</c:v>
                </c:pt>
                <c:pt idx="2162">
                  <c:v>-0.5910750931545079</c:v>
                </c:pt>
                <c:pt idx="2163">
                  <c:v>-0.36120690672113087</c:v>
                </c:pt>
                <c:pt idx="2164">
                  <c:v>-0.52960174477449495</c:v>
                </c:pt>
                <c:pt idx="2165">
                  <c:v>-0.37066054382113645</c:v>
                </c:pt>
                <c:pt idx="2166">
                  <c:v>-0.57124969331472397</c:v>
                </c:pt>
                <c:pt idx="2167">
                  <c:v>-0.39265616580525486</c:v>
                </c:pt>
                <c:pt idx="2168">
                  <c:v>-0.47385789575302417</c:v>
                </c:pt>
                <c:pt idx="2169">
                  <c:v>-0.389517779944344</c:v>
                </c:pt>
                <c:pt idx="2170">
                  <c:v>-0.57426347869315131</c:v>
                </c:pt>
                <c:pt idx="2171">
                  <c:v>-0.47215623827135089</c:v>
                </c:pt>
                <c:pt idx="2172">
                  <c:v>-0.56133136312678156</c:v>
                </c:pt>
                <c:pt idx="2173">
                  <c:v>-0.40420441711918198</c:v>
                </c:pt>
                <c:pt idx="2174">
                  <c:v>-0.48497754442787211</c:v>
                </c:pt>
                <c:pt idx="2175">
                  <c:v>-0.42111344754990665</c:v>
                </c:pt>
                <c:pt idx="2176">
                  <c:v>-0.4837802478526585</c:v>
                </c:pt>
                <c:pt idx="2177">
                  <c:v>-0.41676138898707882</c:v>
                </c:pt>
                <c:pt idx="2178">
                  <c:v>-0.47788100273107048</c:v>
                </c:pt>
                <c:pt idx="2179">
                  <c:v>-0.4145042958190498</c:v>
                </c:pt>
                <c:pt idx="2180">
                  <c:v>-0.48747481948988125</c:v>
                </c:pt>
                <c:pt idx="2181">
                  <c:v>-0.36859872828042517</c:v>
                </c:pt>
                <c:pt idx="2182">
                  <c:v>-0.53933916961636519</c:v>
                </c:pt>
                <c:pt idx="2183">
                  <c:v>-0.44749213997701387</c:v>
                </c:pt>
                <c:pt idx="2184">
                  <c:v>-0.5660567600663895</c:v>
                </c:pt>
                <c:pt idx="2185">
                  <c:v>-0.37300469153762628</c:v>
                </c:pt>
                <c:pt idx="2186">
                  <c:v>-0.4532739037093616</c:v>
                </c:pt>
                <c:pt idx="2187">
                  <c:v>-0.31997729904375183</c:v>
                </c:pt>
                <c:pt idx="2188">
                  <c:v>-0.52848120516244146</c:v>
                </c:pt>
                <c:pt idx="2189">
                  <c:v>-0.41613406926081209</c:v>
                </c:pt>
                <c:pt idx="2190">
                  <c:v>-0.54774295657742766</c:v>
                </c:pt>
                <c:pt idx="2191">
                  <c:v>-0.33696816621807379</c:v>
                </c:pt>
                <c:pt idx="2192">
                  <c:v>-0.51425194742191382</c:v>
                </c:pt>
                <c:pt idx="2193">
                  <c:v>-0.34970096229152137</c:v>
                </c:pt>
                <c:pt idx="2194">
                  <c:v>-0.52741637556869247</c:v>
                </c:pt>
                <c:pt idx="2195">
                  <c:v>-0.40574214022900879</c:v>
                </c:pt>
                <c:pt idx="2196">
                  <c:v>-0.48745475402056027</c:v>
                </c:pt>
                <c:pt idx="2197">
                  <c:v>-0.36249468630277215</c:v>
                </c:pt>
                <c:pt idx="2198">
                  <c:v>-0.46001346721500447</c:v>
                </c:pt>
                <c:pt idx="2199">
                  <c:v>-0.38734635224704184</c:v>
                </c:pt>
                <c:pt idx="2200">
                  <c:v>-0.51052292575529679</c:v>
                </c:pt>
                <c:pt idx="2201">
                  <c:v>-0.38276456470112918</c:v>
                </c:pt>
                <c:pt idx="2202">
                  <c:v>-0.45189182895216362</c:v>
                </c:pt>
                <c:pt idx="2203">
                  <c:v>-0.31760451259016953</c:v>
                </c:pt>
                <c:pt idx="2204">
                  <c:v>-0.45104070344288361</c:v>
                </c:pt>
                <c:pt idx="2205">
                  <c:v>-0.37646429916665525</c:v>
                </c:pt>
                <c:pt idx="2206">
                  <c:v>-0.4436540983148709</c:v>
                </c:pt>
                <c:pt idx="2207">
                  <c:v>-0.37984878873005934</c:v>
                </c:pt>
                <c:pt idx="2208">
                  <c:v>-0.48903285796751295</c:v>
                </c:pt>
                <c:pt idx="2209">
                  <c:v>-0.37714612332454689</c:v>
                </c:pt>
                <c:pt idx="2210">
                  <c:v>-0.49950900531830156</c:v>
                </c:pt>
                <c:pt idx="2211">
                  <c:v>-0.35356203476083048</c:v>
                </c:pt>
                <c:pt idx="2212">
                  <c:v>-0.48098697656475742</c:v>
                </c:pt>
                <c:pt idx="2213">
                  <c:v>-0.28840138914669644</c:v>
                </c:pt>
                <c:pt idx="2214">
                  <c:v>-0.38410547068577461</c:v>
                </c:pt>
                <c:pt idx="2215">
                  <c:v>-0.52269600333030808</c:v>
                </c:pt>
                <c:pt idx="2216">
                  <c:v>-0.3208289852223617</c:v>
                </c:pt>
                <c:pt idx="2217">
                  <c:v>-0.48398720773025627</c:v>
                </c:pt>
                <c:pt idx="2218">
                  <c:v>-0.39687180366263475</c:v>
                </c:pt>
                <c:pt idx="2219">
                  <c:v>-0.30545261514485411</c:v>
                </c:pt>
                <c:pt idx="2220">
                  <c:v>-0.463521930759345</c:v>
                </c:pt>
                <c:pt idx="2221">
                  <c:v>-0.36623870535458758</c:v>
                </c:pt>
                <c:pt idx="2222">
                  <c:v>-0.41713658454322378</c:v>
                </c:pt>
                <c:pt idx="2223">
                  <c:v>-0.45991901640764055</c:v>
                </c:pt>
                <c:pt idx="2224">
                  <c:v>-0.36097232974662974</c:v>
                </c:pt>
                <c:pt idx="2225">
                  <c:v>-0.43973347637054538</c:v>
                </c:pt>
                <c:pt idx="2226">
                  <c:v>-0.37849883940813445</c:v>
                </c:pt>
                <c:pt idx="2227">
                  <c:v>-0.46331905979583277</c:v>
                </c:pt>
                <c:pt idx="2228">
                  <c:v>-0.32939400398861929</c:v>
                </c:pt>
                <c:pt idx="2229">
                  <c:v>-0.39369747029134905</c:v>
                </c:pt>
                <c:pt idx="2230">
                  <c:v>-0.4707146907487374</c:v>
                </c:pt>
                <c:pt idx="2231">
                  <c:v>-0.32793652763070302</c:v>
                </c:pt>
                <c:pt idx="2232">
                  <c:v>-0.39881414084446032</c:v>
                </c:pt>
                <c:pt idx="2233">
                  <c:v>-0.4691238883624802</c:v>
                </c:pt>
                <c:pt idx="2234">
                  <c:v>-0.31981617643344429</c:v>
                </c:pt>
                <c:pt idx="2235">
                  <c:v>-0.43773692161141109</c:v>
                </c:pt>
                <c:pt idx="2236">
                  <c:v>-0.29955377614331102</c:v>
                </c:pt>
                <c:pt idx="2237">
                  <c:v>-0.50843612376693725</c:v>
                </c:pt>
                <c:pt idx="2238">
                  <c:v>-0.34932583511246518</c:v>
                </c:pt>
                <c:pt idx="2239">
                  <c:v>-0.50310155250325539</c:v>
                </c:pt>
                <c:pt idx="2240">
                  <c:v>-0.24512688420502618</c:v>
                </c:pt>
                <c:pt idx="2241">
                  <c:v>-0.44887486529699006</c:v>
                </c:pt>
                <c:pt idx="2242">
                  <c:v>-0.3111610079506818</c:v>
                </c:pt>
                <c:pt idx="2243">
                  <c:v>-0.47991870004626414</c:v>
                </c:pt>
                <c:pt idx="2244">
                  <c:v>-0.3273462138005182</c:v>
                </c:pt>
                <c:pt idx="2245">
                  <c:v>-0.39134671918327846</c:v>
                </c:pt>
                <c:pt idx="2246">
                  <c:v>-0.46917463612702903</c:v>
                </c:pt>
                <c:pt idx="2247">
                  <c:v>-0.31781056686844489</c:v>
                </c:pt>
                <c:pt idx="2248">
                  <c:v>-0.52621318367747882</c:v>
                </c:pt>
                <c:pt idx="2249">
                  <c:v>-0.43920183738598206</c:v>
                </c:pt>
                <c:pt idx="2250">
                  <c:v>-0.38018203956422847</c:v>
                </c:pt>
                <c:pt idx="2251">
                  <c:v>-0.55285263309476118</c:v>
                </c:pt>
                <c:pt idx="2252">
                  <c:v>-0.41268754053389378</c:v>
                </c:pt>
                <c:pt idx="2253">
                  <c:v>-0.46305681460125159</c:v>
                </c:pt>
                <c:pt idx="2254">
                  <c:v>-0.49044009212413719</c:v>
                </c:pt>
                <c:pt idx="2255">
                  <c:v>-0.47975940235679004</c:v>
                </c:pt>
                <c:pt idx="2256">
                  <c:v>-0.58354011249865012</c:v>
                </c:pt>
                <c:pt idx="2257">
                  <c:v>-0.82242392409335641</c:v>
                </c:pt>
                <c:pt idx="2258">
                  <c:v>-0.44675075180669366</c:v>
                </c:pt>
                <c:pt idx="2259">
                  <c:v>-1.8358236232092802</c:v>
                </c:pt>
                <c:pt idx="2260">
                  <c:v>-2.8550075427278432</c:v>
                </c:pt>
                <c:pt idx="2261">
                  <c:v>-2.8734183954892618</c:v>
                </c:pt>
                <c:pt idx="2262">
                  <c:v>-2.8749221591349281</c:v>
                </c:pt>
                <c:pt idx="2263">
                  <c:v>-2.8877588534870142</c:v>
                </c:pt>
                <c:pt idx="2264">
                  <c:v>-2.8826927211792643</c:v>
                </c:pt>
                <c:pt idx="2265">
                  <c:v>-2.8822058366124295</c:v>
                </c:pt>
                <c:pt idx="2266">
                  <c:v>-2.8776585405543575</c:v>
                </c:pt>
                <c:pt idx="2267">
                  <c:v>-2.6666712465549716</c:v>
                </c:pt>
                <c:pt idx="2268">
                  <c:v>-2.0756061017483574</c:v>
                </c:pt>
                <c:pt idx="2269">
                  <c:v>-1.5927785723495105</c:v>
                </c:pt>
                <c:pt idx="2270">
                  <c:v>-1.2431541986296979</c:v>
                </c:pt>
                <c:pt idx="2271">
                  <c:v>-1.0156063289006441</c:v>
                </c:pt>
                <c:pt idx="2272">
                  <c:v>-0.85441302636092287</c:v>
                </c:pt>
                <c:pt idx="2273">
                  <c:v>-0.86859344393070004</c:v>
                </c:pt>
                <c:pt idx="2274">
                  <c:v>-0.87799684272480738</c:v>
                </c:pt>
                <c:pt idx="2275">
                  <c:v>-0.58792068001148412</c:v>
                </c:pt>
                <c:pt idx="2276">
                  <c:v>-0.68329677632890251</c:v>
                </c:pt>
                <c:pt idx="2277">
                  <c:v>-0.705946576014857</c:v>
                </c:pt>
                <c:pt idx="2278">
                  <c:v>-0.17885173160424828</c:v>
                </c:pt>
                <c:pt idx="2279">
                  <c:v>-0.19345785175358785</c:v>
                </c:pt>
                <c:pt idx="2280">
                  <c:v>-0.19721956017719355</c:v>
                </c:pt>
                <c:pt idx="2281">
                  <c:v>-0.29042086029077085</c:v>
                </c:pt>
                <c:pt idx="2282">
                  <c:v>-0.28311512666838534</c:v>
                </c:pt>
                <c:pt idx="2283">
                  <c:v>-0.42050526144687617</c:v>
                </c:pt>
                <c:pt idx="2284">
                  <c:v>-1.0252335216368718</c:v>
                </c:pt>
                <c:pt idx="2285">
                  <c:v>-1.4082500462735039</c:v>
                </c:pt>
                <c:pt idx="2286">
                  <c:v>-1.378756097640311</c:v>
                </c:pt>
                <c:pt idx="2287">
                  <c:v>-1.3575731669786508</c:v>
                </c:pt>
                <c:pt idx="2288">
                  <c:v>-1.3077955813873658</c:v>
                </c:pt>
                <c:pt idx="2289">
                  <c:v>-0.9919682935756553</c:v>
                </c:pt>
                <c:pt idx="2290">
                  <c:v>-0.74755238170316984</c:v>
                </c:pt>
                <c:pt idx="2291">
                  <c:v>-0.27906892363360913</c:v>
                </c:pt>
                <c:pt idx="2292">
                  <c:v>-8.6975696465006996E-2</c:v>
                </c:pt>
                <c:pt idx="2293">
                  <c:v>-5.2537694844674437E-2</c:v>
                </c:pt>
                <c:pt idx="2294">
                  <c:v>-0.419360437372295</c:v>
                </c:pt>
                <c:pt idx="2295">
                  <c:v>-0.5766531197791025</c:v>
                </c:pt>
                <c:pt idx="2296">
                  <c:v>-0.72416860470123512</c:v>
                </c:pt>
                <c:pt idx="2297">
                  <c:v>-0.50573595620792122</c:v>
                </c:pt>
                <c:pt idx="2298">
                  <c:v>-0.30089142271228264</c:v>
                </c:pt>
                <c:pt idx="2299">
                  <c:v>-0.2257352524329708</c:v>
                </c:pt>
                <c:pt idx="2300">
                  <c:v>-8.9198956355920511E-2</c:v>
                </c:pt>
                <c:pt idx="2301">
                  <c:v>4.5558648790220341E-2</c:v>
                </c:pt>
                <c:pt idx="2302">
                  <c:v>4.3301115096363758E-2</c:v>
                </c:pt>
                <c:pt idx="2303">
                  <c:v>-0.33823433820441673</c:v>
                </c:pt>
                <c:pt idx="2304">
                  <c:v>-0.5022923152744877</c:v>
                </c:pt>
                <c:pt idx="2305">
                  <c:v>-0.72010060659275721</c:v>
                </c:pt>
                <c:pt idx="2306">
                  <c:v>-0.72376916917471734</c:v>
                </c:pt>
                <c:pt idx="2307">
                  <c:v>-0.9541210733980291</c:v>
                </c:pt>
                <c:pt idx="2308">
                  <c:v>-0.63317077308996328</c:v>
                </c:pt>
                <c:pt idx="2309">
                  <c:v>-0.37515070517934146</c:v>
                </c:pt>
                <c:pt idx="2310">
                  <c:v>-2.9421756660228837E-2</c:v>
                </c:pt>
                <c:pt idx="2311">
                  <c:v>0.15240788532789787</c:v>
                </c:pt>
                <c:pt idx="2312">
                  <c:v>0.15692564360087094</c:v>
                </c:pt>
                <c:pt idx="2313">
                  <c:v>0.2049094832909272</c:v>
                </c:pt>
                <c:pt idx="2314">
                  <c:v>0.22372146324027584</c:v>
                </c:pt>
                <c:pt idx="2315">
                  <c:v>0.23104929256579385</c:v>
                </c:pt>
                <c:pt idx="2316">
                  <c:v>0.23457355777926717</c:v>
                </c:pt>
                <c:pt idx="2317">
                  <c:v>0.3631248602619298</c:v>
                </c:pt>
                <c:pt idx="2318">
                  <c:v>0.39357785677324963</c:v>
                </c:pt>
                <c:pt idx="2319">
                  <c:v>0.45161572395405369</c:v>
                </c:pt>
                <c:pt idx="2320">
                  <c:v>0.36097062032025173</c:v>
                </c:pt>
                <c:pt idx="2321">
                  <c:v>0.39400072479023684</c:v>
                </c:pt>
                <c:pt idx="2322">
                  <c:v>0.43174614100572783</c:v>
                </c:pt>
                <c:pt idx="2323">
                  <c:v>0.39348039803284907</c:v>
                </c:pt>
                <c:pt idx="2324">
                  <c:v>0.50305416623700061</c:v>
                </c:pt>
                <c:pt idx="2325">
                  <c:v>0.52715020047558703</c:v>
                </c:pt>
                <c:pt idx="2326">
                  <c:v>0.41700802088730271</c:v>
                </c:pt>
                <c:pt idx="2327">
                  <c:v>0.47633315364018047</c:v>
                </c:pt>
                <c:pt idx="2328">
                  <c:v>0.43453799463136411</c:v>
                </c:pt>
                <c:pt idx="2329">
                  <c:v>0.46937082007295339</c:v>
                </c:pt>
                <c:pt idx="2330">
                  <c:v>0.41952057063470161</c:v>
                </c:pt>
                <c:pt idx="2331">
                  <c:v>0.45222664808645863</c:v>
                </c:pt>
                <c:pt idx="2332">
                  <c:v>0.38348957193264488</c:v>
                </c:pt>
                <c:pt idx="2333">
                  <c:v>0.40266285567109927</c:v>
                </c:pt>
                <c:pt idx="2334">
                  <c:v>0.37257663848475187</c:v>
                </c:pt>
                <c:pt idx="2335">
                  <c:v>0.29483442935653004</c:v>
                </c:pt>
                <c:pt idx="2336">
                  <c:v>0.29651671659096179</c:v>
                </c:pt>
                <c:pt idx="2337">
                  <c:v>-0.38432898110624814</c:v>
                </c:pt>
                <c:pt idx="2338">
                  <c:v>-0.39186939120560682</c:v>
                </c:pt>
                <c:pt idx="2339">
                  <c:v>-0.7411046748131277</c:v>
                </c:pt>
                <c:pt idx="2340">
                  <c:v>-1.5027409001182852</c:v>
                </c:pt>
                <c:pt idx="2341">
                  <c:v>-2.2438979740553675</c:v>
                </c:pt>
                <c:pt idx="2342">
                  <c:v>-2.2470642445509044</c:v>
                </c:pt>
                <c:pt idx="2343">
                  <c:v>-2.6491615868006368</c:v>
                </c:pt>
                <c:pt idx="2344">
                  <c:v>-2.926962341874995</c:v>
                </c:pt>
                <c:pt idx="2345">
                  <c:v>-2.9467500074599808</c:v>
                </c:pt>
                <c:pt idx="2346">
                  <c:v>-2.941264951513991</c:v>
                </c:pt>
                <c:pt idx="2347">
                  <c:v>-2.9415735052304468</c:v>
                </c:pt>
                <c:pt idx="2348">
                  <c:v>-2.831136348072262</c:v>
                </c:pt>
                <c:pt idx="2349">
                  <c:v>-2.4877234308034066</c:v>
                </c:pt>
                <c:pt idx="2350">
                  <c:v>-2.3026796203788882</c:v>
                </c:pt>
                <c:pt idx="2351">
                  <c:v>-2.0134025151432118</c:v>
                </c:pt>
                <c:pt idx="2352">
                  <c:v>-1.3105632357225172</c:v>
                </c:pt>
                <c:pt idx="2353">
                  <c:v>-1.4568659921876632</c:v>
                </c:pt>
                <c:pt idx="2354">
                  <c:v>-1.2281896731776771</c:v>
                </c:pt>
                <c:pt idx="2355">
                  <c:v>-1.2944117928978431</c:v>
                </c:pt>
                <c:pt idx="2356">
                  <c:v>-1.2297298745965652</c:v>
                </c:pt>
                <c:pt idx="2357">
                  <c:v>-1.0030843176120559</c:v>
                </c:pt>
                <c:pt idx="2358">
                  <c:v>-0.93885442912102401</c:v>
                </c:pt>
                <c:pt idx="2359">
                  <c:v>-0.96212455222035176</c:v>
                </c:pt>
                <c:pt idx="2360">
                  <c:v>-0.85926744629495488</c:v>
                </c:pt>
                <c:pt idx="2361">
                  <c:v>-1.117376250761442</c:v>
                </c:pt>
                <c:pt idx="2362">
                  <c:v>-1.2411817662153739</c:v>
                </c:pt>
                <c:pt idx="2363">
                  <c:v>-1.4733888182741619</c:v>
                </c:pt>
                <c:pt idx="2364">
                  <c:v>-1.2737966163077969</c:v>
                </c:pt>
                <c:pt idx="2365">
                  <c:v>-1.1624372519403243</c:v>
                </c:pt>
                <c:pt idx="2366">
                  <c:v>-1.1875010622110933</c:v>
                </c:pt>
                <c:pt idx="2367">
                  <c:v>-1.2803371230704819</c:v>
                </c:pt>
                <c:pt idx="2368">
                  <c:v>-1.2026226696746818</c:v>
                </c:pt>
                <c:pt idx="2369">
                  <c:v>-1.3556447406374725</c:v>
                </c:pt>
                <c:pt idx="2370">
                  <c:v>-1.5533066541007612</c:v>
                </c:pt>
                <c:pt idx="2371">
                  <c:v>-1.2960737997880987</c:v>
                </c:pt>
                <c:pt idx="2372">
                  <c:v>-1.2151126223878954</c:v>
                </c:pt>
                <c:pt idx="2373">
                  <c:v>-1.586888769002347</c:v>
                </c:pt>
                <c:pt idx="2374">
                  <c:v>-1.7330570174751319</c:v>
                </c:pt>
                <c:pt idx="2375">
                  <c:v>-1.7170903708666623</c:v>
                </c:pt>
                <c:pt idx="2376">
                  <c:v>-1.4699206279152337</c:v>
                </c:pt>
                <c:pt idx="2377">
                  <c:v>-1.4076599434116435</c:v>
                </c:pt>
                <c:pt idx="2378">
                  <c:v>-1.4609277145909654</c:v>
                </c:pt>
                <c:pt idx="2379">
                  <c:v>-1.7496200805630264</c:v>
                </c:pt>
                <c:pt idx="2380">
                  <c:v>-1.8028944571780587</c:v>
                </c:pt>
                <c:pt idx="2381">
                  <c:v>-1.8297091027627554</c:v>
                </c:pt>
                <c:pt idx="2382">
                  <c:v>-1.5134317264462624</c:v>
                </c:pt>
                <c:pt idx="2383">
                  <c:v>-1.4715370766857072</c:v>
                </c:pt>
                <c:pt idx="2384">
                  <c:v>-1.8616286344582835</c:v>
                </c:pt>
                <c:pt idx="2385">
                  <c:v>-1.9831207725353368</c:v>
                </c:pt>
                <c:pt idx="2386">
                  <c:v>-1.8765759291490245</c:v>
                </c:pt>
                <c:pt idx="2387">
                  <c:v>-1.7443263367023485</c:v>
                </c:pt>
                <c:pt idx="2388">
                  <c:v>-1.7504890596605445</c:v>
                </c:pt>
                <c:pt idx="2389">
                  <c:v>-1.3476146039024191</c:v>
                </c:pt>
                <c:pt idx="2390">
                  <c:v>-1.1821359472918351</c:v>
                </c:pt>
                <c:pt idx="2391">
                  <c:v>-0.90921084661877694</c:v>
                </c:pt>
                <c:pt idx="2392">
                  <c:v>-0.62239258278590615</c:v>
                </c:pt>
                <c:pt idx="2393">
                  <c:v>-0.3247268164963697</c:v>
                </c:pt>
                <c:pt idx="2394">
                  <c:v>-0.3346587783152678</c:v>
                </c:pt>
                <c:pt idx="2395">
                  <c:v>-0.35084341401086105</c:v>
                </c:pt>
                <c:pt idx="2396">
                  <c:v>-0.31366439812067037</c:v>
                </c:pt>
                <c:pt idx="2397">
                  <c:v>-0.41904230701598899</c:v>
                </c:pt>
                <c:pt idx="2398">
                  <c:v>-0.42668259201652736</c:v>
                </c:pt>
                <c:pt idx="2399">
                  <c:v>-0.50893601857285808</c:v>
                </c:pt>
                <c:pt idx="2400">
                  <c:v>-0.42168103577128713</c:v>
                </c:pt>
                <c:pt idx="2401">
                  <c:v>-0.38278379716405875</c:v>
                </c:pt>
                <c:pt idx="2402">
                  <c:v>-0.34394438977660935</c:v>
                </c:pt>
                <c:pt idx="2403">
                  <c:v>-0.31382260636430459</c:v>
                </c:pt>
                <c:pt idx="2404">
                  <c:v>-0.31129066587223131</c:v>
                </c:pt>
                <c:pt idx="2405">
                  <c:v>-0.30090116428055214</c:v>
                </c:pt>
                <c:pt idx="2406">
                  <c:v>-0.3357805860228118</c:v>
                </c:pt>
                <c:pt idx="2407">
                  <c:v>-0.47543878091198288</c:v>
                </c:pt>
                <c:pt idx="2408">
                  <c:v>-0.62630481408866923</c:v>
                </c:pt>
                <c:pt idx="2409">
                  <c:v>-0.56060262748152645</c:v>
                </c:pt>
                <c:pt idx="2410">
                  <c:v>-0.62004689632610199</c:v>
                </c:pt>
                <c:pt idx="2411">
                  <c:v>-0.70722366679835813</c:v>
                </c:pt>
                <c:pt idx="2412">
                  <c:v>-0.77342692294846793</c:v>
                </c:pt>
                <c:pt idx="2413">
                  <c:v>-0.74190617727770691</c:v>
                </c:pt>
                <c:pt idx="2414">
                  <c:v>-0.60801014003917619</c:v>
                </c:pt>
                <c:pt idx="2415">
                  <c:v>-0.47373686006331672</c:v>
                </c:pt>
                <c:pt idx="2416">
                  <c:v>-0.3898879596580479</c:v>
                </c:pt>
                <c:pt idx="2417">
                  <c:v>-0.48756019904436032</c:v>
                </c:pt>
                <c:pt idx="2418">
                  <c:v>-0.52906893257832766</c:v>
                </c:pt>
                <c:pt idx="2419">
                  <c:v>-0.4300644425299347</c:v>
                </c:pt>
                <c:pt idx="2420">
                  <c:v>-0.37945508860219523</c:v>
                </c:pt>
                <c:pt idx="2421">
                  <c:v>-0.30376171543270281</c:v>
                </c:pt>
                <c:pt idx="2422">
                  <c:v>-0.50036693748726335</c:v>
                </c:pt>
                <c:pt idx="2423">
                  <c:v>-0.30574285162207693</c:v>
                </c:pt>
                <c:pt idx="2424">
                  <c:v>-0.34284745275223871</c:v>
                </c:pt>
                <c:pt idx="2425">
                  <c:v>-0.41324594529664871</c:v>
                </c:pt>
                <c:pt idx="2426">
                  <c:v>-0.30516266369708722</c:v>
                </c:pt>
                <c:pt idx="2427">
                  <c:v>-0.34408394112348006</c:v>
                </c:pt>
                <c:pt idx="2428">
                  <c:v>-0.34567058406144147</c:v>
                </c:pt>
                <c:pt idx="2429">
                  <c:v>-0.34289540043652111</c:v>
                </c:pt>
                <c:pt idx="2430">
                  <c:v>-0.34420664784175936</c:v>
                </c:pt>
                <c:pt idx="2431">
                  <c:v>-0.34410091890951811</c:v>
                </c:pt>
                <c:pt idx="2432">
                  <c:v>-0.34625439550392056</c:v>
                </c:pt>
                <c:pt idx="2433">
                  <c:v>-0.34530020229356428</c:v>
                </c:pt>
                <c:pt idx="2434">
                  <c:v>-0.34606172171565197</c:v>
                </c:pt>
                <c:pt idx="2435">
                  <c:v>-0.34625737235294551</c:v>
                </c:pt>
                <c:pt idx="2436">
                  <c:v>-0.34653699711769681</c:v>
                </c:pt>
                <c:pt idx="2437">
                  <c:v>-0.34532186190801861</c:v>
                </c:pt>
                <c:pt idx="2438">
                  <c:v>-0.34676071370798844</c:v>
                </c:pt>
                <c:pt idx="2439">
                  <c:v>-0.34670635345653944</c:v>
                </c:pt>
                <c:pt idx="2440">
                  <c:v>-0.34234126667173181</c:v>
                </c:pt>
                <c:pt idx="2441">
                  <c:v>-0.34503988737980318</c:v>
                </c:pt>
                <c:pt idx="2442">
                  <c:v>-0.34183241637588024</c:v>
                </c:pt>
                <c:pt idx="2443">
                  <c:v>-0.34210556497403888</c:v>
                </c:pt>
                <c:pt idx="2444">
                  <c:v>-0.3406681517252943</c:v>
                </c:pt>
                <c:pt idx="2445">
                  <c:v>-0.33880569532695493</c:v>
                </c:pt>
                <c:pt idx="2446">
                  <c:v>-0.33169850180996041</c:v>
                </c:pt>
                <c:pt idx="2447">
                  <c:v>-0.33087268956727445</c:v>
                </c:pt>
                <c:pt idx="2448">
                  <c:v>-0.32931828287359466</c:v>
                </c:pt>
                <c:pt idx="2449">
                  <c:v>-0.32962956116704734</c:v>
                </c:pt>
                <c:pt idx="2450">
                  <c:v>-0.33354273118563293</c:v>
                </c:pt>
                <c:pt idx="2451">
                  <c:v>-0.33534760851544843</c:v>
                </c:pt>
                <c:pt idx="2452">
                  <c:v>-0.87817882841114214</c:v>
                </c:pt>
                <c:pt idx="2453">
                  <c:v>-1.0759206462724742</c:v>
                </c:pt>
                <c:pt idx="2454">
                  <c:v>-1.1277421621666008</c:v>
                </c:pt>
                <c:pt idx="2455">
                  <c:v>-1.055624301030877</c:v>
                </c:pt>
                <c:pt idx="2456">
                  <c:v>-1.2232518031877686</c:v>
                </c:pt>
                <c:pt idx="2457">
                  <c:v>-1.2227432973800179</c:v>
                </c:pt>
                <c:pt idx="2458">
                  <c:v>-1.1595088179703961</c:v>
                </c:pt>
                <c:pt idx="2459">
                  <c:v>-0.82721457424168188</c:v>
                </c:pt>
                <c:pt idx="2460">
                  <c:v>-0.82699806024670908</c:v>
                </c:pt>
                <c:pt idx="2461">
                  <c:v>-0.77017999310139973</c:v>
                </c:pt>
                <c:pt idx="2462">
                  <c:v>-0.64449716871323248</c:v>
                </c:pt>
                <c:pt idx="2463">
                  <c:v>-0.39173620286797217</c:v>
                </c:pt>
                <c:pt idx="2464">
                  <c:v>-0.31876233968528467</c:v>
                </c:pt>
                <c:pt idx="2465">
                  <c:v>-0.49909057749894514</c:v>
                </c:pt>
                <c:pt idx="2466">
                  <c:v>-0.64571169357002434</c:v>
                </c:pt>
                <c:pt idx="2467">
                  <c:v>-0.5194744485999937</c:v>
                </c:pt>
                <c:pt idx="2468">
                  <c:v>-0.34191414782244389</c:v>
                </c:pt>
                <c:pt idx="2469">
                  <c:v>-0.36099182978505828</c:v>
                </c:pt>
                <c:pt idx="2470">
                  <c:v>-0.34574073493591073</c:v>
                </c:pt>
                <c:pt idx="2471">
                  <c:v>-0.34953962854642662</c:v>
                </c:pt>
                <c:pt idx="2472">
                  <c:v>-0.91843595277418999</c:v>
                </c:pt>
                <c:pt idx="2473">
                  <c:v>-1.558825991293779</c:v>
                </c:pt>
                <c:pt idx="2474">
                  <c:v>-1.6091121552870051</c:v>
                </c:pt>
                <c:pt idx="2475">
                  <c:v>-1.3736751700386769</c:v>
                </c:pt>
                <c:pt idx="2476">
                  <c:v>-0.82194138227161628</c:v>
                </c:pt>
                <c:pt idx="2477">
                  <c:v>-0.61326427744670742</c:v>
                </c:pt>
                <c:pt idx="2478">
                  <c:v>-0.66747407402041381</c:v>
                </c:pt>
                <c:pt idx="2479">
                  <c:v>-0.80553781352942799</c:v>
                </c:pt>
                <c:pt idx="2480">
                  <c:v>-1.1588351964512558</c:v>
                </c:pt>
                <c:pt idx="2481">
                  <c:v>-1.3849512102683694</c:v>
                </c:pt>
                <c:pt idx="2482">
                  <c:v>-1.3842084526340768</c:v>
                </c:pt>
                <c:pt idx="2483">
                  <c:v>-1.2895211497355752</c:v>
                </c:pt>
                <c:pt idx="2484">
                  <c:v>-0.31892654158141143</c:v>
                </c:pt>
                <c:pt idx="2485">
                  <c:v>-0.390934897035082</c:v>
                </c:pt>
                <c:pt idx="2486">
                  <c:v>-0.39397651041066384</c:v>
                </c:pt>
                <c:pt idx="2487">
                  <c:v>-0.77318313362864821</c:v>
                </c:pt>
                <c:pt idx="2488">
                  <c:v>-1.0708622255732316</c:v>
                </c:pt>
                <c:pt idx="2489">
                  <c:v>-1.2657217010979545</c:v>
                </c:pt>
                <c:pt idx="2490">
                  <c:v>-1.4257136952933955</c:v>
                </c:pt>
                <c:pt idx="2491">
                  <c:v>-1.3897181300994765</c:v>
                </c:pt>
                <c:pt idx="2492">
                  <c:v>-0.98368941454752523</c:v>
                </c:pt>
                <c:pt idx="2493">
                  <c:v>-0.77236782318492436</c:v>
                </c:pt>
                <c:pt idx="2494">
                  <c:v>-0.87736088547782975</c:v>
                </c:pt>
                <c:pt idx="2495">
                  <c:v>-1.3186156823105555</c:v>
                </c:pt>
                <c:pt idx="2496">
                  <c:v>-1.3210124569668003</c:v>
                </c:pt>
                <c:pt idx="2497">
                  <c:v>-1.9398553869957986</c:v>
                </c:pt>
                <c:pt idx="2498">
                  <c:v>-2.109439660721308</c:v>
                </c:pt>
                <c:pt idx="2499">
                  <c:v>-2.0657145041108005</c:v>
                </c:pt>
                <c:pt idx="2500">
                  <c:v>-2.1059540452860728</c:v>
                </c:pt>
                <c:pt idx="2501">
                  <c:v>-2.0380533949662878</c:v>
                </c:pt>
                <c:pt idx="2502">
                  <c:v>-2.0647724363143718</c:v>
                </c:pt>
                <c:pt idx="2503">
                  <c:v>-2.287005188072909</c:v>
                </c:pt>
                <c:pt idx="2504">
                  <c:v>-2.5553345911450456</c:v>
                </c:pt>
                <c:pt idx="2505">
                  <c:v>-2.7034474336275598</c:v>
                </c:pt>
                <c:pt idx="2506">
                  <c:v>-2.9590482307081398</c:v>
                </c:pt>
                <c:pt idx="2507">
                  <c:v>-2.9275696034847889</c:v>
                </c:pt>
                <c:pt idx="2508">
                  <c:v>-2.8371122000478191</c:v>
                </c:pt>
                <c:pt idx="2509">
                  <c:v>-2.2770656273569432</c:v>
                </c:pt>
                <c:pt idx="2510">
                  <c:v>-1.9011872312443276</c:v>
                </c:pt>
                <c:pt idx="2511">
                  <c:v>-1.7680909813962</c:v>
                </c:pt>
                <c:pt idx="2512">
                  <c:v>-1.511018441399077</c:v>
                </c:pt>
                <c:pt idx="2513">
                  <c:v>-1.7554527739849666</c:v>
                </c:pt>
                <c:pt idx="2514">
                  <c:v>-1.7409163416343756</c:v>
                </c:pt>
                <c:pt idx="2515">
                  <c:v>-1.3124339147836099</c:v>
                </c:pt>
                <c:pt idx="2516">
                  <c:v>-1.331595070389294</c:v>
                </c:pt>
                <c:pt idx="2517">
                  <c:v>-1.2532142461129383</c:v>
                </c:pt>
                <c:pt idx="2518">
                  <c:v>-1.4189538008757092</c:v>
                </c:pt>
                <c:pt idx="2519">
                  <c:v>-1.4808432034657333</c:v>
                </c:pt>
                <c:pt idx="2520">
                  <c:v>-1.6045584232774028</c:v>
                </c:pt>
                <c:pt idx="2521">
                  <c:v>-2.0249886260578154</c:v>
                </c:pt>
                <c:pt idx="2522">
                  <c:v>-1.98169888510409</c:v>
                </c:pt>
                <c:pt idx="2523">
                  <c:v>-1.5471629606143513</c:v>
                </c:pt>
                <c:pt idx="2524">
                  <c:v>-1.4419093971100172</c:v>
                </c:pt>
                <c:pt idx="2525">
                  <c:v>-1.3969495738752815</c:v>
                </c:pt>
                <c:pt idx="2526">
                  <c:v>-0.5148704292727202</c:v>
                </c:pt>
                <c:pt idx="2527">
                  <c:v>-0.33171062282456931</c:v>
                </c:pt>
                <c:pt idx="2528">
                  <c:v>-0.30937478051346656</c:v>
                </c:pt>
                <c:pt idx="2529">
                  <c:v>-0.30618323816097204</c:v>
                </c:pt>
                <c:pt idx="2530">
                  <c:v>-0.30577092645602355</c:v>
                </c:pt>
                <c:pt idx="2531">
                  <c:v>-0.33615112257004942</c:v>
                </c:pt>
                <c:pt idx="2532">
                  <c:v>-0.30135394780911329</c:v>
                </c:pt>
                <c:pt idx="2533">
                  <c:v>-0.3018453736818969</c:v>
                </c:pt>
                <c:pt idx="2534">
                  <c:v>-0.35278593790040313</c:v>
                </c:pt>
                <c:pt idx="2535">
                  <c:v>-0.40068611460512416</c:v>
                </c:pt>
                <c:pt idx="2536">
                  <c:v>-0.40959983786959098</c:v>
                </c:pt>
                <c:pt idx="2537">
                  <c:v>-0.57752192226761812</c:v>
                </c:pt>
                <c:pt idx="2538">
                  <c:v>-0.64499772883255768</c:v>
                </c:pt>
                <c:pt idx="2539">
                  <c:v>-0.50226401687895739</c:v>
                </c:pt>
                <c:pt idx="2540">
                  <c:v>-0.70513155285398599</c:v>
                </c:pt>
                <c:pt idx="2541">
                  <c:v>-1.2252723427332823</c:v>
                </c:pt>
                <c:pt idx="2542">
                  <c:v>-1.61742835667949</c:v>
                </c:pt>
                <c:pt idx="2543">
                  <c:v>-1.8488345078628639</c:v>
                </c:pt>
                <c:pt idx="2544">
                  <c:v>-1.9575222996558872</c:v>
                </c:pt>
                <c:pt idx="2545">
                  <c:v>-1.5230461319887936</c:v>
                </c:pt>
                <c:pt idx="2546">
                  <c:v>-1.6943174061660795</c:v>
                </c:pt>
                <c:pt idx="2547">
                  <c:v>-1.8277024971326281</c:v>
                </c:pt>
                <c:pt idx="2548">
                  <c:v>-1.8738179753976212</c:v>
                </c:pt>
                <c:pt idx="2549">
                  <c:v>-1.6886557436049641</c:v>
                </c:pt>
                <c:pt idx="2550">
                  <c:v>-1.5784169532305516</c:v>
                </c:pt>
                <c:pt idx="2551">
                  <c:v>-0.91403001137925166</c:v>
                </c:pt>
                <c:pt idx="2552">
                  <c:v>-0.50635822021293819</c:v>
                </c:pt>
                <c:pt idx="2553">
                  <c:v>-0.32291467835216514</c:v>
                </c:pt>
                <c:pt idx="2554">
                  <c:v>-0.32292726095136792</c:v>
                </c:pt>
                <c:pt idx="2555">
                  <c:v>-0.3072777627016362</c:v>
                </c:pt>
                <c:pt idx="2556">
                  <c:v>-0.30335306347986768</c:v>
                </c:pt>
                <c:pt idx="2557">
                  <c:v>-0.31387853957718392</c:v>
                </c:pt>
                <c:pt idx="2558">
                  <c:v>-0.41732465349876369</c:v>
                </c:pt>
                <c:pt idx="2559">
                  <c:v>-0.61783818249217148</c:v>
                </c:pt>
                <c:pt idx="2560">
                  <c:v>-0.40105993164895826</c:v>
                </c:pt>
                <c:pt idx="2561">
                  <c:v>-0.33288542333516558</c:v>
                </c:pt>
                <c:pt idx="2562">
                  <c:v>-0.31500299423384404</c:v>
                </c:pt>
                <c:pt idx="2563">
                  <c:v>-0.31224035849644138</c:v>
                </c:pt>
                <c:pt idx="2564">
                  <c:v>-0.33918706161849366</c:v>
                </c:pt>
                <c:pt idx="2565">
                  <c:v>-0.33062565230785901</c:v>
                </c:pt>
                <c:pt idx="2566">
                  <c:v>-0.33321948620374908</c:v>
                </c:pt>
                <c:pt idx="2567">
                  <c:v>-0.47535388378637722</c:v>
                </c:pt>
                <c:pt idx="2568">
                  <c:v>-0.47636847310955788</c:v>
                </c:pt>
                <c:pt idx="2569">
                  <c:v>-0.73064004752055844</c:v>
                </c:pt>
                <c:pt idx="2570">
                  <c:v>-0.92184871862471784</c:v>
                </c:pt>
                <c:pt idx="2571">
                  <c:v>-0.82981384569994809</c:v>
                </c:pt>
                <c:pt idx="2572">
                  <c:v>-0.30063937126895057</c:v>
                </c:pt>
                <c:pt idx="2573">
                  <c:v>-0.37941404248958521</c:v>
                </c:pt>
                <c:pt idx="2574">
                  <c:v>-0.78559171469166456</c:v>
                </c:pt>
                <c:pt idx="2575">
                  <c:v>-1.055065338941223</c:v>
                </c:pt>
                <c:pt idx="2576">
                  <c:v>-1.2233553670704118</c:v>
                </c:pt>
                <c:pt idx="2577">
                  <c:v>-1.2654459112528929</c:v>
                </c:pt>
                <c:pt idx="2578">
                  <c:v>-1.2633858137654892</c:v>
                </c:pt>
                <c:pt idx="2579">
                  <c:v>-0.99605059565803489</c:v>
                </c:pt>
                <c:pt idx="2580">
                  <c:v>-0.84100946578970626</c:v>
                </c:pt>
                <c:pt idx="2581">
                  <c:v>-0.72201071381217319</c:v>
                </c:pt>
                <c:pt idx="2582">
                  <c:v>-0.32018977502584611</c:v>
                </c:pt>
                <c:pt idx="2583">
                  <c:v>-0.30187232664826491</c:v>
                </c:pt>
                <c:pt idx="2584">
                  <c:v>-0.27393796103863977</c:v>
                </c:pt>
                <c:pt idx="2585">
                  <c:v>-0.31731857734697544</c:v>
                </c:pt>
                <c:pt idx="2586">
                  <c:v>-0.30885854770574606</c:v>
                </c:pt>
                <c:pt idx="2587">
                  <c:v>-0.33190088012892149</c:v>
                </c:pt>
                <c:pt idx="2588">
                  <c:v>-0.29908772077631096</c:v>
                </c:pt>
                <c:pt idx="2589">
                  <c:v>-0.30077638762898717</c:v>
                </c:pt>
                <c:pt idx="2590">
                  <c:v>-0.41077603383223271</c:v>
                </c:pt>
                <c:pt idx="2591">
                  <c:v>-0.65974863019237351</c:v>
                </c:pt>
                <c:pt idx="2592">
                  <c:v>-0.81436616311656052</c:v>
                </c:pt>
                <c:pt idx="2593">
                  <c:v>-0.74955323000071183</c:v>
                </c:pt>
                <c:pt idx="2594">
                  <c:v>-0.51395256080568774</c:v>
                </c:pt>
                <c:pt idx="2595">
                  <c:v>-0.39247976716389166</c:v>
                </c:pt>
                <c:pt idx="2596">
                  <c:v>-0.45680888165280176</c:v>
                </c:pt>
                <c:pt idx="2597">
                  <c:v>-0.30528593567572126</c:v>
                </c:pt>
                <c:pt idx="2598">
                  <c:v>-0.41973630884722091</c:v>
                </c:pt>
                <c:pt idx="2599">
                  <c:v>-0.44707716924324203</c:v>
                </c:pt>
                <c:pt idx="2600">
                  <c:v>-0.95697338678743749</c:v>
                </c:pt>
                <c:pt idx="2601">
                  <c:v>-1.1248119938396939</c:v>
                </c:pt>
                <c:pt idx="2602">
                  <c:v>-0.90985761351284489</c:v>
                </c:pt>
                <c:pt idx="2603">
                  <c:v>-1.1062427991446586</c:v>
                </c:pt>
                <c:pt idx="2604">
                  <c:v>-1.1104451143200442</c:v>
                </c:pt>
                <c:pt idx="2605">
                  <c:v>-1.254112784897695</c:v>
                </c:pt>
                <c:pt idx="2606">
                  <c:v>-1.2539140407888378</c:v>
                </c:pt>
                <c:pt idx="2607">
                  <c:v>-1.2013341266467013</c:v>
                </c:pt>
                <c:pt idx="2608">
                  <c:v>-0.56095186833841482</c:v>
                </c:pt>
                <c:pt idx="2609">
                  <c:v>-0.29855280834353448</c:v>
                </c:pt>
                <c:pt idx="2610">
                  <c:v>-0.57931069903108579</c:v>
                </c:pt>
                <c:pt idx="2611">
                  <c:v>-0.62963496025619181</c:v>
                </c:pt>
                <c:pt idx="2612">
                  <c:v>-0.9774653327842272</c:v>
                </c:pt>
                <c:pt idx="2613">
                  <c:v>-1.4023474106558216</c:v>
                </c:pt>
                <c:pt idx="2614">
                  <c:v>-1.5512893805487935</c:v>
                </c:pt>
                <c:pt idx="2615">
                  <c:v>-1.5891321177494733</c:v>
                </c:pt>
                <c:pt idx="2616">
                  <c:v>-1.7494557499223831</c:v>
                </c:pt>
                <c:pt idx="2617">
                  <c:v>-1.8145553146099602</c:v>
                </c:pt>
                <c:pt idx="2618">
                  <c:v>-1.4552166168305418</c:v>
                </c:pt>
                <c:pt idx="2619">
                  <c:v>-1.0802518337648344</c:v>
                </c:pt>
                <c:pt idx="2620">
                  <c:v>-0.82101723217879796</c:v>
                </c:pt>
                <c:pt idx="2621">
                  <c:v>-0.63627440638675281</c:v>
                </c:pt>
                <c:pt idx="2622">
                  <c:v>-0.47609963971250768</c:v>
                </c:pt>
                <c:pt idx="2623">
                  <c:v>-0.3276094021877195</c:v>
                </c:pt>
                <c:pt idx="2624">
                  <c:v>-0.38831470862692041</c:v>
                </c:pt>
                <c:pt idx="2625">
                  <c:v>-0.40354751871601213</c:v>
                </c:pt>
                <c:pt idx="2626">
                  <c:v>-0.48297274609002772</c:v>
                </c:pt>
                <c:pt idx="2627">
                  <c:v>-0.30775745505685281</c:v>
                </c:pt>
                <c:pt idx="2628">
                  <c:v>-0.30785158408582536</c:v>
                </c:pt>
                <c:pt idx="2629">
                  <c:v>-0.34886161433926421</c:v>
                </c:pt>
                <c:pt idx="2630">
                  <c:v>-0.34894917796828717</c:v>
                </c:pt>
                <c:pt idx="2631">
                  <c:v>-1.1363380721049547</c:v>
                </c:pt>
                <c:pt idx="2632">
                  <c:v>-1.1470117912602471</c:v>
                </c:pt>
                <c:pt idx="2633">
                  <c:v>-1.8287292957373569</c:v>
                </c:pt>
                <c:pt idx="2634">
                  <c:v>-2.0088001598025524</c:v>
                </c:pt>
                <c:pt idx="2635">
                  <c:v>-1.9451096905821577</c:v>
                </c:pt>
                <c:pt idx="2636">
                  <c:v>-2.0231852820363549</c:v>
                </c:pt>
                <c:pt idx="2637">
                  <c:v>-1.711512516399903</c:v>
                </c:pt>
                <c:pt idx="2638">
                  <c:v>-1.1014969271172403</c:v>
                </c:pt>
                <c:pt idx="2639">
                  <c:v>-0.66195741220388415</c:v>
                </c:pt>
                <c:pt idx="2640">
                  <c:v>-0.31110582330527115</c:v>
                </c:pt>
                <c:pt idx="2641">
                  <c:v>-0.33636682290260622</c:v>
                </c:pt>
                <c:pt idx="2642">
                  <c:v>-0.37432314205438111</c:v>
                </c:pt>
                <c:pt idx="2643">
                  <c:v>-0.63111859166338824</c:v>
                </c:pt>
                <c:pt idx="2644">
                  <c:v>-0.88422801387063443</c:v>
                </c:pt>
                <c:pt idx="2645">
                  <c:v>-1.0434511901214563</c:v>
                </c:pt>
                <c:pt idx="2646">
                  <c:v>-1.2399008954118009</c:v>
                </c:pt>
                <c:pt idx="2647">
                  <c:v>-1.360436440108562</c:v>
                </c:pt>
                <c:pt idx="2648">
                  <c:v>-1.3317609441369853</c:v>
                </c:pt>
                <c:pt idx="2649">
                  <c:v>-1.1850372849391828</c:v>
                </c:pt>
                <c:pt idx="2650">
                  <c:v>-1.1214210619374516</c:v>
                </c:pt>
                <c:pt idx="2651">
                  <c:v>-1.0216789448731527</c:v>
                </c:pt>
                <c:pt idx="2652">
                  <c:v>-0.7354100233677624</c:v>
                </c:pt>
                <c:pt idx="2653">
                  <c:v>-0.39301470619419065</c:v>
                </c:pt>
                <c:pt idx="2654">
                  <c:v>-0.66560363595648708</c:v>
                </c:pt>
                <c:pt idx="2655">
                  <c:v>-0.81406089149617011</c:v>
                </c:pt>
                <c:pt idx="2656">
                  <c:v>-1.1560866551282094</c:v>
                </c:pt>
                <c:pt idx="2657">
                  <c:v>-1.3622527634427612</c:v>
                </c:pt>
                <c:pt idx="2658">
                  <c:v>-1.1122199046541468</c:v>
                </c:pt>
                <c:pt idx="2659">
                  <c:v>-1.1093192278885131</c:v>
                </c:pt>
                <c:pt idx="2660">
                  <c:v>-0.34735709312791174</c:v>
                </c:pt>
                <c:pt idx="2661">
                  <c:v>-0.35667010158351964</c:v>
                </c:pt>
                <c:pt idx="2662">
                  <c:v>-0.36835298253238935</c:v>
                </c:pt>
                <c:pt idx="2663">
                  <c:v>-0.39305105156969633</c:v>
                </c:pt>
                <c:pt idx="2664">
                  <c:v>-0.40165400696005682</c:v>
                </c:pt>
                <c:pt idx="2665">
                  <c:v>-0.86944539629090067</c:v>
                </c:pt>
                <c:pt idx="2666">
                  <c:v>-1.2594275236817407</c:v>
                </c:pt>
                <c:pt idx="2667">
                  <c:v>-1.4234455494563276</c:v>
                </c:pt>
                <c:pt idx="2668">
                  <c:v>-1.7405848438897018</c:v>
                </c:pt>
                <c:pt idx="2669">
                  <c:v>-1.7796251841874329</c:v>
                </c:pt>
                <c:pt idx="2670">
                  <c:v>-1.3011944393788624</c:v>
                </c:pt>
                <c:pt idx="2671">
                  <c:v>-1.1828992889416943</c:v>
                </c:pt>
                <c:pt idx="2672">
                  <c:v>-1.1833457723905063</c:v>
                </c:pt>
                <c:pt idx="2673">
                  <c:v>-1.2512189675305885</c:v>
                </c:pt>
                <c:pt idx="2674">
                  <c:v>-1.0191410776870016</c:v>
                </c:pt>
                <c:pt idx="2675">
                  <c:v>-0.88657628866225668</c:v>
                </c:pt>
                <c:pt idx="2676">
                  <c:v>-0.3479567305978537</c:v>
                </c:pt>
                <c:pt idx="2677">
                  <c:v>-0.35016780634407207</c:v>
                </c:pt>
                <c:pt idx="2678">
                  <c:v>-0.36253678391986099</c:v>
                </c:pt>
                <c:pt idx="2679">
                  <c:v>-0.37801893050965862</c:v>
                </c:pt>
                <c:pt idx="2680">
                  <c:v>-0.39345363228463204</c:v>
                </c:pt>
                <c:pt idx="2681">
                  <c:v>-0.84396818886410674</c:v>
                </c:pt>
                <c:pt idx="2682">
                  <c:v>-1.1696548963763653</c:v>
                </c:pt>
                <c:pt idx="2683">
                  <c:v>-1.3362204998752922</c:v>
                </c:pt>
                <c:pt idx="2684">
                  <c:v>-1.2968863671420188</c:v>
                </c:pt>
                <c:pt idx="2685">
                  <c:v>-1.4973744555305963</c:v>
                </c:pt>
                <c:pt idx="2686">
                  <c:v>-1.9662999147978057</c:v>
                </c:pt>
                <c:pt idx="2687">
                  <c:v>-2.7958842673430579</c:v>
                </c:pt>
                <c:pt idx="2688">
                  <c:v>-2.9432683381478402</c:v>
                </c:pt>
                <c:pt idx="2689">
                  <c:v>-2.9502837230076486</c:v>
                </c:pt>
                <c:pt idx="2690">
                  <c:v>-2.9337357861281061</c:v>
                </c:pt>
                <c:pt idx="2691">
                  <c:v>-2.9471081684476572</c:v>
                </c:pt>
                <c:pt idx="2692">
                  <c:v>-2.6704437011941553</c:v>
                </c:pt>
                <c:pt idx="2693">
                  <c:v>-2.1004318700618225</c:v>
                </c:pt>
                <c:pt idx="2694">
                  <c:v>-1.8297717537028599</c:v>
                </c:pt>
                <c:pt idx="2695">
                  <c:v>-1.0195877164998286</c:v>
                </c:pt>
                <c:pt idx="2696">
                  <c:v>-0.79090283347198331</c:v>
                </c:pt>
                <c:pt idx="2697">
                  <c:v>-0.60455074820650267</c:v>
                </c:pt>
                <c:pt idx="2698">
                  <c:v>-0.52874271077437507</c:v>
                </c:pt>
                <c:pt idx="2699">
                  <c:v>-0.32901663361423994</c:v>
                </c:pt>
                <c:pt idx="2700">
                  <c:v>-0.34297432895175572</c:v>
                </c:pt>
                <c:pt idx="2701">
                  <c:v>-0.30333675929664583</c:v>
                </c:pt>
                <c:pt idx="2702">
                  <c:v>-0.34039028110285252</c:v>
                </c:pt>
                <c:pt idx="2703">
                  <c:v>-0.33695549034708994</c:v>
                </c:pt>
                <c:pt idx="2704">
                  <c:v>-0.31883955542081432</c:v>
                </c:pt>
                <c:pt idx="2705">
                  <c:v>-0.34405602425048165</c:v>
                </c:pt>
                <c:pt idx="2706">
                  <c:v>-0.44811724576596779</c:v>
                </c:pt>
                <c:pt idx="2707">
                  <c:v>-0.32829277618448294</c:v>
                </c:pt>
                <c:pt idx="2708">
                  <c:v>-0.40758868580851348</c:v>
                </c:pt>
                <c:pt idx="2709">
                  <c:v>-0.58908615281076571</c:v>
                </c:pt>
                <c:pt idx="2710">
                  <c:v>-0.74983005587329099</c:v>
                </c:pt>
                <c:pt idx="2711">
                  <c:v>-1.1795183219632845</c:v>
                </c:pt>
                <c:pt idx="2712">
                  <c:v>-1.653023100148844</c:v>
                </c:pt>
                <c:pt idx="2713">
                  <c:v>-1.7435905391322166</c:v>
                </c:pt>
                <c:pt idx="2714">
                  <c:v>-1.7993884503067556</c:v>
                </c:pt>
                <c:pt idx="2715">
                  <c:v>-1.6506503993047867</c:v>
                </c:pt>
                <c:pt idx="2716">
                  <c:v>-1.4617419960848856</c:v>
                </c:pt>
                <c:pt idx="2717">
                  <c:v>-1.2277507821534241</c:v>
                </c:pt>
                <c:pt idx="2718">
                  <c:v>-1.1005278103854068</c:v>
                </c:pt>
                <c:pt idx="2719">
                  <c:v>-0.95730127688382405</c:v>
                </c:pt>
                <c:pt idx="2720">
                  <c:v>-0.88909632576830744</c:v>
                </c:pt>
                <c:pt idx="2721">
                  <c:v>-0.90093218079407522</c:v>
                </c:pt>
                <c:pt idx="2722">
                  <c:v>-1.2615543833093894</c:v>
                </c:pt>
                <c:pt idx="2723">
                  <c:v>-1.8083385145614237</c:v>
                </c:pt>
                <c:pt idx="2724">
                  <c:v>-2.1877602794392783</c:v>
                </c:pt>
                <c:pt idx="2725">
                  <c:v>-2.4251708261851865</c:v>
                </c:pt>
                <c:pt idx="2726">
                  <c:v>-2.5721545873332516</c:v>
                </c:pt>
                <c:pt idx="2727">
                  <c:v>-2.4697442122623077</c:v>
                </c:pt>
                <c:pt idx="2728">
                  <c:v>-1.9728499600776728</c:v>
                </c:pt>
                <c:pt idx="2729">
                  <c:v>-1.6073849938214848</c:v>
                </c:pt>
                <c:pt idx="2730">
                  <c:v>-1.4312969925493091</c:v>
                </c:pt>
                <c:pt idx="2731">
                  <c:v>-1.3583533784747435</c:v>
                </c:pt>
                <c:pt idx="2732">
                  <c:v>-1.1909033764133996</c:v>
                </c:pt>
                <c:pt idx="2733">
                  <c:v>-0.31760258087594917</c:v>
                </c:pt>
                <c:pt idx="2734">
                  <c:v>-0.30728070460550316</c:v>
                </c:pt>
                <c:pt idx="2735">
                  <c:v>-0.29323451248435872</c:v>
                </c:pt>
                <c:pt idx="2736">
                  <c:v>-0.32808483821207279</c:v>
                </c:pt>
                <c:pt idx="2737">
                  <c:v>-0.32526208869631368</c:v>
                </c:pt>
                <c:pt idx="2738">
                  <c:v>-0.32422013451125464</c:v>
                </c:pt>
                <c:pt idx="2739">
                  <c:v>-0.30423651922879769</c:v>
                </c:pt>
                <c:pt idx="2740">
                  <c:v>-0.31887110600845137</c:v>
                </c:pt>
                <c:pt idx="2741">
                  <c:v>-0.31830077278060009</c:v>
                </c:pt>
                <c:pt idx="2742">
                  <c:v>-0.6031632266194662</c:v>
                </c:pt>
                <c:pt idx="2743">
                  <c:v>-0.80011470884949942</c:v>
                </c:pt>
                <c:pt idx="2744">
                  <c:v>-0.87895644034103404</c:v>
                </c:pt>
                <c:pt idx="2745">
                  <c:v>-0.85500185639245851</c:v>
                </c:pt>
                <c:pt idx="2746">
                  <c:v>-0.90941087417897559</c:v>
                </c:pt>
                <c:pt idx="2747">
                  <c:v>-0.80738347379847852</c:v>
                </c:pt>
                <c:pt idx="2748">
                  <c:v>-0.64061397203213566</c:v>
                </c:pt>
                <c:pt idx="2749">
                  <c:v>-0.85912381781628955</c:v>
                </c:pt>
                <c:pt idx="2750">
                  <c:v>-0.65800272166457918</c:v>
                </c:pt>
                <c:pt idx="2751">
                  <c:v>-0.55690056494099782</c:v>
                </c:pt>
                <c:pt idx="2752">
                  <c:v>-0.5754272735491438</c:v>
                </c:pt>
                <c:pt idx="2753">
                  <c:v>-0.46278751805335105</c:v>
                </c:pt>
                <c:pt idx="2754">
                  <c:v>-0.45123921135475709</c:v>
                </c:pt>
                <c:pt idx="2755">
                  <c:v>-0.52086793198880865</c:v>
                </c:pt>
                <c:pt idx="2756">
                  <c:v>-0.66263478117575791</c:v>
                </c:pt>
                <c:pt idx="2757">
                  <c:v>-0.52347632967746138</c:v>
                </c:pt>
                <c:pt idx="2758">
                  <c:v>-0.33823739088612748</c:v>
                </c:pt>
                <c:pt idx="2759">
                  <c:v>-0.31020217529501859</c:v>
                </c:pt>
                <c:pt idx="2760">
                  <c:v>-0.31649676361729673</c:v>
                </c:pt>
                <c:pt idx="2761">
                  <c:v>-0.59078157117245278</c:v>
                </c:pt>
                <c:pt idx="2762">
                  <c:v>-0.75434258892520123</c:v>
                </c:pt>
                <c:pt idx="2763">
                  <c:v>-1.2331149059088138</c:v>
                </c:pt>
                <c:pt idx="2764">
                  <c:v>-1.4777088105730338</c:v>
                </c:pt>
                <c:pt idx="2765">
                  <c:v>-1.6768225791232947</c:v>
                </c:pt>
                <c:pt idx="2766">
                  <c:v>-2.1077334904199536</c:v>
                </c:pt>
                <c:pt idx="2767">
                  <c:v>-2.1362744123700703</c:v>
                </c:pt>
                <c:pt idx="2768">
                  <c:v>-2.1432637209598298</c:v>
                </c:pt>
                <c:pt idx="2769">
                  <c:v>-2.2532944011614977</c:v>
                </c:pt>
                <c:pt idx="2770">
                  <c:v>-2.9483930492581218</c:v>
                </c:pt>
                <c:pt idx="2771">
                  <c:v>-2.9475911402528645</c:v>
                </c:pt>
                <c:pt idx="2772">
                  <c:v>-2.7631818563844859</c:v>
                </c:pt>
                <c:pt idx="2773">
                  <c:v>-2.7665323583211339</c:v>
                </c:pt>
                <c:pt idx="2774">
                  <c:v>-2.1139551398233074</c:v>
                </c:pt>
                <c:pt idx="2775">
                  <c:v>-1.6511582534962499</c:v>
                </c:pt>
                <c:pt idx="2776">
                  <c:v>-1.3617904321950838</c:v>
                </c:pt>
                <c:pt idx="2777">
                  <c:v>-1.07730007845604</c:v>
                </c:pt>
                <c:pt idx="2778">
                  <c:v>-0.98624453202381968</c:v>
                </c:pt>
                <c:pt idx="2779">
                  <c:v>-0.85059753519794667</c:v>
                </c:pt>
                <c:pt idx="2780">
                  <c:v>-0.4468634050183371</c:v>
                </c:pt>
                <c:pt idx="2781">
                  <c:v>-0.31339046570292572</c:v>
                </c:pt>
                <c:pt idx="2782">
                  <c:v>-0.31350375648753281</c:v>
                </c:pt>
                <c:pt idx="2783">
                  <c:v>-0.31575147025987627</c:v>
                </c:pt>
                <c:pt idx="2784">
                  <c:v>-0.36975724734169968</c:v>
                </c:pt>
                <c:pt idx="2785">
                  <c:v>-0.30061782994058106</c:v>
                </c:pt>
                <c:pt idx="2786">
                  <c:v>-0.31663906534556963</c:v>
                </c:pt>
                <c:pt idx="2787">
                  <c:v>-0.35016253678792952</c:v>
                </c:pt>
                <c:pt idx="2788">
                  <c:v>-0.28709568599447455</c:v>
                </c:pt>
                <c:pt idx="2789">
                  <c:v>-0.29419868814497507</c:v>
                </c:pt>
                <c:pt idx="2790">
                  <c:v>-0.44701547605163416</c:v>
                </c:pt>
                <c:pt idx="2791">
                  <c:v>-0.59261938504583911</c:v>
                </c:pt>
                <c:pt idx="2792">
                  <c:v>-1.1343455803826794</c:v>
                </c:pt>
                <c:pt idx="2793">
                  <c:v>-1.4358952709154014</c:v>
                </c:pt>
                <c:pt idx="2794">
                  <c:v>-1.7015388407808398</c:v>
                </c:pt>
                <c:pt idx="2795">
                  <c:v>-2.0811255822390073</c:v>
                </c:pt>
                <c:pt idx="2796">
                  <c:v>-2.2214741734428154</c:v>
                </c:pt>
                <c:pt idx="2797">
                  <c:v>-2.1191748013877101</c:v>
                </c:pt>
                <c:pt idx="2798">
                  <c:v>-2.0236834975378151</c:v>
                </c:pt>
                <c:pt idx="2799">
                  <c:v>-1.684069831681704</c:v>
                </c:pt>
                <c:pt idx="2800">
                  <c:v>-1.4412796743244169</c:v>
                </c:pt>
                <c:pt idx="2801">
                  <c:v>-1.3484546527916526</c:v>
                </c:pt>
                <c:pt idx="2802">
                  <c:v>-1.553462412719401</c:v>
                </c:pt>
                <c:pt idx="2803">
                  <c:v>-1.5660272096886896</c:v>
                </c:pt>
                <c:pt idx="2804">
                  <c:v>-1.8862669990481491</c:v>
                </c:pt>
                <c:pt idx="2805">
                  <c:v>-2.0555918758133784</c:v>
                </c:pt>
                <c:pt idx="2806">
                  <c:v>-2.1056815788040355</c:v>
                </c:pt>
                <c:pt idx="2807">
                  <c:v>-2.2527962038969247</c:v>
                </c:pt>
                <c:pt idx="2808">
                  <c:v>-2.9221545400275897</c:v>
                </c:pt>
                <c:pt idx="2809">
                  <c:v>-2.9692837335321931</c:v>
                </c:pt>
                <c:pt idx="2810">
                  <c:v>-2.803524859730588</c:v>
                </c:pt>
                <c:pt idx="2811">
                  <c:v>-2.7876311525935416</c:v>
                </c:pt>
                <c:pt idx="2812">
                  <c:v>-1.4660684526584045</c:v>
                </c:pt>
                <c:pt idx="2813">
                  <c:v>-0.48116381683471554</c:v>
                </c:pt>
                <c:pt idx="2814">
                  <c:v>-0.32973589879827947</c:v>
                </c:pt>
                <c:pt idx="2815">
                  <c:v>-0.35670191638240445</c:v>
                </c:pt>
                <c:pt idx="2816">
                  <c:v>-0.70190330681795987</c:v>
                </c:pt>
                <c:pt idx="2817">
                  <c:v>-0.97004822103775001</c:v>
                </c:pt>
                <c:pt idx="2818">
                  <c:v>-1.0136182532131495</c:v>
                </c:pt>
                <c:pt idx="2819">
                  <c:v>-0.60156525541547567</c:v>
                </c:pt>
                <c:pt idx="2820">
                  <c:v>-0.32077653620278546</c:v>
                </c:pt>
                <c:pt idx="2821">
                  <c:v>-0.3225264241264123</c:v>
                </c:pt>
                <c:pt idx="2822">
                  <c:v>-0.35403664466636564</c:v>
                </c:pt>
                <c:pt idx="2823">
                  <c:v>-0.30834243015184848</c:v>
                </c:pt>
                <c:pt idx="2824">
                  <c:v>-0.30792573084215469</c:v>
                </c:pt>
                <c:pt idx="2825">
                  <c:v>-0.59797080249175527</c:v>
                </c:pt>
                <c:pt idx="2826">
                  <c:v>-1.8161066682566507</c:v>
                </c:pt>
                <c:pt idx="2827">
                  <c:v>-2.6194852069966972</c:v>
                </c:pt>
                <c:pt idx="2828">
                  <c:v>-2.9255645629860569</c:v>
                </c:pt>
                <c:pt idx="2829">
                  <c:v>-2.9365070846674803</c:v>
                </c:pt>
                <c:pt idx="2830">
                  <c:v>-2.896697035755825</c:v>
                </c:pt>
                <c:pt idx="2831">
                  <c:v>-2.9452881753789208</c:v>
                </c:pt>
                <c:pt idx="2832">
                  <c:v>-2.9281343382966192</c:v>
                </c:pt>
                <c:pt idx="2833">
                  <c:v>-2.9471473041182636</c:v>
                </c:pt>
                <c:pt idx="2834">
                  <c:v>-2.9284324053007009</c:v>
                </c:pt>
                <c:pt idx="2835">
                  <c:v>-2.9013015841669398</c:v>
                </c:pt>
                <c:pt idx="2836">
                  <c:v>-2.5163820599679512</c:v>
                </c:pt>
                <c:pt idx="2837">
                  <c:v>-2.4628618729204099</c:v>
                </c:pt>
                <c:pt idx="2838">
                  <c:v>-2.5647919117113882</c:v>
                </c:pt>
                <c:pt idx="2839">
                  <c:v>-2.9024325773872621</c:v>
                </c:pt>
                <c:pt idx="2840">
                  <c:v>-2.9631108734075577</c:v>
                </c:pt>
                <c:pt idx="2841">
                  <c:v>-2.8712560876451971</c:v>
                </c:pt>
                <c:pt idx="2842">
                  <c:v>-2.5919973421164855</c:v>
                </c:pt>
                <c:pt idx="2843">
                  <c:v>-2.4159103771264241</c:v>
                </c:pt>
                <c:pt idx="2844">
                  <c:v>-2.4132845391749127</c:v>
                </c:pt>
                <c:pt idx="2845">
                  <c:v>-2.1016441656741494</c:v>
                </c:pt>
                <c:pt idx="2846">
                  <c:v>-1.6916440611521317</c:v>
                </c:pt>
                <c:pt idx="2847">
                  <c:v>-1.1985080906645784</c:v>
                </c:pt>
                <c:pt idx="2848">
                  <c:v>-0.70827221982397293</c:v>
                </c:pt>
                <c:pt idx="2849">
                  <c:v>-0.35635115505834347</c:v>
                </c:pt>
                <c:pt idx="2850">
                  <c:v>-0.35615942104610598</c:v>
                </c:pt>
                <c:pt idx="2851">
                  <c:v>-0.31971594266508141</c:v>
                </c:pt>
                <c:pt idx="2852">
                  <c:v>-0.33652170680178628</c:v>
                </c:pt>
                <c:pt idx="2853">
                  <c:v>-0.32573864777604544</c:v>
                </c:pt>
                <c:pt idx="2854">
                  <c:v>-0.32892802506360719</c:v>
                </c:pt>
                <c:pt idx="2855">
                  <c:v>-0.33309293902590242</c:v>
                </c:pt>
                <c:pt idx="2856">
                  <c:v>-0.33906467425679021</c:v>
                </c:pt>
                <c:pt idx="2857">
                  <c:v>-0.31457709195394989</c:v>
                </c:pt>
                <c:pt idx="2858">
                  <c:v>-0.31828521434305102</c:v>
                </c:pt>
                <c:pt idx="2859">
                  <c:v>-0.33700999234756834</c:v>
                </c:pt>
                <c:pt idx="2860">
                  <c:v>-0.34203558286883307</c:v>
                </c:pt>
                <c:pt idx="2861">
                  <c:v>-0.32888136880736873</c:v>
                </c:pt>
                <c:pt idx="2862">
                  <c:v>-0.3312894043517135</c:v>
                </c:pt>
                <c:pt idx="2863">
                  <c:v>-0.35175209433994392</c:v>
                </c:pt>
                <c:pt idx="2864">
                  <c:v>-0.41153804786975234</c:v>
                </c:pt>
                <c:pt idx="2865">
                  <c:v>-0.61259372744370577</c:v>
                </c:pt>
                <c:pt idx="2866">
                  <c:v>-0.67400932239804467</c:v>
                </c:pt>
                <c:pt idx="2867">
                  <c:v>-0.81727557217309788</c:v>
                </c:pt>
                <c:pt idx="2868">
                  <c:v>-0.80770812319935259</c:v>
                </c:pt>
                <c:pt idx="2869">
                  <c:v>-0.54728162648365741</c:v>
                </c:pt>
                <c:pt idx="2870">
                  <c:v>-0.33569113704572007</c:v>
                </c:pt>
                <c:pt idx="2871">
                  <c:v>-0.42087336307161827</c:v>
                </c:pt>
                <c:pt idx="2872">
                  <c:v>-0.70784239910125957</c:v>
                </c:pt>
                <c:pt idx="2873">
                  <c:v>-0.99026220420161004</c:v>
                </c:pt>
                <c:pt idx="2874">
                  <c:v>-1.4367762654063787</c:v>
                </c:pt>
                <c:pt idx="2875">
                  <c:v>-1.5413216493547102</c:v>
                </c:pt>
                <c:pt idx="2876">
                  <c:v>-1.592196955065035</c:v>
                </c:pt>
                <c:pt idx="2877">
                  <c:v>-1.5015757196452535</c:v>
                </c:pt>
                <c:pt idx="2878">
                  <c:v>-1.0089235463295056</c:v>
                </c:pt>
                <c:pt idx="2879">
                  <c:v>-0.65863699988761282</c:v>
                </c:pt>
                <c:pt idx="2880">
                  <c:v>-0.65259692417531712</c:v>
                </c:pt>
                <c:pt idx="2881">
                  <c:v>-0.35085165450953548</c:v>
                </c:pt>
                <c:pt idx="2882">
                  <c:v>-0.43149518332882963</c:v>
                </c:pt>
                <c:pt idx="2883">
                  <c:v>-0.31094102247690647</c:v>
                </c:pt>
                <c:pt idx="2884">
                  <c:v>-0.59543581842030124</c:v>
                </c:pt>
                <c:pt idx="2885">
                  <c:v>-0.91885668763046302</c:v>
                </c:pt>
                <c:pt idx="2886">
                  <c:v>-1.2970188750920961</c:v>
                </c:pt>
                <c:pt idx="2887">
                  <c:v>-1.6430991057468978</c:v>
                </c:pt>
                <c:pt idx="2888">
                  <c:v>-1.6294258273228195</c:v>
                </c:pt>
                <c:pt idx="2889">
                  <c:v>-1.6133743255912931</c:v>
                </c:pt>
                <c:pt idx="2890">
                  <c:v>-2.4405890598445641</c:v>
                </c:pt>
                <c:pt idx="2891">
                  <c:v>-2.8104763573420426</c:v>
                </c:pt>
                <c:pt idx="2892">
                  <c:v>-2.9608781522331982</c:v>
                </c:pt>
                <c:pt idx="2893">
                  <c:v>-2.878411500497895</c:v>
                </c:pt>
                <c:pt idx="2894">
                  <c:v>-2.8348233159418998</c:v>
                </c:pt>
                <c:pt idx="2895">
                  <c:v>-2.6778713366926818</c:v>
                </c:pt>
                <c:pt idx="2896">
                  <c:v>-2.7366523452618505</c:v>
                </c:pt>
                <c:pt idx="2897">
                  <c:v>-2.9216962775041457</c:v>
                </c:pt>
                <c:pt idx="2898">
                  <c:v>-2.9575392029193912</c:v>
                </c:pt>
                <c:pt idx="2899">
                  <c:v>-2.8541859721591973</c:v>
                </c:pt>
                <c:pt idx="2900">
                  <c:v>-2.6533912421220389</c:v>
                </c:pt>
                <c:pt idx="2901">
                  <c:v>-2.5670912088857882</c:v>
                </c:pt>
                <c:pt idx="2902">
                  <c:v>-2.6642056578247635</c:v>
                </c:pt>
                <c:pt idx="2903">
                  <c:v>-2.3319027561512375</c:v>
                </c:pt>
                <c:pt idx="2904">
                  <c:v>-2.4060102588432937</c:v>
                </c:pt>
                <c:pt idx="2905">
                  <c:v>-1.7318525987699669</c:v>
                </c:pt>
                <c:pt idx="2906">
                  <c:v>-1.3402430558612439</c:v>
                </c:pt>
                <c:pt idx="2907">
                  <c:v>-1.1388355747949332</c:v>
                </c:pt>
                <c:pt idx="2908">
                  <c:v>-1.0888542278955622</c:v>
                </c:pt>
                <c:pt idx="2909">
                  <c:v>-1.4048561832364643</c:v>
                </c:pt>
                <c:pt idx="2910">
                  <c:v>-2.2962369594340357</c:v>
                </c:pt>
                <c:pt idx="2911">
                  <c:v>-2.9568617739046243</c:v>
                </c:pt>
                <c:pt idx="2912">
                  <c:v>-2.86399877107685</c:v>
                </c:pt>
                <c:pt idx="2913">
                  <c:v>-2.8535212999927198</c:v>
                </c:pt>
                <c:pt idx="2914">
                  <c:v>-1.8985552027521262</c:v>
                </c:pt>
                <c:pt idx="2915">
                  <c:v>-1.3559783099355394</c:v>
                </c:pt>
                <c:pt idx="2916">
                  <c:v>-0.53509068895387124</c:v>
                </c:pt>
                <c:pt idx="2917">
                  <c:v>-0.33927247164603269</c:v>
                </c:pt>
                <c:pt idx="2918">
                  <c:v>-0.31267998839637356</c:v>
                </c:pt>
                <c:pt idx="2919">
                  <c:v>-0.31027984730071156</c:v>
                </c:pt>
                <c:pt idx="2920">
                  <c:v>-0.33994471498277512</c:v>
                </c:pt>
                <c:pt idx="2921">
                  <c:v>-0.32960279383091518</c:v>
                </c:pt>
                <c:pt idx="2922">
                  <c:v>-0.32439341413094547</c:v>
                </c:pt>
                <c:pt idx="2923">
                  <c:v>-0.30084973743962573</c:v>
                </c:pt>
                <c:pt idx="2924">
                  <c:v>-0.29991578396891549</c:v>
                </c:pt>
                <c:pt idx="2925">
                  <c:v>-0.2976103593652939</c:v>
                </c:pt>
                <c:pt idx="2926">
                  <c:v>-0.43422048120816281</c:v>
                </c:pt>
                <c:pt idx="2927">
                  <c:v>-0.91941781384115517</c:v>
                </c:pt>
                <c:pt idx="2928">
                  <c:v>-0.93426410041127295</c:v>
                </c:pt>
                <c:pt idx="2929">
                  <c:v>-1.3880838554413892</c:v>
                </c:pt>
                <c:pt idx="2930">
                  <c:v>-1.9822403645117879</c:v>
                </c:pt>
                <c:pt idx="2931">
                  <c:v>-2.372182418891585</c:v>
                </c:pt>
                <c:pt idx="2932">
                  <c:v>-2.6291639779659777</c:v>
                </c:pt>
                <c:pt idx="2933">
                  <c:v>-2.6376381046011383</c:v>
                </c:pt>
                <c:pt idx="2934">
                  <c:v>-2.637687981415378</c:v>
                </c:pt>
                <c:pt idx="2935">
                  <c:v>-2.4113985406702056</c:v>
                </c:pt>
                <c:pt idx="2936">
                  <c:v>-2.037557632043415</c:v>
                </c:pt>
                <c:pt idx="2937">
                  <c:v>-1.3216523084713152</c:v>
                </c:pt>
                <c:pt idx="2938">
                  <c:v>-1.228714873137128</c:v>
                </c:pt>
                <c:pt idx="2939">
                  <c:v>-1.230452887305767</c:v>
                </c:pt>
                <c:pt idx="2940">
                  <c:v>-1.3338106914356067</c:v>
                </c:pt>
                <c:pt idx="2941">
                  <c:v>-1.6873172121277924</c:v>
                </c:pt>
                <c:pt idx="2942">
                  <c:v>-1.6638318223960005</c:v>
                </c:pt>
                <c:pt idx="2943">
                  <c:v>-1.240118659543028</c:v>
                </c:pt>
                <c:pt idx="2944">
                  <c:v>-1.2100276684534135</c:v>
                </c:pt>
                <c:pt idx="2945">
                  <c:v>-1.1925299505883218</c:v>
                </c:pt>
                <c:pt idx="2946">
                  <c:v>-0.99706890975813423</c:v>
                </c:pt>
                <c:pt idx="2947">
                  <c:v>-0.34018307073468312</c:v>
                </c:pt>
                <c:pt idx="2948">
                  <c:v>-0.34026564956771277</c:v>
                </c:pt>
                <c:pt idx="2949">
                  <c:v>-0.29571340177423799</c:v>
                </c:pt>
                <c:pt idx="2950">
                  <c:v>-0.29781415882286155</c:v>
                </c:pt>
                <c:pt idx="2951">
                  <c:v>-0.47992421809233343</c:v>
                </c:pt>
                <c:pt idx="2952">
                  <c:v>-0.97582042584465456</c:v>
                </c:pt>
                <c:pt idx="2953">
                  <c:v>-1.1089308083568301</c:v>
                </c:pt>
                <c:pt idx="2954">
                  <c:v>-1.1539924080338162</c:v>
                </c:pt>
                <c:pt idx="2955">
                  <c:v>-1.1195949782157044</c:v>
                </c:pt>
                <c:pt idx="2956">
                  <c:v>-1.4283916745680916</c:v>
                </c:pt>
                <c:pt idx="2957">
                  <c:v>-1.5194437072713076</c:v>
                </c:pt>
                <c:pt idx="2958">
                  <c:v>-1.6979586479797681</c:v>
                </c:pt>
                <c:pt idx="2959">
                  <c:v>-2.2417249654613691</c:v>
                </c:pt>
                <c:pt idx="2960">
                  <c:v>-2.3671192681791933</c:v>
                </c:pt>
                <c:pt idx="2961">
                  <c:v>-2.298032590788794</c:v>
                </c:pt>
                <c:pt idx="2962">
                  <c:v>-1.8901947884000454</c:v>
                </c:pt>
                <c:pt idx="2963">
                  <c:v>-1.7953565849181292</c:v>
                </c:pt>
                <c:pt idx="2964">
                  <c:v>-2.0175760687274749</c:v>
                </c:pt>
                <c:pt idx="2965">
                  <c:v>-2.0530781140740388</c:v>
                </c:pt>
                <c:pt idx="2966">
                  <c:v>-2.0006420734934265</c:v>
                </c:pt>
                <c:pt idx="2967">
                  <c:v>-2.160427770152892</c:v>
                </c:pt>
                <c:pt idx="2968">
                  <c:v>-2.0088823130008859</c:v>
                </c:pt>
                <c:pt idx="2969">
                  <c:v>-2.4849566224623225</c:v>
                </c:pt>
                <c:pt idx="2970">
                  <c:v>-2.7029464279031106</c:v>
                </c:pt>
                <c:pt idx="2971">
                  <c:v>-2.887844534032022</c:v>
                </c:pt>
                <c:pt idx="2972">
                  <c:v>-2.9493946635324413</c:v>
                </c:pt>
                <c:pt idx="2973">
                  <c:v>-2.7341829748374011</c:v>
                </c:pt>
                <c:pt idx="2974">
                  <c:v>-2.7430551901080298</c:v>
                </c:pt>
                <c:pt idx="2975">
                  <c:v>-2.7073747183515251</c:v>
                </c:pt>
                <c:pt idx="2976">
                  <c:v>-2.4265664024440694</c:v>
                </c:pt>
                <c:pt idx="2977">
                  <c:v>-2.258166719539819</c:v>
                </c:pt>
                <c:pt idx="2978">
                  <c:v>-2.1921020958930106</c:v>
                </c:pt>
                <c:pt idx="2979">
                  <c:v>-1.6071002967483587</c:v>
                </c:pt>
                <c:pt idx="2980">
                  <c:v>-1.1916412222302988</c:v>
                </c:pt>
                <c:pt idx="2981">
                  <c:v>-0.9190343110486251</c:v>
                </c:pt>
                <c:pt idx="2982">
                  <c:v>-0.68348933031286474</c:v>
                </c:pt>
                <c:pt idx="2983">
                  <c:v>-0.48593213423648041</c:v>
                </c:pt>
                <c:pt idx="2984">
                  <c:v>-0.55403982646995242</c:v>
                </c:pt>
                <c:pt idx="2985">
                  <c:v>-0.30686028477767324</c:v>
                </c:pt>
                <c:pt idx="2986">
                  <c:v>-0.38553090544570146</c:v>
                </c:pt>
                <c:pt idx="2987">
                  <c:v>-0.46332785350697836</c:v>
                </c:pt>
                <c:pt idx="2988">
                  <c:v>-0.72805176101353586</c:v>
                </c:pt>
                <c:pt idx="2989">
                  <c:v>-0.70168046641802129</c:v>
                </c:pt>
                <c:pt idx="2990">
                  <c:v>-0.38406538738753293</c:v>
                </c:pt>
                <c:pt idx="2991">
                  <c:v>-0.32923692792557857</c:v>
                </c:pt>
                <c:pt idx="2992">
                  <c:v>-0.33442868280809512</c:v>
                </c:pt>
                <c:pt idx="2993">
                  <c:v>-0.39250500283688661</c:v>
                </c:pt>
                <c:pt idx="2994">
                  <c:v>-0.41937554095283003</c:v>
                </c:pt>
                <c:pt idx="2995">
                  <c:v>-0.43860202573354812</c:v>
                </c:pt>
                <c:pt idx="2996">
                  <c:v>-0.31423167846705646</c:v>
                </c:pt>
                <c:pt idx="2997">
                  <c:v>-0.41892115253279794</c:v>
                </c:pt>
                <c:pt idx="2998">
                  <c:v>-0.42364478624583779</c:v>
                </c:pt>
                <c:pt idx="2999">
                  <c:v>-1.0866011139287348</c:v>
                </c:pt>
                <c:pt idx="3000">
                  <c:v>-2.0569833389463641</c:v>
                </c:pt>
                <c:pt idx="3001">
                  <c:v>-2.0542396155071345</c:v>
                </c:pt>
                <c:pt idx="3002">
                  <c:v>-1.8965306146858376</c:v>
                </c:pt>
                <c:pt idx="3003">
                  <c:v>-2.2138980867941833</c:v>
                </c:pt>
                <c:pt idx="3004">
                  <c:v>-2.247119696795119</c:v>
                </c:pt>
                <c:pt idx="3005">
                  <c:v>-2.3133322803126886</c:v>
                </c:pt>
                <c:pt idx="3006">
                  <c:v>-2.4770819462490721</c:v>
                </c:pt>
                <c:pt idx="3007">
                  <c:v>-2.6943624238254218</c:v>
                </c:pt>
                <c:pt idx="3008">
                  <c:v>-2.9272763685175405</c:v>
                </c:pt>
                <c:pt idx="3009">
                  <c:v>-2.9847476431838817</c:v>
                </c:pt>
                <c:pt idx="3010">
                  <c:v>-2.838413017043278</c:v>
                </c:pt>
                <c:pt idx="3011">
                  <c:v>-2.6802670439478855</c:v>
                </c:pt>
                <c:pt idx="3012">
                  <c:v>-2.27414162959546</c:v>
                </c:pt>
                <c:pt idx="3013">
                  <c:v>-2.0650318607174891</c:v>
                </c:pt>
                <c:pt idx="3014">
                  <c:v>-1.9648253675347909</c:v>
                </c:pt>
                <c:pt idx="3015">
                  <c:v>-1.2416134018939013</c:v>
                </c:pt>
                <c:pt idx="3016">
                  <c:v>-0.7507195445533773</c:v>
                </c:pt>
                <c:pt idx="3017">
                  <c:v>-0.59154107619039265</c:v>
                </c:pt>
                <c:pt idx="3018">
                  <c:v>-0.31373673515267253</c:v>
                </c:pt>
                <c:pt idx="3019">
                  <c:v>-0.3039195967737599</c:v>
                </c:pt>
                <c:pt idx="3020">
                  <c:v>-0.30610698351782673</c:v>
                </c:pt>
                <c:pt idx="3021">
                  <c:v>-0.31210025193808599</c:v>
                </c:pt>
                <c:pt idx="3022">
                  <c:v>-0.34803559213586854</c:v>
                </c:pt>
                <c:pt idx="3023">
                  <c:v>-0.31548026482660552</c:v>
                </c:pt>
                <c:pt idx="3024">
                  <c:v>-0.31194074882013156</c:v>
                </c:pt>
                <c:pt idx="3025">
                  <c:v>-0.40612122251706873</c:v>
                </c:pt>
                <c:pt idx="3026">
                  <c:v>-0.57528652206350517</c:v>
                </c:pt>
                <c:pt idx="3027">
                  <c:v>-0.93731495705966383</c:v>
                </c:pt>
                <c:pt idx="3028">
                  <c:v>-1.1895077511927576</c:v>
                </c:pt>
                <c:pt idx="3029">
                  <c:v>-1.279991121110085</c:v>
                </c:pt>
                <c:pt idx="3030">
                  <c:v>-1.0380424375717003</c:v>
                </c:pt>
                <c:pt idx="3031">
                  <c:v>-0.38749315818539276</c:v>
                </c:pt>
                <c:pt idx="3032">
                  <c:v>-0.34870504576045713</c:v>
                </c:pt>
                <c:pt idx="3033">
                  <c:v>-0.34975357922012973</c:v>
                </c:pt>
                <c:pt idx="3034">
                  <c:v>-0.30219513980214152</c:v>
                </c:pt>
                <c:pt idx="3035">
                  <c:v>-0.32037255286193478</c:v>
                </c:pt>
                <c:pt idx="3036">
                  <c:v>-0.72876627686949791</c:v>
                </c:pt>
                <c:pt idx="3037">
                  <c:v>-0.86270280353669282</c:v>
                </c:pt>
                <c:pt idx="3038">
                  <c:v>-0.72052631519394283</c:v>
                </c:pt>
                <c:pt idx="3039">
                  <c:v>-0.44590278111787995</c:v>
                </c:pt>
                <c:pt idx="3040">
                  <c:v>-0.31538902945057279</c:v>
                </c:pt>
                <c:pt idx="3041">
                  <c:v>-0.43349086397397563</c:v>
                </c:pt>
                <c:pt idx="3042">
                  <c:v>-0.60059456632225594</c:v>
                </c:pt>
                <c:pt idx="3043">
                  <c:v>-1.0164179103793138</c:v>
                </c:pt>
                <c:pt idx="3044">
                  <c:v>-1.5307737965321471</c:v>
                </c:pt>
                <c:pt idx="3045">
                  <c:v>-1.7537884968202271</c:v>
                </c:pt>
                <c:pt idx="3046">
                  <c:v>-2.0355059557135577</c:v>
                </c:pt>
                <c:pt idx="3047">
                  <c:v>-1.922972844015939</c:v>
                </c:pt>
                <c:pt idx="3048">
                  <c:v>-0.95518754679893192</c:v>
                </c:pt>
                <c:pt idx="3049">
                  <c:v>-0.35907642134306517</c:v>
                </c:pt>
                <c:pt idx="3050">
                  <c:v>-0.30620607250764709</c:v>
                </c:pt>
                <c:pt idx="3051">
                  <c:v>-0.30772633900459101</c:v>
                </c:pt>
                <c:pt idx="3052">
                  <c:v>-0.32709664660944315</c:v>
                </c:pt>
                <c:pt idx="3053">
                  <c:v>-0.49922326506706616</c:v>
                </c:pt>
                <c:pt idx="3054">
                  <c:v>-0.59043303111709344</c:v>
                </c:pt>
                <c:pt idx="3055">
                  <c:v>-0.52467742419456831</c:v>
                </c:pt>
                <c:pt idx="3056">
                  <c:v>-0.5419211810095137</c:v>
                </c:pt>
                <c:pt idx="3057">
                  <c:v>-1.0965171805054985</c:v>
                </c:pt>
                <c:pt idx="3058">
                  <c:v>-1.4367930411707019</c:v>
                </c:pt>
                <c:pt idx="3059">
                  <c:v>-1.6956270043615542</c:v>
                </c:pt>
                <c:pt idx="3060">
                  <c:v>-1.7646840745709904</c:v>
                </c:pt>
                <c:pt idx="3061">
                  <c:v>-1.5765198634801019</c:v>
                </c:pt>
                <c:pt idx="3062">
                  <c:v>-1.4159802979764982</c:v>
                </c:pt>
                <c:pt idx="3063">
                  <c:v>-1.4494924078161637</c:v>
                </c:pt>
                <c:pt idx="3064">
                  <c:v>-1.4812848612145839</c:v>
                </c:pt>
                <c:pt idx="3065">
                  <c:v>-1.8988512642059825</c:v>
                </c:pt>
                <c:pt idx="3066">
                  <c:v>-2.0961742481991261</c:v>
                </c:pt>
                <c:pt idx="3067">
                  <c:v>-2.3196132337430861</c:v>
                </c:pt>
                <c:pt idx="3068">
                  <c:v>-2.3550129276436738</c:v>
                </c:pt>
                <c:pt idx="3069">
                  <c:v>-2.1721359730911072</c:v>
                </c:pt>
                <c:pt idx="3070">
                  <c:v>-1.8048122582301098</c:v>
                </c:pt>
                <c:pt idx="3071">
                  <c:v>-1.7985471222829592</c:v>
                </c:pt>
                <c:pt idx="3072">
                  <c:v>-1.397144566406346</c:v>
                </c:pt>
                <c:pt idx="3073">
                  <c:v>-1.1785908806048337</c:v>
                </c:pt>
                <c:pt idx="3074">
                  <c:v>-1.145293533183001</c:v>
                </c:pt>
                <c:pt idx="3075">
                  <c:v>-1.2825867642827</c:v>
                </c:pt>
                <c:pt idx="3076">
                  <c:v>-1.1630130292434395</c:v>
                </c:pt>
                <c:pt idx="3077">
                  <c:v>-1.3197602144421112</c:v>
                </c:pt>
                <c:pt idx="3078">
                  <c:v>-1.3147321359447428</c:v>
                </c:pt>
                <c:pt idx="3079">
                  <c:v>-1.0711037488813808</c:v>
                </c:pt>
                <c:pt idx="3080">
                  <c:v>-0.86069568689064846</c:v>
                </c:pt>
                <c:pt idx="3081">
                  <c:v>-0.73003918130597778</c:v>
                </c:pt>
                <c:pt idx="3082">
                  <c:v>-0.81022888200403376</c:v>
                </c:pt>
                <c:pt idx="3083">
                  <c:v>-1.0190317275546867</c:v>
                </c:pt>
                <c:pt idx="3084">
                  <c:v>-1.0351224454124881</c:v>
                </c:pt>
                <c:pt idx="3085">
                  <c:v>-0.72275073787280208</c:v>
                </c:pt>
                <c:pt idx="3086">
                  <c:v>-0.4532864070764494</c:v>
                </c:pt>
                <c:pt idx="3087">
                  <c:v>-0.4710325516645858</c:v>
                </c:pt>
                <c:pt idx="3088">
                  <c:v>-0.55836932881458112</c:v>
                </c:pt>
                <c:pt idx="3089">
                  <c:v>-0.73329652592239658</c:v>
                </c:pt>
                <c:pt idx="3090">
                  <c:v>-1.2754964441994285</c:v>
                </c:pt>
                <c:pt idx="3091">
                  <c:v>-1.6844678154572064</c:v>
                </c:pt>
                <c:pt idx="3092">
                  <c:v>-1.9916260218973183</c:v>
                </c:pt>
                <c:pt idx="3093">
                  <c:v>-2.364594973660727</c:v>
                </c:pt>
                <c:pt idx="3094">
                  <c:v>-2.2582605788928403</c:v>
                </c:pt>
                <c:pt idx="3095">
                  <c:v>-2.2636749274796468</c:v>
                </c:pt>
                <c:pt idx="3096">
                  <c:v>-2.6987666965974046</c:v>
                </c:pt>
                <c:pt idx="3097">
                  <c:v>-2.7428868368900439</c:v>
                </c:pt>
                <c:pt idx="3098">
                  <c:v>-2.6101835562753761</c:v>
                </c:pt>
                <c:pt idx="3099">
                  <c:v>-2.7910472220311981</c:v>
                </c:pt>
                <c:pt idx="3100">
                  <c:v>-2.7525553204004374</c:v>
                </c:pt>
                <c:pt idx="3101">
                  <c:v>-2.6676185660885299</c:v>
                </c:pt>
                <c:pt idx="3102">
                  <c:v>-2.531015003455289</c:v>
                </c:pt>
                <c:pt idx="3103">
                  <c:v>-2.9543894449422745</c:v>
                </c:pt>
                <c:pt idx="3104">
                  <c:v>-2.9403388321845276</c:v>
                </c:pt>
                <c:pt idx="3105">
                  <c:v>-2.8972327300000078</c:v>
                </c:pt>
                <c:pt idx="3106">
                  <c:v>-2.7059788402832292</c:v>
                </c:pt>
                <c:pt idx="3107">
                  <c:v>-2.6960204788625104</c:v>
                </c:pt>
                <c:pt idx="3108">
                  <c:v>-2.469217347985734</c:v>
                </c:pt>
                <c:pt idx="3109">
                  <c:v>-2.3035692358543796</c:v>
                </c:pt>
                <c:pt idx="3110">
                  <c:v>-2.2200739663722926</c:v>
                </c:pt>
                <c:pt idx="3111">
                  <c:v>-2.3651432983252878</c:v>
                </c:pt>
                <c:pt idx="3112">
                  <c:v>-1.6734238604096845</c:v>
                </c:pt>
                <c:pt idx="3113">
                  <c:v>-1.4622202765821011</c:v>
                </c:pt>
                <c:pt idx="3114">
                  <c:v>-1.3882273492199948</c:v>
                </c:pt>
                <c:pt idx="3115">
                  <c:v>-1.313745160982098</c:v>
                </c:pt>
                <c:pt idx="3116">
                  <c:v>-1.3273697672205469</c:v>
                </c:pt>
                <c:pt idx="3117">
                  <c:v>-1.7236701234445855</c:v>
                </c:pt>
                <c:pt idx="3118">
                  <c:v>-2.24996327525785</c:v>
                </c:pt>
                <c:pt idx="3119">
                  <c:v>-2.6729949820710166</c:v>
                </c:pt>
                <c:pt idx="3120">
                  <c:v>-2.9019664633908233</c:v>
                </c:pt>
                <c:pt idx="3121">
                  <c:v>-2.9380282866349594</c:v>
                </c:pt>
                <c:pt idx="3122">
                  <c:v>-2.9395275568600416</c:v>
                </c:pt>
                <c:pt idx="3123">
                  <c:v>-2.9275008057620004</c:v>
                </c:pt>
                <c:pt idx="3124">
                  <c:v>-2.8448011772004556</c:v>
                </c:pt>
                <c:pt idx="3125">
                  <c:v>-2.7995890561148564</c:v>
                </c:pt>
                <c:pt idx="3126">
                  <c:v>-2.6268594158534615</c:v>
                </c:pt>
                <c:pt idx="3127">
                  <c:v>-2.5445984658542371</c:v>
                </c:pt>
                <c:pt idx="3128">
                  <c:v>-1.9160979619073024</c:v>
                </c:pt>
                <c:pt idx="3129">
                  <c:v>-1.774152827089877</c:v>
                </c:pt>
                <c:pt idx="3130">
                  <c:v>-1.7717611444937136</c:v>
                </c:pt>
                <c:pt idx="3131">
                  <c:v>-1.4878893459591134</c:v>
                </c:pt>
                <c:pt idx="3132">
                  <c:v>-1.4766369388031555</c:v>
                </c:pt>
                <c:pt idx="3133">
                  <c:v>-1.1004705797114007</c:v>
                </c:pt>
                <c:pt idx="3134">
                  <c:v>-0.62135403259805388</c:v>
                </c:pt>
                <c:pt idx="3135">
                  <c:v>-0.31967766965580868</c:v>
                </c:pt>
                <c:pt idx="3136">
                  <c:v>-0.42763399124496371</c:v>
                </c:pt>
                <c:pt idx="3137">
                  <c:v>-0.52349121916549224</c:v>
                </c:pt>
                <c:pt idx="3138">
                  <c:v>-0.65478127011757448</c:v>
                </c:pt>
                <c:pt idx="3139">
                  <c:v>-0.68760594097310357</c:v>
                </c:pt>
                <c:pt idx="3140">
                  <c:v>-0.93641672395589093</c:v>
                </c:pt>
                <c:pt idx="3141">
                  <c:v>-0.99343960729697978</c:v>
                </c:pt>
                <c:pt idx="3142">
                  <c:v>-0.96416161105751719</c:v>
                </c:pt>
                <c:pt idx="3143">
                  <c:v>-0.74663159688093328</c:v>
                </c:pt>
                <c:pt idx="3144">
                  <c:v>-0.69519125776758595</c:v>
                </c:pt>
                <c:pt idx="3145">
                  <c:v>-0.79285061961948367</c:v>
                </c:pt>
                <c:pt idx="3146">
                  <c:v>-0.99326603732793661</c:v>
                </c:pt>
                <c:pt idx="3147">
                  <c:v>-1.3918277529869962</c:v>
                </c:pt>
                <c:pt idx="3148">
                  <c:v>-2.1838082072054767</c:v>
                </c:pt>
                <c:pt idx="3149">
                  <c:v>-2.5875995164616268</c:v>
                </c:pt>
                <c:pt idx="3150">
                  <c:v>-2.8394901639793217</c:v>
                </c:pt>
                <c:pt idx="3151">
                  <c:v>-2.9492429670781046</c:v>
                </c:pt>
                <c:pt idx="3152">
                  <c:v>-2.8909811474335472</c:v>
                </c:pt>
                <c:pt idx="3153">
                  <c:v>-2.8086656112008344</c:v>
                </c:pt>
                <c:pt idx="3154">
                  <c:v>-2.9431546262788961</c:v>
                </c:pt>
                <c:pt idx="3155">
                  <c:v>-2.9412577633460453</c:v>
                </c:pt>
                <c:pt idx="3156">
                  <c:v>-2.9803563747585411</c:v>
                </c:pt>
                <c:pt idx="3157">
                  <c:v>-2.9617275164418575</c:v>
                </c:pt>
                <c:pt idx="3158">
                  <c:v>-2.7452136868119248</c:v>
                </c:pt>
                <c:pt idx="3159">
                  <c:v>-2.7204698003456018</c:v>
                </c:pt>
                <c:pt idx="3160">
                  <c:v>-2.1215355679126042</c:v>
                </c:pt>
                <c:pt idx="3161">
                  <c:v>-1.6533936033151921</c:v>
                </c:pt>
                <c:pt idx="3162">
                  <c:v>-1.3779573779332972</c:v>
                </c:pt>
                <c:pt idx="3163">
                  <c:v>-0.897109284483803</c:v>
                </c:pt>
                <c:pt idx="3164">
                  <c:v>-1.1319533338938819</c:v>
                </c:pt>
                <c:pt idx="3165">
                  <c:v>-1.1281949524358748</c:v>
                </c:pt>
                <c:pt idx="3166">
                  <c:v>-1.0409255086667646</c:v>
                </c:pt>
                <c:pt idx="3167">
                  <c:v>-1.0386111153315292</c:v>
                </c:pt>
                <c:pt idx="3168">
                  <c:v>-0.4000465849858218</c:v>
                </c:pt>
                <c:pt idx="3169">
                  <c:v>-0.52300234123971112</c:v>
                </c:pt>
                <c:pt idx="3170">
                  <c:v>-0.50121828297051896</c:v>
                </c:pt>
                <c:pt idx="3171">
                  <c:v>-0.61218671228955002</c:v>
                </c:pt>
                <c:pt idx="3172">
                  <c:v>-1.4101919915062167</c:v>
                </c:pt>
                <c:pt idx="3173">
                  <c:v>-1.6481354281264642</c:v>
                </c:pt>
                <c:pt idx="3174">
                  <c:v>-2.5517723052965495</c:v>
                </c:pt>
                <c:pt idx="3175">
                  <c:v>-2.8989833965596716</c:v>
                </c:pt>
                <c:pt idx="3176">
                  <c:v>-2.9544425404859758</c:v>
                </c:pt>
                <c:pt idx="3177">
                  <c:v>-2.8944944016163081</c:v>
                </c:pt>
                <c:pt idx="3178">
                  <c:v>-2.7311766261657651</c:v>
                </c:pt>
                <c:pt idx="3179">
                  <c:v>-2.2385766385234773</c:v>
                </c:pt>
                <c:pt idx="3180">
                  <c:v>-1.6997949757687294</c:v>
                </c:pt>
                <c:pt idx="3181">
                  <c:v>-1.5844238073019852</c:v>
                </c:pt>
                <c:pt idx="3182">
                  <c:v>-1.7851644351752216</c:v>
                </c:pt>
                <c:pt idx="3183">
                  <c:v>-1.7122340771828921</c:v>
                </c:pt>
                <c:pt idx="3184">
                  <c:v>-1.5959510895680968</c:v>
                </c:pt>
                <c:pt idx="3185">
                  <c:v>-1.3879189753652199</c:v>
                </c:pt>
                <c:pt idx="3186">
                  <c:v>-1.0438185873024839</c:v>
                </c:pt>
                <c:pt idx="3187">
                  <c:v>-0.95829630496173301</c:v>
                </c:pt>
                <c:pt idx="3188">
                  <c:v>-1.0090525892532107</c:v>
                </c:pt>
                <c:pt idx="3189">
                  <c:v>-0.89437888966707979</c:v>
                </c:pt>
                <c:pt idx="3190">
                  <c:v>-0.41159559305526927</c:v>
                </c:pt>
                <c:pt idx="3191">
                  <c:v>-0.3172298267795759</c:v>
                </c:pt>
                <c:pt idx="3192">
                  <c:v>-0.37969377271734039</c:v>
                </c:pt>
                <c:pt idx="3193">
                  <c:v>-0.50299749405551086</c:v>
                </c:pt>
                <c:pt idx="3194">
                  <c:v>-0.61749987399527029</c:v>
                </c:pt>
                <c:pt idx="3195">
                  <c:v>-0.95334081912379653</c:v>
                </c:pt>
                <c:pt idx="3196">
                  <c:v>-1.1698264445983986</c:v>
                </c:pt>
                <c:pt idx="3197">
                  <c:v>-1.9694437142639942</c:v>
                </c:pt>
                <c:pt idx="3198">
                  <c:v>-2.1411825872040473</c:v>
                </c:pt>
                <c:pt idx="3199">
                  <c:v>-2.1146408683022666</c:v>
                </c:pt>
                <c:pt idx="3200">
                  <c:v>-2.2075575007325261</c:v>
                </c:pt>
                <c:pt idx="3201">
                  <c:v>-2.1548642602664994</c:v>
                </c:pt>
                <c:pt idx="3202">
                  <c:v>-2.3436432337143698</c:v>
                </c:pt>
                <c:pt idx="3203">
                  <c:v>-2.1944237865418321</c:v>
                </c:pt>
                <c:pt idx="3204">
                  <c:v>-2.3279903989933595</c:v>
                </c:pt>
                <c:pt idx="3205">
                  <c:v>-2.934141534248849</c:v>
                </c:pt>
                <c:pt idx="3206">
                  <c:v>-2.9367946844416957</c:v>
                </c:pt>
                <c:pt idx="3207">
                  <c:v>-2.9163822190264495</c:v>
                </c:pt>
                <c:pt idx="3208">
                  <c:v>-2.9450975927342942</c:v>
                </c:pt>
                <c:pt idx="3209">
                  <c:v>-2.952791409480096</c:v>
                </c:pt>
                <c:pt idx="3210">
                  <c:v>-2.9976676859632199</c:v>
                </c:pt>
                <c:pt idx="3211">
                  <c:v>-2.6726227895604615</c:v>
                </c:pt>
                <c:pt idx="3212">
                  <c:v>-2.6548851401097631</c:v>
                </c:pt>
                <c:pt idx="3213">
                  <c:v>-1.9112787198116337</c:v>
                </c:pt>
                <c:pt idx="3214">
                  <c:v>-1.3857117753836177</c:v>
                </c:pt>
                <c:pt idx="3215">
                  <c:v>-1.0325462763369773</c:v>
                </c:pt>
                <c:pt idx="3216">
                  <c:v>-0.33550213479902735</c:v>
                </c:pt>
                <c:pt idx="3217">
                  <c:v>-0.37799694846292764</c:v>
                </c:pt>
                <c:pt idx="3218">
                  <c:v>-0.69918730007223184</c:v>
                </c:pt>
                <c:pt idx="3219">
                  <c:v>-1.0862054497258522</c:v>
                </c:pt>
                <c:pt idx="3220">
                  <c:v>-1.4143628200240039</c:v>
                </c:pt>
                <c:pt idx="3221">
                  <c:v>-1.7115467711896732</c:v>
                </c:pt>
                <c:pt idx="3222">
                  <c:v>-2.0519086670940601</c:v>
                </c:pt>
                <c:pt idx="3223">
                  <c:v>-2.5501220300710692</c:v>
                </c:pt>
                <c:pt idx="3224">
                  <c:v>-2.7238749112186516</c:v>
                </c:pt>
                <c:pt idx="3225">
                  <c:v>-2.6679785823854107</c:v>
                </c:pt>
                <c:pt idx="3226">
                  <c:v>-2.6180858718620281</c:v>
                </c:pt>
                <c:pt idx="3227">
                  <c:v>-2.6433328723904674</c:v>
                </c:pt>
                <c:pt idx="3228">
                  <c:v>-2.4338215716464791</c:v>
                </c:pt>
                <c:pt idx="3229">
                  <c:v>-1.6614762689673206</c:v>
                </c:pt>
                <c:pt idx="3230">
                  <c:v>-1.5578874727283323</c:v>
                </c:pt>
                <c:pt idx="3231">
                  <c:v>-1.4642021488339627</c:v>
                </c:pt>
                <c:pt idx="3232">
                  <c:v>-0.85180723490167287</c:v>
                </c:pt>
                <c:pt idx="3233">
                  <c:v>-0.82492083020726648</c:v>
                </c:pt>
                <c:pt idx="3234">
                  <c:v>-0.79726759088577082</c:v>
                </c:pt>
                <c:pt idx="3235">
                  <c:v>-0.93144806873100527</c:v>
                </c:pt>
                <c:pt idx="3236">
                  <c:v>-0.7856522970114489</c:v>
                </c:pt>
                <c:pt idx="3237">
                  <c:v>-0.88997198030737079</c:v>
                </c:pt>
                <c:pt idx="3238">
                  <c:v>-1.9333365146102497</c:v>
                </c:pt>
                <c:pt idx="3239">
                  <c:v>-1.9408248221098678</c:v>
                </c:pt>
                <c:pt idx="3240">
                  <c:v>-2.2534958466998662</c:v>
                </c:pt>
                <c:pt idx="3241">
                  <c:v>-2.6323064872760424</c:v>
                </c:pt>
                <c:pt idx="3242">
                  <c:v>-2.7442277766305958</c:v>
                </c:pt>
                <c:pt idx="3243">
                  <c:v>-2.5557443067165049</c:v>
                </c:pt>
                <c:pt idx="3244">
                  <c:v>-2.4443707505123364</c:v>
                </c:pt>
                <c:pt idx="3245">
                  <c:v>-2.4477200519050393</c:v>
                </c:pt>
                <c:pt idx="3246">
                  <c:v>-2.8219558761381638</c:v>
                </c:pt>
                <c:pt idx="3247">
                  <c:v>-2.8230753004957574</c:v>
                </c:pt>
                <c:pt idx="3248">
                  <c:v>-2.913262501156562</c:v>
                </c:pt>
                <c:pt idx="3249">
                  <c:v>-2.9129725275027978</c:v>
                </c:pt>
                <c:pt idx="3250">
                  <c:v>-2.9173194734552137</c:v>
                </c:pt>
                <c:pt idx="3251">
                  <c:v>-2.8531243800133006</c:v>
                </c:pt>
                <c:pt idx="3252">
                  <c:v>-2.7924560053730105</c:v>
                </c:pt>
                <c:pt idx="3253">
                  <c:v>-2.4033043258839144</c:v>
                </c:pt>
                <c:pt idx="3254">
                  <c:v>-2.2078550170601718</c:v>
                </c:pt>
                <c:pt idx="3255">
                  <c:v>-2.0567291175162863</c:v>
                </c:pt>
                <c:pt idx="3256">
                  <c:v>-1.5170914898043644</c:v>
                </c:pt>
                <c:pt idx="3257">
                  <c:v>-0.62072918570975721</c:v>
                </c:pt>
                <c:pt idx="3258">
                  <c:v>-0.30075036451637904</c:v>
                </c:pt>
                <c:pt idx="3259">
                  <c:v>-0.29833440643526499</c:v>
                </c:pt>
                <c:pt idx="3260">
                  <c:v>-0.35006073576470831</c:v>
                </c:pt>
                <c:pt idx="3261">
                  <c:v>-0.30347737468565061</c:v>
                </c:pt>
                <c:pt idx="3262">
                  <c:v>-0.27770531190271586</c:v>
                </c:pt>
                <c:pt idx="3263">
                  <c:v>-0.28355463982962059</c:v>
                </c:pt>
                <c:pt idx="3264">
                  <c:v>-0.45789904238106016</c:v>
                </c:pt>
                <c:pt idx="3265">
                  <c:v>-0.68417574866345354</c:v>
                </c:pt>
                <c:pt idx="3266">
                  <c:v>-0.93094390594493104</c:v>
                </c:pt>
                <c:pt idx="3267">
                  <c:v>-1.3269997712559676</c:v>
                </c:pt>
                <c:pt idx="3268">
                  <c:v>-1.4212465314418359</c:v>
                </c:pt>
                <c:pt idx="3269">
                  <c:v>-1.3217107675856536</c:v>
                </c:pt>
                <c:pt idx="3270">
                  <c:v>-1.6021802622740369</c:v>
                </c:pt>
                <c:pt idx="3271">
                  <c:v>-2.1359085463459841</c:v>
                </c:pt>
                <c:pt idx="3272">
                  <c:v>-2.9642678763004979</c:v>
                </c:pt>
                <c:pt idx="3273">
                  <c:v>-2.9225679814297956</c:v>
                </c:pt>
                <c:pt idx="3274">
                  <c:v>-2.9063122038124605</c:v>
                </c:pt>
                <c:pt idx="3275">
                  <c:v>-2.2894024087392491</c:v>
                </c:pt>
                <c:pt idx="3276">
                  <c:v>-1.2892366297498459</c:v>
                </c:pt>
                <c:pt idx="3277">
                  <c:v>-0.48282593682325126</c:v>
                </c:pt>
                <c:pt idx="3278">
                  <c:v>-0.4786957923250863</c:v>
                </c:pt>
                <c:pt idx="3279">
                  <c:v>-0.36217436297717043</c:v>
                </c:pt>
                <c:pt idx="3280">
                  <c:v>-0.31178865222762775</c:v>
                </c:pt>
                <c:pt idx="3281">
                  <c:v>-0.32700704728430174</c:v>
                </c:pt>
                <c:pt idx="3282">
                  <c:v>-0.33308935145922647</c:v>
                </c:pt>
                <c:pt idx="3283">
                  <c:v>-0.62460201204332566</c:v>
                </c:pt>
                <c:pt idx="3284">
                  <c:v>-0.3417905807184265</c:v>
                </c:pt>
                <c:pt idx="3285">
                  <c:v>-0.32585500030913217</c:v>
                </c:pt>
                <c:pt idx="3286">
                  <c:v>-0.57887030757130276</c:v>
                </c:pt>
                <c:pt idx="3287">
                  <c:v>-0.69649625981521945</c:v>
                </c:pt>
                <c:pt idx="3288">
                  <c:v>-1.2778417358139107</c:v>
                </c:pt>
                <c:pt idx="3289">
                  <c:v>-1.4603902693386512</c:v>
                </c:pt>
                <c:pt idx="3290">
                  <c:v>-1.4856597918146626</c:v>
                </c:pt>
                <c:pt idx="3291">
                  <c:v>-1.3839321856392588</c:v>
                </c:pt>
                <c:pt idx="3292">
                  <c:v>-1.1619385280668242</c:v>
                </c:pt>
                <c:pt idx="3293">
                  <c:v>-0.31853658723285116</c:v>
                </c:pt>
                <c:pt idx="3294">
                  <c:v>-0.52147200026824791</c:v>
                </c:pt>
                <c:pt idx="3295">
                  <c:v>-0.65441050189224603</c:v>
                </c:pt>
                <c:pt idx="3296">
                  <c:v>-1.2055332419483173</c:v>
                </c:pt>
                <c:pt idx="3297">
                  <c:v>-1.4602498010918057</c:v>
                </c:pt>
                <c:pt idx="3298">
                  <c:v>-1.4621638858159396</c:v>
                </c:pt>
                <c:pt idx="3299">
                  <c:v>-1.5209207097957647</c:v>
                </c:pt>
                <c:pt idx="3300">
                  <c:v>-1.3321647062876949</c:v>
                </c:pt>
                <c:pt idx="3301">
                  <c:v>-1.089130232688085</c:v>
                </c:pt>
                <c:pt idx="3302">
                  <c:v>-1.0834065988725308</c:v>
                </c:pt>
                <c:pt idx="3303">
                  <c:v>-0.93621836421343929</c:v>
                </c:pt>
                <c:pt idx="3304">
                  <c:v>-1.1367680891624752</c:v>
                </c:pt>
                <c:pt idx="3305">
                  <c:v>-1.5862824490418495</c:v>
                </c:pt>
                <c:pt idx="3306">
                  <c:v>-1.9124653516718122</c:v>
                </c:pt>
                <c:pt idx="3307">
                  <c:v>-2.0597364337014925</c:v>
                </c:pt>
                <c:pt idx="3308">
                  <c:v>-2.7935944042328487</c:v>
                </c:pt>
                <c:pt idx="3309">
                  <c:v>-2.9662820472269749</c:v>
                </c:pt>
                <c:pt idx="3310">
                  <c:v>-2.632914510849842</c:v>
                </c:pt>
                <c:pt idx="3311">
                  <c:v>-2.121676030057503</c:v>
                </c:pt>
                <c:pt idx="3312">
                  <c:v>-1.257471147339206</c:v>
                </c:pt>
                <c:pt idx="3313">
                  <c:v>-0.96983297518256983</c:v>
                </c:pt>
                <c:pt idx="3314">
                  <c:v>-0.929920714133328</c:v>
                </c:pt>
                <c:pt idx="3315">
                  <c:v>-0.92522294443199815</c:v>
                </c:pt>
                <c:pt idx="3316">
                  <c:v>-0.65931188285800124</c:v>
                </c:pt>
                <c:pt idx="3317">
                  <c:v>-0.88393588785090016</c:v>
                </c:pt>
                <c:pt idx="3318">
                  <c:v>-1.3511561282485918</c:v>
                </c:pt>
                <c:pt idx="3319">
                  <c:v>-1.4369640801323056</c:v>
                </c:pt>
                <c:pt idx="3320">
                  <c:v>-1.7105581744926563</c:v>
                </c:pt>
                <c:pt idx="3321">
                  <c:v>-1.9681340267195373</c:v>
                </c:pt>
                <c:pt idx="3322">
                  <c:v>-1.8518749971929127</c:v>
                </c:pt>
                <c:pt idx="3323">
                  <c:v>-1.4904605307891312</c:v>
                </c:pt>
                <c:pt idx="3324">
                  <c:v>-1.398589574100721</c:v>
                </c:pt>
                <c:pt idx="3325">
                  <c:v>-1.4002479880747751</c:v>
                </c:pt>
                <c:pt idx="3326">
                  <c:v>-1.5143921929384392</c:v>
                </c:pt>
                <c:pt idx="3327">
                  <c:v>-1.465578074178786</c:v>
                </c:pt>
                <c:pt idx="3328">
                  <c:v>-1.5063303004422035</c:v>
                </c:pt>
                <c:pt idx="3329">
                  <c:v>-1.7039670305931471</c:v>
                </c:pt>
                <c:pt idx="3330">
                  <c:v>-2.01395503266047</c:v>
                </c:pt>
                <c:pt idx="3331">
                  <c:v>-2.1564303629532557</c:v>
                </c:pt>
                <c:pt idx="3332">
                  <c:v>-1.8449912770640808</c:v>
                </c:pt>
                <c:pt idx="3333">
                  <c:v>-1.8459605655475149</c:v>
                </c:pt>
                <c:pt idx="3334">
                  <c:v>-1.9223512466793804</c:v>
                </c:pt>
                <c:pt idx="3335">
                  <c:v>-1.9360049173882157</c:v>
                </c:pt>
                <c:pt idx="3336">
                  <c:v>-2.899175422743653</c:v>
                </c:pt>
                <c:pt idx="3337">
                  <c:v>-2.9675412766750058</c:v>
                </c:pt>
                <c:pt idx="3338">
                  <c:v>-2.9583378151409874</c:v>
                </c:pt>
                <c:pt idx="3339">
                  <c:v>-2.9373859429941982</c:v>
                </c:pt>
                <c:pt idx="3340">
                  <c:v>-2.7913089582727446</c:v>
                </c:pt>
                <c:pt idx="3341">
                  <c:v>-1.3217626847133053</c:v>
                </c:pt>
                <c:pt idx="3342">
                  <c:v>-1.02010916534789</c:v>
                </c:pt>
                <c:pt idx="3343">
                  <c:v>-0.87898605487588688</c:v>
                </c:pt>
                <c:pt idx="3344">
                  <c:v>-0.61305999055660909</c:v>
                </c:pt>
                <c:pt idx="3345">
                  <c:v>-0.36020680104354996</c:v>
                </c:pt>
                <c:pt idx="3346">
                  <c:v>-0.31362962297703489</c:v>
                </c:pt>
                <c:pt idx="3347">
                  <c:v>-0.38061888400499166</c:v>
                </c:pt>
                <c:pt idx="3348">
                  <c:v>-0.59243842120820689</c:v>
                </c:pt>
                <c:pt idx="3349">
                  <c:v>-0.63477123086346177</c:v>
                </c:pt>
                <c:pt idx="3350">
                  <c:v>-0.66409659416968825</c:v>
                </c:pt>
                <c:pt idx="3351">
                  <c:v>-0.50010092359163172</c:v>
                </c:pt>
                <c:pt idx="3352">
                  <c:v>-0.33235737009219501</c:v>
                </c:pt>
                <c:pt idx="3353">
                  <c:v>-0.3219511414643611</c:v>
                </c:pt>
                <c:pt idx="3354">
                  <c:v>-0.30316646557907279</c:v>
                </c:pt>
                <c:pt idx="3355">
                  <c:v>-0.30188552488716025</c:v>
                </c:pt>
                <c:pt idx="3356">
                  <c:v>-0.47489096089254823</c:v>
                </c:pt>
                <c:pt idx="3357">
                  <c:v>-1.3303874078091238</c:v>
                </c:pt>
                <c:pt idx="3358">
                  <c:v>-1.5954413853264733</c:v>
                </c:pt>
                <c:pt idx="3359">
                  <c:v>-1.9674699248546141</c:v>
                </c:pt>
                <c:pt idx="3360">
                  <c:v>-2.1621160637608487</c:v>
                </c:pt>
                <c:pt idx="3361">
                  <c:v>-2.4827398847986246</c:v>
                </c:pt>
                <c:pt idx="3362">
                  <c:v>-2.8877342242734683</c:v>
                </c:pt>
                <c:pt idx="3363">
                  <c:v>-2.9537446333381165</c:v>
                </c:pt>
                <c:pt idx="3364">
                  <c:v>-2.8301594663039054</c:v>
                </c:pt>
                <c:pt idx="3365">
                  <c:v>-2.8137840013171806</c:v>
                </c:pt>
                <c:pt idx="3366">
                  <c:v>-2.770967638487015</c:v>
                </c:pt>
                <c:pt idx="3367">
                  <c:v>-2.6136474049321166</c:v>
                </c:pt>
                <c:pt idx="3368">
                  <c:v>-2.3594217966207749</c:v>
                </c:pt>
                <c:pt idx="3369">
                  <c:v>-2.2305111041754415</c:v>
                </c:pt>
                <c:pt idx="3370">
                  <c:v>-1.3877447653257859</c:v>
                </c:pt>
                <c:pt idx="3371">
                  <c:v>-0.79335446600056592</c:v>
                </c:pt>
                <c:pt idx="3372">
                  <c:v>-0.74646705749557496</c:v>
                </c:pt>
                <c:pt idx="3373">
                  <c:v>-0.34474133016602182</c:v>
                </c:pt>
                <c:pt idx="3374">
                  <c:v>-0.30141133616059379</c:v>
                </c:pt>
                <c:pt idx="3375">
                  <c:v>-0.32283715473356078</c:v>
                </c:pt>
                <c:pt idx="3376">
                  <c:v>-0.34305202361476317</c:v>
                </c:pt>
                <c:pt idx="3377">
                  <c:v>-0.89156174494070584</c:v>
                </c:pt>
                <c:pt idx="3378">
                  <c:v>-1.104803719832707</c:v>
                </c:pt>
                <c:pt idx="3379">
                  <c:v>-0.98466948930372222</c:v>
                </c:pt>
                <c:pt idx="3380">
                  <c:v>-1.132395556625247</c:v>
                </c:pt>
                <c:pt idx="3381">
                  <c:v>-1.2553973804841174</c:v>
                </c:pt>
                <c:pt idx="3382">
                  <c:v>-1.5742075807781459</c:v>
                </c:pt>
                <c:pt idx="3383">
                  <c:v>-2.0082425111373388</c:v>
                </c:pt>
                <c:pt idx="3384">
                  <c:v>-2.2576805844974634</c:v>
                </c:pt>
                <c:pt idx="3385">
                  <c:v>-2.4570609704486723</c:v>
                </c:pt>
                <c:pt idx="3386">
                  <c:v>-2.6485982297135968</c:v>
                </c:pt>
                <c:pt idx="3387">
                  <c:v>-2.9476656642728329</c:v>
                </c:pt>
                <c:pt idx="3388">
                  <c:v>-2.9472991549290688</c:v>
                </c:pt>
                <c:pt idx="3389">
                  <c:v>-2.9572638823952277</c:v>
                </c:pt>
                <c:pt idx="3390">
                  <c:v>-2.9714425443054595</c:v>
                </c:pt>
                <c:pt idx="3391">
                  <c:v>-2.6505653558593432</c:v>
                </c:pt>
                <c:pt idx="3392">
                  <c:v>-2.1064288459929865</c:v>
                </c:pt>
                <c:pt idx="3393">
                  <c:v>-1.6109394275544455</c:v>
                </c:pt>
                <c:pt idx="3394">
                  <c:v>-1.2728530641680573</c:v>
                </c:pt>
                <c:pt idx="3395">
                  <c:v>-0.39302659445219212</c:v>
                </c:pt>
                <c:pt idx="3396">
                  <c:v>-0.31994945577257283</c:v>
                </c:pt>
                <c:pt idx="3397">
                  <c:v>-0.43534367672246443</c:v>
                </c:pt>
                <c:pt idx="3398">
                  <c:v>-0.54547818416925842</c:v>
                </c:pt>
                <c:pt idx="3399">
                  <c:v>-0.55696264836160714</c:v>
                </c:pt>
                <c:pt idx="3400">
                  <c:v>-1.2550065085301889</c:v>
                </c:pt>
                <c:pt idx="3401">
                  <c:v>-2.0892731535669715</c:v>
                </c:pt>
                <c:pt idx="3402">
                  <c:v>-2.0967029513509101</c:v>
                </c:pt>
                <c:pt idx="3403">
                  <c:v>-2.730884392776594</c:v>
                </c:pt>
                <c:pt idx="3404">
                  <c:v>-2.946440123185615</c:v>
                </c:pt>
                <c:pt idx="3405">
                  <c:v>-2.9391399882795497</c:v>
                </c:pt>
                <c:pt idx="3406">
                  <c:v>-2.797233030280962</c:v>
                </c:pt>
                <c:pt idx="3407">
                  <c:v>-2.2946308408599392</c:v>
                </c:pt>
                <c:pt idx="3408">
                  <c:v>-2.1876194227957653</c:v>
                </c:pt>
                <c:pt idx="3409">
                  <c:v>-2.1651680571107366</c:v>
                </c:pt>
                <c:pt idx="3410">
                  <c:v>-1.6164197361589738</c:v>
                </c:pt>
                <c:pt idx="3411">
                  <c:v>-1.4975052262514899</c:v>
                </c:pt>
                <c:pt idx="3412">
                  <c:v>-1.8445337452370683</c:v>
                </c:pt>
                <c:pt idx="3413">
                  <c:v>-1.8655085812287679</c:v>
                </c:pt>
                <c:pt idx="3414">
                  <c:v>-1.8167040881397112</c:v>
                </c:pt>
                <c:pt idx="3415">
                  <c:v>-1.7721882852903956</c:v>
                </c:pt>
                <c:pt idx="3416">
                  <c:v>-1.6282955199864573</c:v>
                </c:pt>
                <c:pt idx="3417">
                  <c:v>-1.6649044164505911</c:v>
                </c:pt>
                <c:pt idx="3418">
                  <c:v>-1.6993265539075448</c:v>
                </c:pt>
                <c:pt idx="3419">
                  <c:v>-1.6323636805189525</c:v>
                </c:pt>
                <c:pt idx="3420">
                  <c:v>-1.7551379850999251</c:v>
                </c:pt>
                <c:pt idx="3421">
                  <c:v>-1.9661372732789171</c:v>
                </c:pt>
                <c:pt idx="3422">
                  <c:v>-2.1081378111740556</c:v>
                </c:pt>
                <c:pt idx="3423">
                  <c:v>-1.8081471932139039</c:v>
                </c:pt>
                <c:pt idx="3424">
                  <c:v>-1.8063128398304436</c:v>
                </c:pt>
                <c:pt idx="3425">
                  <c:v>-1.7313352174269432</c:v>
                </c:pt>
                <c:pt idx="3426">
                  <c:v>-1.5766519352704833</c:v>
                </c:pt>
                <c:pt idx="3427">
                  <c:v>-1.4132984660851868</c:v>
                </c:pt>
                <c:pt idx="3428">
                  <c:v>-1.5536351002387487</c:v>
                </c:pt>
                <c:pt idx="3429">
                  <c:v>-1.9783116564091785</c:v>
                </c:pt>
                <c:pt idx="3430">
                  <c:v>-2.2874997447862953</c:v>
                </c:pt>
                <c:pt idx="3431">
                  <c:v>-2.4796731157732914</c:v>
                </c:pt>
                <c:pt idx="3432">
                  <c:v>-2.3932998549716449</c:v>
                </c:pt>
                <c:pt idx="3433">
                  <c:v>-2.5206228518482887</c:v>
                </c:pt>
                <c:pt idx="3434">
                  <c:v>-2.6189828358010825</c:v>
                </c:pt>
                <c:pt idx="3435">
                  <c:v>-2.5931986855917759</c:v>
                </c:pt>
                <c:pt idx="3436">
                  <c:v>-2.1944858744107543</c:v>
                </c:pt>
                <c:pt idx="3437">
                  <c:v>-2.0896256311106152</c:v>
                </c:pt>
                <c:pt idx="3438">
                  <c:v>-2.2022590838343619</c:v>
                </c:pt>
                <c:pt idx="3439">
                  <c:v>-1.7682135654022189</c:v>
                </c:pt>
                <c:pt idx="3440">
                  <c:v>-1.5869926869921247</c:v>
                </c:pt>
                <c:pt idx="3441">
                  <c:v>-1.1882325144907235</c:v>
                </c:pt>
                <c:pt idx="3442">
                  <c:v>-1.1784000790951055</c:v>
                </c:pt>
                <c:pt idx="3443">
                  <c:v>-0.71162726612896232</c:v>
                </c:pt>
                <c:pt idx="3444">
                  <c:v>-0.31292455631774485</c:v>
                </c:pt>
                <c:pt idx="3445">
                  <c:v>-0.49370876272997433</c:v>
                </c:pt>
                <c:pt idx="3446">
                  <c:v>-1.0792414781908735</c:v>
                </c:pt>
                <c:pt idx="3447">
                  <c:v>-1.1875739364438698</c:v>
                </c:pt>
                <c:pt idx="3448">
                  <c:v>-1.3750315037198571</c:v>
                </c:pt>
                <c:pt idx="3449">
                  <c:v>-1.6799015251253064</c:v>
                </c:pt>
                <c:pt idx="3450">
                  <c:v>-1.9689205042837763</c:v>
                </c:pt>
                <c:pt idx="3451">
                  <c:v>-2.3502427947672113</c:v>
                </c:pt>
                <c:pt idx="3452">
                  <c:v>-2.3990435551205684</c:v>
                </c:pt>
                <c:pt idx="3453">
                  <c:v>-2.2017816832462307</c:v>
                </c:pt>
                <c:pt idx="3454">
                  <c:v>-2.0860835838682199</c:v>
                </c:pt>
                <c:pt idx="3455">
                  <c:v>-2.225265925894222</c:v>
                </c:pt>
                <c:pt idx="3456">
                  <c:v>-2.1951080824522275</c:v>
                </c:pt>
                <c:pt idx="3457">
                  <c:v>-2.1043308482745227</c:v>
                </c:pt>
                <c:pt idx="3458">
                  <c:v>-1.7600325264995884</c:v>
                </c:pt>
                <c:pt idx="3459">
                  <c:v>-1.8051819672386495</c:v>
                </c:pt>
                <c:pt idx="3460">
                  <c:v>-1.6546932253313877</c:v>
                </c:pt>
                <c:pt idx="3461">
                  <c:v>-1.9416085510240535</c:v>
                </c:pt>
                <c:pt idx="3462">
                  <c:v>-2.0686634822896228</c:v>
                </c:pt>
                <c:pt idx="3463">
                  <c:v>-2.2861629342992962</c:v>
                </c:pt>
                <c:pt idx="3464">
                  <c:v>-2.3800044528466002</c:v>
                </c:pt>
                <c:pt idx="3465">
                  <c:v>-1.9057072991923838</c:v>
                </c:pt>
                <c:pt idx="3466">
                  <c:v>-1.7380359684660827</c:v>
                </c:pt>
                <c:pt idx="3467">
                  <c:v>-1.8010446061497425</c:v>
                </c:pt>
                <c:pt idx="3468">
                  <c:v>-2.3899770354645522</c:v>
                </c:pt>
                <c:pt idx="3469">
                  <c:v>-2.3939331891134907</c:v>
                </c:pt>
                <c:pt idx="3470">
                  <c:v>-2.4896484921382367</c:v>
                </c:pt>
                <c:pt idx="3471">
                  <c:v>-2.353950567904092</c:v>
                </c:pt>
                <c:pt idx="3472">
                  <c:v>-2.3531356794546339</c:v>
                </c:pt>
                <c:pt idx="3473">
                  <c:v>-2.223004678120823</c:v>
                </c:pt>
                <c:pt idx="3474">
                  <c:v>-2.1338757301754963</c:v>
                </c:pt>
                <c:pt idx="3475">
                  <c:v>-2.1277378538177745</c:v>
                </c:pt>
                <c:pt idx="3476">
                  <c:v>-1.9800434581262918</c:v>
                </c:pt>
                <c:pt idx="3477">
                  <c:v>-1.481885732828448</c:v>
                </c:pt>
                <c:pt idx="3478">
                  <c:v>-0.77423041105153656</c:v>
                </c:pt>
                <c:pt idx="3479">
                  <c:v>-0.52637837459127568</c:v>
                </c:pt>
                <c:pt idx="3480">
                  <c:v>-0.3148177620572199</c:v>
                </c:pt>
                <c:pt idx="3481">
                  <c:v>-0.31185263977404343</c:v>
                </c:pt>
                <c:pt idx="3482">
                  <c:v>-0.28448678283449402</c:v>
                </c:pt>
                <c:pt idx="3483">
                  <c:v>-0.90040874391981884</c:v>
                </c:pt>
                <c:pt idx="3484">
                  <c:v>-0.92496258239778084</c:v>
                </c:pt>
                <c:pt idx="3485">
                  <c:v>-1.6940558236777126</c:v>
                </c:pt>
                <c:pt idx="3486">
                  <c:v>-2.2317969046135122</c:v>
                </c:pt>
                <c:pt idx="3487">
                  <c:v>-2.6178493068081208</c:v>
                </c:pt>
                <c:pt idx="3488">
                  <c:v>-2.6218280358575279</c:v>
                </c:pt>
                <c:pt idx="3489">
                  <c:v>-2.8702009486822044</c:v>
                </c:pt>
                <c:pt idx="3490">
                  <c:v>-2.8729952904463918</c:v>
                </c:pt>
                <c:pt idx="3491">
                  <c:v>-2.9498241148205873</c:v>
                </c:pt>
                <c:pt idx="3492">
                  <c:v>-2.7486099042729553</c:v>
                </c:pt>
                <c:pt idx="3493">
                  <c:v>-2.4400894855181896</c:v>
                </c:pt>
                <c:pt idx="3494">
                  <c:v>-2.2746592174844609</c:v>
                </c:pt>
                <c:pt idx="3495">
                  <c:v>-2.5700405441996348</c:v>
                </c:pt>
                <c:pt idx="3496">
                  <c:v>-2.9556377952515849</c:v>
                </c:pt>
                <c:pt idx="3497">
                  <c:v>-2.95868452146685</c:v>
                </c:pt>
                <c:pt idx="3498">
                  <c:v>-2.9276486186004838</c:v>
                </c:pt>
                <c:pt idx="3499">
                  <c:v>-2.939832923412693</c:v>
                </c:pt>
                <c:pt idx="3500">
                  <c:v>-2.9234138270905579</c:v>
                </c:pt>
                <c:pt idx="3501">
                  <c:v>-2.8911754491481698</c:v>
                </c:pt>
                <c:pt idx="3502">
                  <c:v>-2.9497004174062775</c:v>
                </c:pt>
                <c:pt idx="3503">
                  <c:v>-2.9329223316723798</c:v>
                </c:pt>
                <c:pt idx="3504">
                  <c:v>-2.934403590088873</c:v>
                </c:pt>
                <c:pt idx="3505">
                  <c:v>-2.9319682281652724</c:v>
                </c:pt>
                <c:pt idx="3506">
                  <c:v>-2.93231071330653</c:v>
                </c:pt>
                <c:pt idx="3507">
                  <c:v>-2.0443144408629252</c:v>
                </c:pt>
                <c:pt idx="3508">
                  <c:v>-1.9258754853163542</c:v>
                </c:pt>
                <c:pt idx="3509">
                  <c:v>-2.0016917311658124</c:v>
                </c:pt>
                <c:pt idx="3510">
                  <c:v>-2.338595159661732</c:v>
                </c:pt>
                <c:pt idx="3511">
                  <c:v>-2.3662806587814842</c:v>
                </c:pt>
                <c:pt idx="3512">
                  <c:v>-2.2004953417864561</c:v>
                </c:pt>
                <c:pt idx="3513">
                  <c:v>-1.767634895940428</c:v>
                </c:pt>
                <c:pt idx="3514">
                  <c:v>-1.6797423300224035</c:v>
                </c:pt>
                <c:pt idx="3515">
                  <c:v>-1.3340967801782162</c:v>
                </c:pt>
                <c:pt idx="3516">
                  <c:v>-0.91860770495282973</c:v>
                </c:pt>
                <c:pt idx="3517">
                  <c:v>-0.79163407166407362</c:v>
                </c:pt>
                <c:pt idx="3518">
                  <c:v>-0.94453370219386013</c:v>
                </c:pt>
                <c:pt idx="3519">
                  <c:v>-0.66000778664654824</c:v>
                </c:pt>
                <c:pt idx="3520">
                  <c:v>-0.67626902751488716</c:v>
                </c:pt>
                <c:pt idx="3521">
                  <c:v>-0.89857771146829746</c:v>
                </c:pt>
                <c:pt idx="3522">
                  <c:v>-0.72189132418840463</c:v>
                </c:pt>
                <c:pt idx="3523">
                  <c:v>-0.76396919769572413</c:v>
                </c:pt>
                <c:pt idx="3524">
                  <c:v>-0.59017801683447457</c:v>
                </c:pt>
                <c:pt idx="3525">
                  <c:v>-0.47529513365964149</c:v>
                </c:pt>
                <c:pt idx="3526">
                  <c:v>-0.67775665762581661</c:v>
                </c:pt>
                <c:pt idx="3527">
                  <c:v>-0.5025338896785877</c:v>
                </c:pt>
                <c:pt idx="3528">
                  <c:v>-0.33262172599151618</c:v>
                </c:pt>
                <c:pt idx="3529">
                  <c:v>-0.30013095864793371</c:v>
                </c:pt>
                <c:pt idx="3530">
                  <c:v>-0.33638356402616865</c:v>
                </c:pt>
                <c:pt idx="3531">
                  <c:v>-0.32495646574642545</c:v>
                </c:pt>
                <c:pt idx="3532">
                  <c:v>-0.3656503259399041</c:v>
                </c:pt>
                <c:pt idx="3533">
                  <c:v>-0.39169454486899358</c:v>
                </c:pt>
                <c:pt idx="3534">
                  <c:v>-0.43773423527995747</c:v>
                </c:pt>
                <c:pt idx="3535">
                  <c:v>-0.66132945024182499</c:v>
                </c:pt>
                <c:pt idx="3536">
                  <c:v>-1.0768522061924417</c:v>
                </c:pt>
                <c:pt idx="3537">
                  <c:v>-1.545889809275599</c:v>
                </c:pt>
                <c:pt idx="3538">
                  <c:v>-1.5997165239794422</c:v>
                </c:pt>
                <c:pt idx="3539">
                  <c:v>-1.4209123354404509</c:v>
                </c:pt>
                <c:pt idx="3540">
                  <c:v>-1.3284109879637023</c:v>
                </c:pt>
                <c:pt idx="3541">
                  <c:v>-1.203463322946849</c:v>
                </c:pt>
                <c:pt idx="3542">
                  <c:v>-0.94858153349240781</c:v>
                </c:pt>
                <c:pt idx="3543">
                  <c:v>-0.3435301054118548</c:v>
                </c:pt>
                <c:pt idx="3544">
                  <c:v>-0.31851610800501873</c:v>
                </c:pt>
                <c:pt idx="3545">
                  <c:v>-0.30818703934407377</c:v>
                </c:pt>
                <c:pt idx="3546">
                  <c:v>-0.3422750641244503</c:v>
                </c:pt>
                <c:pt idx="3547">
                  <c:v>-0.30932198088587626</c:v>
                </c:pt>
                <c:pt idx="3548">
                  <c:v>-0.30948886583980051</c:v>
                </c:pt>
                <c:pt idx="3549">
                  <c:v>-0.57031399440427577</c:v>
                </c:pt>
                <c:pt idx="3550">
                  <c:v>-0.89267865106064803</c:v>
                </c:pt>
                <c:pt idx="3551">
                  <c:v>-1.1030905705317944</c:v>
                </c:pt>
                <c:pt idx="3552">
                  <c:v>-1.1780318127083604</c:v>
                </c:pt>
                <c:pt idx="3553">
                  <c:v>-1.1015210177094927</c:v>
                </c:pt>
                <c:pt idx="3554">
                  <c:v>-1.2593278088038353</c:v>
                </c:pt>
                <c:pt idx="3555">
                  <c:v>-1.1837918169680304</c:v>
                </c:pt>
                <c:pt idx="3556">
                  <c:v>-1.0439103678976378</c:v>
                </c:pt>
                <c:pt idx="3557">
                  <c:v>-1.135430294020686</c:v>
                </c:pt>
                <c:pt idx="3558">
                  <c:v>-1.0074312927828466</c:v>
                </c:pt>
                <c:pt idx="3559">
                  <c:v>-0.64297991533651233</c:v>
                </c:pt>
                <c:pt idx="3560">
                  <c:v>-0.53475360580192965</c:v>
                </c:pt>
                <c:pt idx="3561">
                  <c:v>-0.6228700595679556</c:v>
                </c:pt>
                <c:pt idx="3562">
                  <c:v>-0.46747371541883165</c:v>
                </c:pt>
                <c:pt idx="3563">
                  <c:v>-0.30999196929991812</c:v>
                </c:pt>
                <c:pt idx="3564">
                  <c:v>-0.3100285769203438</c:v>
                </c:pt>
                <c:pt idx="3565">
                  <c:v>-0.31029014640719221</c:v>
                </c:pt>
                <c:pt idx="3566">
                  <c:v>-0.31019005567106483</c:v>
                </c:pt>
                <c:pt idx="3567">
                  <c:v>-0.3439849178051626</c:v>
                </c:pt>
                <c:pt idx="3568">
                  <c:v>-0.40494821495231237</c:v>
                </c:pt>
                <c:pt idx="3569">
                  <c:v>-0.84763868287085842</c:v>
                </c:pt>
                <c:pt idx="3570">
                  <c:v>-1.1010145709749839</c:v>
                </c:pt>
                <c:pt idx="3571">
                  <c:v>-1.064100501343175</c:v>
                </c:pt>
                <c:pt idx="3572">
                  <c:v>-1.589654485009939</c:v>
                </c:pt>
                <c:pt idx="3573">
                  <c:v>-1.5961748583572755</c:v>
                </c:pt>
                <c:pt idx="3574">
                  <c:v>-2.0030099968974957</c:v>
                </c:pt>
                <c:pt idx="3575">
                  <c:v>-2.0119605536065284</c:v>
                </c:pt>
                <c:pt idx="3576">
                  <c:v>-2.598906015419697</c:v>
                </c:pt>
                <c:pt idx="3577">
                  <c:v>-2.9476100759668622</c:v>
                </c:pt>
                <c:pt idx="3578">
                  <c:v>-2.9471493905579944</c:v>
                </c:pt>
                <c:pt idx="3579">
                  <c:v>-2.6658967339866155</c:v>
                </c:pt>
                <c:pt idx="3580">
                  <c:v>-2.3063269967912929</c:v>
                </c:pt>
                <c:pt idx="3581">
                  <c:v>-2.0553490384370283</c:v>
                </c:pt>
                <c:pt idx="3582">
                  <c:v>-1.585079935388862</c:v>
                </c:pt>
                <c:pt idx="3583">
                  <c:v>-1.5130106342034098</c:v>
                </c:pt>
                <c:pt idx="3584">
                  <c:v>-0.88171167740593948</c:v>
                </c:pt>
                <c:pt idx="3585">
                  <c:v>-0.39454365400383273</c:v>
                </c:pt>
                <c:pt idx="3586">
                  <c:v>-0.39192723697545295</c:v>
                </c:pt>
                <c:pt idx="3587">
                  <c:v>-0.312870842758179</c:v>
                </c:pt>
                <c:pt idx="3588">
                  <c:v>-0.31513548145766535</c:v>
                </c:pt>
                <c:pt idx="3589">
                  <c:v>-0.33143346034753229</c:v>
                </c:pt>
                <c:pt idx="3590">
                  <c:v>-0.36566183574897915</c:v>
                </c:pt>
                <c:pt idx="3591">
                  <c:v>-0.30690043371792874</c:v>
                </c:pt>
                <c:pt idx="3592">
                  <c:v>-0.30709151262683743</c:v>
                </c:pt>
                <c:pt idx="3593">
                  <c:v>-0.47240818102317783</c:v>
                </c:pt>
                <c:pt idx="3594">
                  <c:v>-0.53414771999171806</c:v>
                </c:pt>
                <c:pt idx="3595">
                  <c:v>-0.66188812785258422</c:v>
                </c:pt>
                <c:pt idx="3596">
                  <c:v>-1.0727132782673185</c:v>
                </c:pt>
                <c:pt idx="3597">
                  <c:v>-1.0721586717608</c:v>
                </c:pt>
                <c:pt idx="3598">
                  <c:v>-1.0105231168667324</c:v>
                </c:pt>
                <c:pt idx="3599">
                  <c:v>-0.68363744322231512</c:v>
                </c:pt>
                <c:pt idx="3600">
                  <c:v>-0.67831369709460276</c:v>
                </c:pt>
                <c:pt idx="3601">
                  <c:v>-0.32192035999668867</c:v>
                </c:pt>
                <c:pt idx="3602">
                  <c:v>-0.35015891302941249</c:v>
                </c:pt>
                <c:pt idx="3603">
                  <c:v>-0.39684803220123277</c:v>
                </c:pt>
                <c:pt idx="3604">
                  <c:v>-0.41376180139091823</c:v>
                </c:pt>
                <c:pt idx="3605">
                  <c:v>-0.322571850338494</c:v>
                </c:pt>
                <c:pt idx="3606">
                  <c:v>-0.32606432518359063</c:v>
                </c:pt>
                <c:pt idx="3607">
                  <c:v>-0.30849551527189023</c:v>
                </c:pt>
                <c:pt idx="3608">
                  <c:v>-0.34658806897767824</c:v>
                </c:pt>
                <c:pt idx="3609">
                  <c:v>-0.32151928805431307</c:v>
                </c:pt>
                <c:pt idx="3610">
                  <c:v>-0.30902112858622266</c:v>
                </c:pt>
                <c:pt idx="3611">
                  <c:v>-0.33533842340597142</c:v>
                </c:pt>
                <c:pt idx="3612">
                  <c:v>-0.31825672555885343</c:v>
                </c:pt>
                <c:pt idx="3613">
                  <c:v>-0.34432119345378931</c:v>
                </c:pt>
                <c:pt idx="3614">
                  <c:v>-0.29744449194566869</c:v>
                </c:pt>
                <c:pt idx="3615">
                  <c:v>-0.31273630139631725</c:v>
                </c:pt>
                <c:pt idx="3616">
                  <c:v>-0.25916496019721869</c:v>
                </c:pt>
                <c:pt idx="3617">
                  <c:v>-0.26527336511193</c:v>
                </c:pt>
                <c:pt idx="3618">
                  <c:v>-0.989846124065065</c:v>
                </c:pt>
                <c:pt idx="3619">
                  <c:v>-1.2334693907056391</c:v>
                </c:pt>
                <c:pt idx="3620">
                  <c:v>-1.4867379984254969</c:v>
                </c:pt>
                <c:pt idx="3621">
                  <c:v>-1.8494644978080133</c:v>
                </c:pt>
                <c:pt idx="3622">
                  <c:v>-2.3362950702199456</c:v>
                </c:pt>
                <c:pt idx="3623">
                  <c:v>-2.6747492371263006</c:v>
                </c:pt>
                <c:pt idx="3624">
                  <c:v>-2.6772229552893165</c:v>
                </c:pt>
                <c:pt idx="3625">
                  <c:v>-2.873698276942823</c:v>
                </c:pt>
                <c:pt idx="3626">
                  <c:v>-2.6569721630257312</c:v>
                </c:pt>
                <c:pt idx="3627">
                  <c:v>-2.6004622519392324</c:v>
                </c:pt>
                <c:pt idx="3628">
                  <c:v>-2.2389903260385302</c:v>
                </c:pt>
                <c:pt idx="3629">
                  <c:v>-1.9166169643487594</c:v>
                </c:pt>
                <c:pt idx="3630">
                  <c:v>-2.1107952259202403</c:v>
                </c:pt>
                <c:pt idx="3631">
                  <c:v>-2.2915832669220504</c:v>
                </c:pt>
                <c:pt idx="3632">
                  <c:v>-2.9590075788324754</c:v>
                </c:pt>
                <c:pt idx="3633">
                  <c:v>-2.7107165706718872</c:v>
                </c:pt>
                <c:pt idx="3634">
                  <c:v>-2.494940394549432</c:v>
                </c:pt>
                <c:pt idx="3635">
                  <c:v>-2.4788207995483624</c:v>
                </c:pt>
                <c:pt idx="3636">
                  <c:v>-2.0881916009698784</c:v>
                </c:pt>
                <c:pt idx="3637">
                  <c:v>-1.6702968307238439</c:v>
                </c:pt>
                <c:pt idx="3638">
                  <c:v>-1.104746210240509</c:v>
                </c:pt>
                <c:pt idx="3639">
                  <c:v>-1.1692443480167971</c:v>
                </c:pt>
                <c:pt idx="3640">
                  <c:v>-1.3440158738919152</c:v>
                </c:pt>
                <c:pt idx="3641">
                  <c:v>-1.4603039933149102</c:v>
                </c:pt>
                <c:pt idx="3642">
                  <c:v>-1.5270420549421668</c:v>
                </c:pt>
                <c:pt idx="3643">
                  <c:v>-2.1300654579391072</c:v>
                </c:pt>
                <c:pt idx="3644">
                  <c:v>-2.7631414157516558</c:v>
                </c:pt>
                <c:pt idx="3645">
                  <c:v>-2.9487998892135687</c:v>
                </c:pt>
                <c:pt idx="3646">
                  <c:v>-2.8319629616492716</c:v>
                </c:pt>
                <c:pt idx="3647">
                  <c:v>-2.6524573117936869</c:v>
                </c:pt>
                <c:pt idx="3648">
                  <c:v>-2.5424757109484064</c:v>
                </c:pt>
                <c:pt idx="3649">
                  <c:v>-2.5565712726330085</c:v>
                </c:pt>
                <c:pt idx="3650">
                  <c:v>-2.775655210984024</c:v>
                </c:pt>
                <c:pt idx="3651">
                  <c:v>-2.7757620422360594</c:v>
                </c:pt>
                <c:pt idx="3652">
                  <c:v>-2.7918996590664431</c:v>
                </c:pt>
                <c:pt idx="3653">
                  <c:v>-2.9442990370978768</c:v>
                </c:pt>
                <c:pt idx="3654">
                  <c:v>-2.9337040502692111</c:v>
                </c:pt>
                <c:pt idx="3655">
                  <c:v>-2.8455769837954437</c:v>
                </c:pt>
                <c:pt idx="3656">
                  <c:v>-2.8376023735504186</c:v>
                </c:pt>
                <c:pt idx="3657">
                  <c:v>-2.7500637846712563</c:v>
                </c:pt>
                <c:pt idx="3658">
                  <c:v>-2.7485075139335358</c:v>
                </c:pt>
                <c:pt idx="3659">
                  <c:v>-2.3358013516967793</c:v>
                </c:pt>
                <c:pt idx="3660">
                  <c:v>-2.211444495128938</c:v>
                </c:pt>
                <c:pt idx="3661">
                  <c:v>-2.1051422478071675</c:v>
                </c:pt>
                <c:pt idx="3662">
                  <c:v>-1.8529181112427524</c:v>
                </c:pt>
                <c:pt idx="3663">
                  <c:v>-1.6238143014068869</c:v>
                </c:pt>
                <c:pt idx="3664">
                  <c:v>-1.3590140324696958</c:v>
                </c:pt>
                <c:pt idx="3665">
                  <c:v>-1.3608962355234833</c:v>
                </c:pt>
                <c:pt idx="3666">
                  <c:v>-1.644541486226994</c:v>
                </c:pt>
                <c:pt idx="3667">
                  <c:v>-1.721271325310213</c:v>
                </c:pt>
                <c:pt idx="3668">
                  <c:v>-1.4683465302129277</c:v>
                </c:pt>
                <c:pt idx="3669">
                  <c:v>-1.5963089645417421</c:v>
                </c:pt>
                <c:pt idx="3670">
                  <c:v>-1.63693415806229</c:v>
                </c:pt>
                <c:pt idx="3671">
                  <c:v>-1.8587277193692304</c:v>
                </c:pt>
                <c:pt idx="3672">
                  <c:v>-2.6034548077471205</c:v>
                </c:pt>
                <c:pt idx="3673">
                  <c:v>-2.8272353085477109</c:v>
                </c:pt>
                <c:pt idx="3674">
                  <c:v>-2.9547940682179439</c:v>
                </c:pt>
                <c:pt idx="3675">
                  <c:v>-2.9199184999848855</c:v>
                </c:pt>
                <c:pt idx="3676">
                  <c:v>-2.6721156435100748</c:v>
                </c:pt>
                <c:pt idx="3677">
                  <c:v>-2.5622019003078069</c:v>
                </c:pt>
                <c:pt idx="3678">
                  <c:v>-2.7097448259643357</c:v>
                </c:pt>
                <c:pt idx="3679">
                  <c:v>-2.8712307481225574</c:v>
                </c:pt>
                <c:pt idx="3680">
                  <c:v>-2.9369563277485784</c:v>
                </c:pt>
                <c:pt idx="3681">
                  <c:v>-2.9024073995795061</c:v>
                </c:pt>
                <c:pt idx="3682">
                  <c:v>-2.9144037322115564</c:v>
                </c:pt>
                <c:pt idx="3683">
                  <c:v>-2.8463148484953398</c:v>
                </c:pt>
                <c:pt idx="3684">
                  <c:v>-2.8223560523574425</c:v>
                </c:pt>
                <c:pt idx="3685">
                  <c:v>-2.6648662328440129</c:v>
                </c:pt>
                <c:pt idx="3686">
                  <c:v>-2.6634658623819605</c:v>
                </c:pt>
                <c:pt idx="3687">
                  <c:v>-2.6451240265660401</c:v>
                </c:pt>
                <c:pt idx="3688">
                  <c:v>-2.5408322243523944</c:v>
                </c:pt>
                <c:pt idx="3689">
                  <c:v>-2.586173152254839</c:v>
                </c:pt>
                <c:pt idx="3690">
                  <c:v>-2.7399509211949598</c:v>
                </c:pt>
                <c:pt idx="3691">
                  <c:v>-2.6223404095050622</c:v>
                </c:pt>
                <c:pt idx="3692">
                  <c:v>-2.6706366316034762</c:v>
                </c:pt>
                <c:pt idx="3693">
                  <c:v>-2.9097820664736478</c:v>
                </c:pt>
                <c:pt idx="3694">
                  <c:v>-2.9415572228089446</c:v>
                </c:pt>
                <c:pt idx="3695">
                  <c:v>-2.8604543896545818</c:v>
                </c:pt>
                <c:pt idx="3696">
                  <c:v>-2.6486820883751525</c:v>
                </c:pt>
                <c:pt idx="3697">
                  <c:v>-2.6523462122971972</c:v>
                </c:pt>
                <c:pt idx="3698">
                  <c:v>-2.8428573774737957</c:v>
                </c:pt>
                <c:pt idx="3699">
                  <c:v>-2.8443181624366103</c:v>
                </c:pt>
                <c:pt idx="3700">
                  <c:v>-2.9308830911378547</c:v>
                </c:pt>
                <c:pt idx="3701">
                  <c:v>-2.9030971629131761</c:v>
                </c:pt>
                <c:pt idx="3702">
                  <c:v>-2.577236365225648</c:v>
                </c:pt>
                <c:pt idx="3703">
                  <c:v>-2.1710186027619791</c:v>
                </c:pt>
                <c:pt idx="3704">
                  <c:v>-2.0677278191941757</c:v>
                </c:pt>
                <c:pt idx="3705">
                  <c:v>-2.2315242961917452</c:v>
                </c:pt>
                <c:pt idx="3706">
                  <c:v>-2.3030140501871621</c:v>
                </c:pt>
                <c:pt idx="3707">
                  <c:v>-2.6789782161234337</c:v>
                </c:pt>
                <c:pt idx="3708">
                  <c:v>-2.6819912240183097</c:v>
                </c:pt>
                <c:pt idx="3709">
                  <c:v>-2.9662184108243883</c:v>
                </c:pt>
                <c:pt idx="3710">
                  <c:v>-2.9128263556386775</c:v>
                </c:pt>
                <c:pt idx="3711">
                  <c:v>-2.2961661246135576</c:v>
                </c:pt>
                <c:pt idx="3712">
                  <c:v>-2.0685031293172185</c:v>
                </c:pt>
                <c:pt idx="3713">
                  <c:v>-2.0535108838903944</c:v>
                </c:pt>
                <c:pt idx="3714">
                  <c:v>-1.8604676220553276</c:v>
                </c:pt>
                <c:pt idx="3715">
                  <c:v>-1.4350540729165009</c:v>
                </c:pt>
                <c:pt idx="3716">
                  <c:v>-1.0753617764924417</c:v>
                </c:pt>
                <c:pt idx="3717">
                  <c:v>-1.0249010411191941</c:v>
                </c:pt>
                <c:pt idx="3718">
                  <c:v>-0.66614181352319657</c:v>
                </c:pt>
                <c:pt idx="3719">
                  <c:v>-0.3073713401922199</c:v>
                </c:pt>
                <c:pt idx="3720">
                  <c:v>-0.32127316115422344</c:v>
                </c:pt>
                <c:pt idx="3721">
                  <c:v>-0.34194720910951515</c:v>
                </c:pt>
                <c:pt idx="3722">
                  <c:v>-0.33456007784846875</c:v>
                </c:pt>
                <c:pt idx="3723">
                  <c:v>-0.33429964304069049</c:v>
                </c:pt>
                <c:pt idx="3724">
                  <c:v>-0.34627576870410204</c:v>
                </c:pt>
                <c:pt idx="3725">
                  <c:v>-0.32985072612603505</c:v>
                </c:pt>
                <c:pt idx="3726">
                  <c:v>-0.45474558612924876</c:v>
                </c:pt>
                <c:pt idx="3727">
                  <c:v>-0.82936578603022371</c:v>
                </c:pt>
                <c:pt idx="3728">
                  <c:v>-0.67796821166766963</c:v>
                </c:pt>
                <c:pt idx="3729">
                  <c:v>-0.32404740438359003</c:v>
                </c:pt>
                <c:pt idx="3730">
                  <c:v>-0.39235410097826307</c:v>
                </c:pt>
                <c:pt idx="3731">
                  <c:v>-0.38803886052493319</c:v>
                </c:pt>
                <c:pt idx="3732">
                  <c:v>-0.40619038159615417</c:v>
                </c:pt>
                <c:pt idx="3733">
                  <c:v>-0.88209290436973242</c:v>
                </c:pt>
                <c:pt idx="3734">
                  <c:v>-1.1309095347272786</c:v>
                </c:pt>
                <c:pt idx="3735">
                  <c:v>-1.1075180911321254</c:v>
                </c:pt>
                <c:pt idx="3736">
                  <c:v>-1.0619764920013517</c:v>
                </c:pt>
                <c:pt idx="3737">
                  <c:v>-0.9141020395154571</c:v>
                </c:pt>
                <c:pt idx="3738">
                  <c:v>-0.98853014162566732</c:v>
                </c:pt>
                <c:pt idx="3739">
                  <c:v>-1.0728710313278715</c:v>
                </c:pt>
                <c:pt idx="3740">
                  <c:v>-0.78692576081797638</c:v>
                </c:pt>
                <c:pt idx="3741">
                  <c:v>-0.34517073696232337</c:v>
                </c:pt>
                <c:pt idx="3742">
                  <c:v>-0.34842916676184532</c:v>
                </c:pt>
                <c:pt idx="3743">
                  <c:v>-0.35892312936078408</c:v>
                </c:pt>
                <c:pt idx="3744">
                  <c:v>-0.55367589840943776</c:v>
                </c:pt>
                <c:pt idx="3745">
                  <c:v>-0.53937559051914652</c:v>
                </c:pt>
                <c:pt idx="3746">
                  <c:v>-0.62749000379683573</c:v>
                </c:pt>
                <c:pt idx="3747">
                  <c:v>-0.63718506811442577</c:v>
                </c:pt>
                <c:pt idx="3748">
                  <c:v>-1.2419292589934736</c:v>
                </c:pt>
                <c:pt idx="3749">
                  <c:v>-1.252347379588314</c:v>
                </c:pt>
                <c:pt idx="3750">
                  <c:v>-1.5603671359289337</c:v>
                </c:pt>
                <c:pt idx="3751">
                  <c:v>-1.7505652960270637</c:v>
                </c:pt>
                <c:pt idx="3752">
                  <c:v>-1.7068122279111735</c:v>
                </c:pt>
                <c:pt idx="3753">
                  <c:v>-2.0788960359742279</c:v>
                </c:pt>
                <c:pt idx="3754">
                  <c:v>-2.1041714896266028</c:v>
                </c:pt>
                <c:pt idx="3755">
                  <c:v>-1.8814309613042115</c:v>
                </c:pt>
                <c:pt idx="3756">
                  <c:v>-2.0622672844725609</c:v>
                </c:pt>
                <c:pt idx="3757">
                  <c:v>-2.06456364548115</c:v>
                </c:pt>
                <c:pt idx="3758">
                  <c:v>-2.200528476565029</c:v>
                </c:pt>
                <c:pt idx="3759">
                  <c:v>-2.6328460116808556</c:v>
                </c:pt>
                <c:pt idx="3760">
                  <c:v>-2.9482934271051793</c:v>
                </c:pt>
                <c:pt idx="3761">
                  <c:v>-2.9338336323182821</c:v>
                </c:pt>
                <c:pt idx="3762">
                  <c:v>-2.9420116780451271</c:v>
                </c:pt>
                <c:pt idx="3763">
                  <c:v>-2.9197746469428054</c:v>
                </c:pt>
                <c:pt idx="3764">
                  <c:v>-1.6145033208918165</c:v>
                </c:pt>
                <c:pt idx="3765">
                  <c:v>-1.144254677342875</c:v>
                </c:pt>
                <c:pt idx="3766">
                  <c:v>-0.52028782276898788</c:v>
                </c:pt>
                <c:pt idx="3767">
                  <c:v>-0.32064321850150657</c:v>
                </c:pt>
                <c:pt idx="3768">
                  <c:v>-0.31941162462310102</c:v>
                </c:pt>
                <c:pt idx="3769">
                  <c:v>-0.30547666615120506</c:v>
                </c:pt>
                <c:pt idx="3770">
                  <c:v>-0.30550097638867701</c:v>
                </c:pt>
                <c:pt idx="3771">
                  <c:v>-0.30478506910151271</c:v>
                </c:pt>
                <c:pt idx="3772">
                  <c:v>-0.30469954727012138</c:v>
                </c:pt>
                <c:pt idx="3773">
                  <c:v>-0.46285897811682541</c:v>
                </c:pt>
                <c:pt idx="3774">
                  <c:v>-0.7581755423344757</c:v>
                </c:pt>
                <c:pt idx="3775">
                  <c:v>-1.157840837097015</c:v>
                </c:pt>
                <c:pt idx="3776">
                  <c:v>-1.4402049130388865</c:v>
                </c:pt>
                <c:pt idx="3777">
                  <c:v>-1.9706131839420415</c:v>
                </c:pt>
                <c:pt idx="3778">
                  <c:v>-1.8380276700993314</c:v>
                </c:pt>
                <c:pt idx="3779">
                  <c:v>-0.32986538113004182</c:v>
                </c:pt>
                <c:pt idx="3780">
                  <c:v>-0.29390589605570161</c:v>
                </c:pt>
                <c:pt idx="3781">
                  <c:v>-0.30085113549084708</c:v>
                </c:pt>
                <c:pt idx="3782">
                  <c:v>-0.43567339964769225</c:v>
                </c:pt>
                <c:pt idx="3783">
                  <c:v>-0.45971630674573638</c:v>
                </c:pt>
                <c:pt idx="3784">
                  <c:v>-0.67906532858136537</c:v>
                </c:pt>
                <c:pt idx="3785">
                  <c:v>-1.0827493351483524</c:v>
                </c:pt>
                <c:pt idx="3786">
                  <c:v>-1.3863040619500377</c:v>
                </c:pt>
                <c:pt idx="3787">
                  <c:v>-1.6458181910880101</c:v>
                </c:pt>
                <c:pt idx="3788">
                  <c:v>-1.8974839563610593</c:v>
                </c:pt>
                <c:pt idx="3789">
                  <c:v>-2.4027057986525571</c:v>
                </c:pt>
                <c:pt idx="3790">
                  <c:v>-2.9531782392450658</c:v>
                </c:pt>
                <c:pt idx="3791">
                  <c:v>-2.955377786287396</c:v>
                </c:pt>
                <c:pt idx="3792">
                  <c:v>-2.9687584016138073</c:v>
                </c:pt>
                <c:pt idx="3793">
                  <c:v>-2.6283100773300818</c:v>
                </c:pt>
                <c:pt idx="3794">
                  <c:v>-2.623384141139125</c:v>
                </c:pt>
                <c:pt idx="3795">
                  <c:v>-1.6792935042991797</c:v>
                </c:pt>
                <c:pt idx="3796">
                  <c:v>-0.8273163909074952</c:v>
                </c:pt>
                <c:pt idx="3797">
                  <c:v>-0.31689818501373124</c:v>
                </c:pt>
                <c:pt idx="3798">
                  <c:v>-0.31579019465263747</c:v>
                </c:pt>
                <c:pt idx="3799">
                  <c:v>-0.32011240677116326</c:v>
                </c:pt>
                <c:pt idx="3800">
                  <c:v>-0.3212465902675864</c:v>
                </c:pt>
                <c:pt idx="3801">
                  <c:v>-0.30329795081486077</c:v>
                </c:pt>
                <c:pt idx="3802">
                  <c:v>-0.30664759587376389</c:v>
                </c:pt>
                <c:pt idx="3803">
                  <c:v>-0.32238057651060403</c:v>
                </c:pt>
                <c:pt idx="3804">
                  <c:v>-0.32299922426787464</c:v>
                </c:pt>
                <c:pt idx="3805">
                  <c:v>-0.32295523872626752</c:v>
                </c:pt>
                <c:pt idx="3806">
                  <c:v>-0.35688828871735301</c:v>
                </c:pt>
                <c:pt idx="3807">
                  <c:v>-0.51370248087110959</c:v>
                </c:pt>
                <c:pt idx="3808">
                  <c:v>-0.57829318224400617</c:v>
                </c:pt>
                <c:pt idx="3809">
                  <c:v>-0.57987890963636657</c:v>
                </c:pt>
                <c:pt idx="3810">
                  <c:v>-0.99902529163209908</c:v>
                </c:pt>
                <c:pt idx="3811">
                  <c:v>-1.4145952703968927</c:v>
                </c:pt>
                <c:pt idx="3812">
                  <c:v>-1.4137727774377229</c:v>
                </c:pt>
                <c:pt idx="3813">
                  <c:v>-1.3336969859315628</c:v>
                </c:pt>
                <c:pt idx="3814">
                  <c:v>-1.1637063756746278</c:v>
                </c:pt>
                <c:pt idx="3815">
                  <c:v>-0.8865717250987698</c:v>
                </c:pt>
                <c:pt idx="3816">
                  <c:v>-0.65325273496562331</c:v>
                </c:pt>
                <c:pt idx="3817">
                  <c:v>-0.74857598693415361</c:v>
                </c:pt>
                <c:pt idx="3818">
                  <c:v>-0.96665041762152548</c:v>
                </c:pt>
                <c:pt idx="3819">
                  <c:v>-1.1890225483027859</c:v>
                </c:pt>
                <c:pt idx="3820">
                  <c:v>-1.2609131231085136</c:v>
                </c:pt>
                <c:pt idx="3821">
                  <c:v>-1.0810263327034695</c:v>
                </c:pt>
                <c:pt idx="3822">
                  <c:v>-1.1798508786689244</c:v>
                </c:pt>
                <c:pt idx="3823">
                  <c:v>-1.2217042009294317</c:v>
                </c:pt>
                <c:pt idx="3824">
                  <c:v>-1.5464867891314567</c:v>
                </c:pt>
                <c:pt idx="3825">
                  <c:v>-1.5138039102222089</c:v>
                </c:pt>
                <c:pt idx="3826">
                  <c:v>-1.3672317614572955</c:v>
                </c:pt>
                <c:pt idx="3827">
                  <c:v>-1.2115579910666803</c:v>
                </c:pt>
                <c:pt idx="3828">
                  <c:v>-1.184698860986237</c:v>
                </c:pt>
                <c:pt idx="3829">
                  <c:v>-1.4304982044846897</c:v>
                </c:pt>
                <c:pt idx="3830">
                  <c:v>-1.8073100206286818</c:v>
                </c:pt>
                <c:pt idx="3831">
                  <c:v>-2.0157885365895796</c:v>
                </c:pt>
                <c:pt idx="3832">
                  <c:v>-2.0180983844310187</c:v>
                </c:pt>
                <c:pt idx="3833">
                  <c:v>-2.1676925206225937</c:v>
                </c:pt>
                <c:pt idx="3834">
                  <c:v>-2.1145960172899132</c:v>
                </c:pt>
                <c:pt idx="3835">
                  <c:v>-2.3015447268674256</c:v>
                </c:pt>
                <c:pt idx="3836">
                  <c:v>-2.4548745561590355</c:v>
                </c:pt>
                <c:pt idx="3837">
                  <c:v>-2.7526198521612795</c:v>
                </c:pt>
                <c:pt idx="3838">
                  <c:v>-2.8995072715073111</c:v>
                </c:pt>
                <c:pt idx="3839">
                  <c:v>-2.9586464538689037</c:v>
                </c:pt>
                <c:pt idx="3840">
                  <c:v>-2.8787420568324666</c:v>
                </c:pt>
                <c:pt idx="3841">
                  <c:v>-2.2231110075116307</c:v>
                </c:pt>
                <c:pt idx="3842">
                  <c:v>-2.0841216152420059</c:v>
                </c:pt>
                <c:pt idx="3843">
                  <c:v>-1.9928144784629396</c:v>
                </c:pt>
                <c:pt idx="3844">
                  <c:v>-1.8345841221864336</c:v>
                </c:pt>
                <c:pt idx="3845">
                  <c:v>-1.9887043802043327</c:v>
                </c:pt>
                <c:pt idx="3846">
                  <c:v>-2.2460795460969463</c:v>
                </c:pt>
                <c:pt idx="3847">
                  <c:v>-2.3630569362192992</c:v>
                </c:pt>
                <c:pt idx="3848">
                  <c:v>-2.4503304321666226</c:v>
                </c:pt>
                <c:pt idx="3849">
                  <c:v>-2.4273674420417448</c:v>
                </c:pt>
                <c:pt idx="3850">
                  <c:v>-1.5933074768119284</c:v>
                </c:pt>
                <c:pt idx="3851">
                  <c:v>-1.098307140697488</c:v>
                </c:pt>
                <c:pt idx="3852">
                  <c:v>-0.96882670865478115</c:v>
                </c:pt>
                <c:pt idx="3853">
                  <c:v>-1.0871850429080503</c:v>
                </c:pt>
                <c:pt idx="3854">
                  <c:v>-1.3595433818915901</c:v>
                </c:pt>
                <c:pt idx="3855">
                  <c:v>-1.5236408566887591</c:v>
                </c:pt>
                <c:pt idx="3856">
                  <c:v>-1.4448143881094748</c:v>
                </c:pt>
                <c:pt idx="3857">
                  <c:v>-1.4449534985446615</c:v>
                </c:pt>
                <c:pt idx="3858">
                  <c:v>-1.4767193079544114</c:v>
                </c:pt>
                <c:pt idx="3859">
                  <c:v>-1.1457876708027421</c:v>
                </c:pt>
                <c:pt idx="3860">
                  <c:v>-0.87472637957296484</c:v>
                </c:pt>
                <c:pt idx="3861">
                  <c:v>-0.70682085921473281</c:v>
                </c:pt>
                <c:pt idx="3862">
                  <c:v>-0.70563767714190229</c:v>
                </c:pt>
                <c:pt idx="3863">
                  <c:v>-0.70756754964953739</c:v>
                </c:pt>
                <c:pt idx="3864">
                  <c:v>-0.70511822289418291</c:v>
                </c:pt>
                <c:pt idx="3865">
                  <c:v>-0.34552404870642583</c:v>
                </c:pt>
                <c:pt idx="3866">
                  <c:v>-0.32512256288985575</c:v>
                </c:pt>
                <c:pt idx="3867">
                  <c:v>-0.2967455350093311</c:v>
                </c:pt>
                <c:pt idx="3868">
                  <c:v>-0.30300067482588566</c:v>
                </c:pt>
                <c:pt idx="3869">
                  <c:v>-0.30474024613935935</c:v>
                </c:pt>
                <c:pt idx="3870">
                  <c:v>-0.30823119388711395</c:v>
                </c:pt>
                <c:pt idx="3871">
                  <c:v>-0.31027261368881709</c:v>
                </c:pt>
                <c:pt idx="3872">
                  <c:v>-0.80363553811923805</c:v>
                </c:pt>
                <c:pt idx="3873">
                  <c:v>-0.81947036241141513</c:v>
                </c:pt>
                <c:pt idx="3874">
                  <c:v>-2.0283204223589339</c:v>
                </c:pt>
                <c:pt idx="3875">
                  <c:v>-2.3923275222131486</c:v>
                </c:pt>
                <c:pt idx="3876">
                  <c:v>-2.9529128008253336</c:v>
                </c:pt>
                <c:pt idx="3877">
                  <c:v>-2.9434395025699427</c:v>
                </c:pt>
                <c:pt idx="3878">
                  <c:v>-2.919296503388626</c:v>
                </c:pt>
                <c:pt idx="3879">
                  <c:v>-2.5968431941685473</c:v>
                </c:pt>
                <c:pt idx="3880">
                  <c:v>-2.0185894040362093</c:v>
                </c:pt>
                <c:pt idx="3881">
                  <c:v>-1.8612274073885593</c:v>
                </c:pt>
                <c:pt idx="3882">
                  <c:v>-1.8045532427270785</c:v>
                </c:pt>
                <c:pt idx="3883">
                  <c:v>-1.9541899474247</c:v>
                </c:pt>
                <c:pt idx="3884">
                  <c:v>-1.0522169923683602</c:v>
                </c:pt>
                <c:pt idx="3885">
                  <c:v>-0.66325112145747511</c:v>
                </c:pt>
                <c:pt idx="3886">
                  <c:v>-0.41366359598697144</c:v>
                </c:pt>
                <c:pt idx="3887">
                  <c:v>-0.31274610332496433</c:v>
                </c:pt>
                <c:pt idx="3888">
                  <c:v>-0.5016539442260266</c:v>
                </c:pt>
                <c:pt idx="3889">
                  <c:v>-0.60798846779866234</c:v>
                </c:pt>
                <c:pt idx="3890">
                  <c:v>-0.5337175237031998</c:v>
                </c:pt>
                <c:pt idx="3891">
                  <c:v>-0.5972054960191594</c:v>
                </c:pt>
                <c:pt idx="3892">
                  <c:v>-0.69846058192290361</c:v>
                </c:pt>
                <c:pt idx="3893">
                  <c:v>-0.47988252075208282</c:v>
                </c:pt>
                <c:pt idx="3894">
                  <c:v>-0.53095200125370001</c:v>
                </c:pt>
                <c:pt idx="3895">
                  <c:v>-0.77408227172592869</c:v>
                </c:pt>
                <c:pt idx="3896">
                  <c:v>-0.93194246764265132</c:v>
                </c:pt>
                <c:pt idx="3897">
                  <c:v>-0.69780681101951569</c:v>
                </c:pt>
                <c:pt idx="3898">
                  <c:v>-0.69276438069987811</c:v>
                </c:pt>
                <c:pt idx="3899">
                  <c:v>-0.52294709034007736</c:v>
                </c:pt>
                <c:pt idx="3900">
                  <c:v>-0.48899505024244327</c:v>
                </c:pt>
                <c:pt idx="3901">
                  <c:v>-0.74569771960643305</c:v>
                </c:pt>
                <c:pt idx="3902">
                  <c:v>-1.3352880634391779</c:v>
                </c:pt>
                <c:pt idx="3903">
                  <c:v>-1.3514747028495322</c:v>
                </c:pt>
                <c:pt idx="3904">
                  <c:v>-1.7866467829911612</c:v>
                </c:pt>
                <c:pt idx="3905">
                  <c:v>-2.1332204642674144</c:v>
                </c:pt>
                <c:pt idx="3906">
                  <c:v>-2.135463881239879</c:v>
                </c:pt>
                <c:pt idx="3907">
                  <c:v>-2.2637730006458008</c:v>
                </c:pt>
                <c:pt idx="3908">
                  <c:v>-2.3121283472232319</c:v>
                </c:pt>
                <c:pt idx="3909">
                  <c:v>-2.1076176918192537</c:v>
                </c:pt>
                <c:pt idx="3910">
                  <c:v>-2.2944071840845055</c:v>
                </c:pt>
                <c:pt idx="3911">
                  <c:v>-2.8592298365762976</c:v>
                </c:pt>
                <c:pt idx="3912">
                  <c:v>-2.9537273996866618</c:v>
                </c:pt>
                <c:pt idx="3913">
                  <c:v>-2.8197013895908341</c:v>
                </c:pt>
                <c:pt idx="3914">
                  <c:v>-2.8184090898226959</c:v>
                </c:pt>
                <c:pt idx="3915">
                  <c:v>-2.7159099112527074</c:v>
                </c:pt>
                <c:pt idx="3916">
                  <c:v>-2.910193066512476</c:v>
                </c:pt>
                <c:pt idx="3917">
                  <c:v>-2.9100243894951641</c:v>
                </c:pt>
                <c:pt idx="3918">
                  <c:v>-2.9634463246360871</c:v>
                </c:pt>
                <c:pt idx="3919">
                  <c:v>-2.9231973279877361</c:v>
                </c:pt>
                <c:pt idx="3920">
                  <c:v>-2.9660216522502112</c:v>
                </c:pt>
                <c:pt idx="3921">
                  <c:v>-2.9671643280153437</c:v>
                </c:pt>
                <c:pt idx="3922">
                  <c:v>-2.9693192037910889</c:v>
                </c:pt>
                <c:pt idx="3923">
                  <c:v>-2.9698612211618367</c:v>
                </c:pt>
                <c:pt idx="3924">
                  <c:v>-2.3998870461971955</c:v>
                </c:pt>
                <c:pt idx="3925">
                  <c:v>-1.6013233904409998</c:v>
                </c:pt>
                <c:pt idx="3926">
                  <c:v>-1.0070314914669953</c:v>
                </c:pt>
                <c:pt idx="3927">
                  <c:v>-0.32033748713541943</c:v>
                </c:pt>
                <c:pt idx="3928">
                  <c:v>-0.3257266960453632</c:v>
                </c:pt>
                <c:pt idx="3929">
                  <c:v>-0.30768668706253488</c:v>
                </c:pt>
                <c:pt idx="3930">
                  <c:v>-0.30778133505454641</c:v>
                </c:pt>
                <c:pt idx="3931">
                  <c:v>-0.40329855145413052</c:v>
                </c:pt>
                <c:pt idx="3932">
                  <c:v>-1.2686627052129142</c:v>
                </c:pt>
                <c:pt idx="3933">
                  <c:v>-1.395703267344099</c:v>
                </c:pt>
                <c:pt idx="3934">
                  <c:v>-1.3951568117455979</c:v>
                </c:pt>
                <c:pt idx="3935">
                  <c:v>-1.3596726084749413</c:v>
                </c:pt>
                <c:pt idx="3936">
                  <c:v>-1.2860109353095357</c:v>
                </c:pt>
                <c:pt idx="3937">
                  <c:v>-1.4644569434215509</c:v>
                </c:pt>
                <c:pt idx="3938">
                  <c:v>-1.7478462645033876</c:v>
                </c:pt>
                <c:pt idx="3939">
                  <c:v>-1.8624802086488619</c:v>
                </c:pt>
                <c:pt idx="3940">
                  <c:v>-1.5469840925936014</c:v>
                </c:pt>
                <c:pt idx="3941">
                  <c:v>-1.4717085836979868</c:v>
                </c:pt>
                <c:pt idx="3942">
                  <c:v>-1.5323621340536873</c:v>
                </c:pt>
                <c:pt idx="3943">
                  <c:v>-2.1006087484925104</c:v>
                </c:pt>
                <c:pt idx="3944">
                  <c:v>-2.9228428559998294</c:v>
                </c:pt>
                <c:pt idx="3945">
                  <c:v>-2.9172928757603662</c:v>
                </c:pt>
                <c:pt idx="3946">
                  <c:v>-2.9333064457615983</c:v>
                </c:pt>
                <c:pt idx="3947">
                  <c:v>-2.9015982559886471</c:v>
                </c:pt>
                <c:pt idx="3948">
                  <c:v>-2.943708771855797</c:v>
                </c:pt>
                <c:pt idx="3949">
                  <c:v>-2.9035502564024949</c:v>
                </c:pt>
                <c:pt idx="3950">
                  <c:v>-2.8612473916879542</c:v>
                </c:pt>
                <c:pt idx="3951">
                  <c:v>-2.8405509845399268</c:v>
                </c:pt>
                <c:pt idx="3952">
                  <c:v>-2.1960861318549556</c:v>
                </c:pt>
                <c:pt idx="3953">
                  <c:v>-1.6737617035713073</c:v>
                </c:pt>
                <c:pt idx="3954">
                  <c:v>-0.99730224422632674</c:v>
                </c:pt>
                <c:pt idx="3955">
                  <c:v>-0.33669993334510451</c:v>
                </c:pt>
                <c:pt idx="3956">
                  <c:v>-0.30481589002753506</c:v>
                </c:pt>
                <c:pt idx="3957">
                  <c:v>-0.31608939850089945</c:v>
                </c:pt>
                <c:pt idx="3958">
                  <c:v>-0.40405252308592732</c:v>
                </c:pt>
                <c:pt idx="3959">
                  <c:v>-0.66704942748238538</c:v>
                </c:pt>
                <c:pt idx="3960">
                  <c:v>-1.0905238699468232</c:v>
                </c:pt>
                <c:pt idx="3961">
                  <c:v>-1.0203431152142124</c:v>
                </c:pt>
                <c:pt idx="3962">
                  <c:v>-1.3225637845234062</c:v>
                </c:pt>
                <c:pt idx="3963">
                  <c:v>-1.9024736422849884</c:v>
                </c:pt>
                <c:pt idx="3964">
                  <c:v>-2.281082768004707</c:v>
                </c:pt>
                <c:pt idx="3965">
                  <c:v>-2.4173808352790029</c:v>
                </c:pt>
                <c:pt idx="3966">
                  <c:v>-2.5680252825459373</c:v>
                </c:pt>
                <c:pt idx="3967">
                  <c:v>-2.532503602970265</c:v>
                </c:pt>
                <c:pt idx="3968">
                  <c:v>-2.5240650793660246</c:v>
                </c:pt>
                <c:pt idx="3969">
                  <c:v>-1.3581434618182326</c:v>
                </c:pt>
                <c:pt idx="3970">
                  <c:v>-1.2836527083461591</c:v>
                </c:pt>
                <c:pt idx="3971">
                  <c:v>-1.3035065160732831</c:v>
                </c:pt>
                <c:pt idx="3972">
                  <c:v>-1.4214342575141079</c:v>
                </c:pt>
                <c:pt idx="3973">
                  <c:v>-1.4186791395449221</c:v>
                </c:pt>
                <c:pt idx="3974">
                  <c:v>-1.0808560085307255</c:v>
                </c:pt>
                <c:pt idx="3975">
                  <c:v>-0.89451890087959585</c:v>
                </c:pt>
                <c:pt idx="3976">
                  <c:v>-1.048629600817309</c:v>
                </c:pt>
                <c:pt idx="3977">
                  <c:v>-0.91691764191476233</c:v>
                </c:pt>
                <c:pt idx="3978">
                  <c:v>-0.72701576212267749</c:v>
                </c:pt>
                <c:pt idx="3979">
                  <c:v>-0.444393658734618</c:v>
                </c:pt>
                <c:pt idx="3980">
                  <c:v>-0.30614491358021445</c:v>
                </c:pt>
                <c:pt idx="3981">
                  <c:v>-0.35283709651178341</c:v>
                </c:pt>
                <c:pt idx="3982">
                  <c:v>-0.58215236025202954</c:v>
                </c:pt>
                <c:pt idx="3983">
                  <c:v>-0.90111343816235145</c:v>
                </c:pt>
                <c:pt idx="3984">
                  <c:v>-0.99468788230190774</c:v>
                </c:pt>
                <c:pt idx="3985">
                  <c:v>-0.94614535328111005</c:v>
                </c:pt>
                <c:pt idx="3986">
                  <c:v>-1.0358426291332734</c:v>
                </c:pt>
                <c:pt idx="3987">
                  <c:v>-1.1941287175754109</c:v>
                </c:pt>
                <c:pt idx="3988">
                  <c:v>-1.1778349935679879</c:v>
                </c:pt>
                <c:pt idx="3989">
                  <c:v>-1.388280070196636</c:v>
                </c:pt>
                <c:pt idx="3990">
                  <c:v>-1.2780867189368801</c:v>
                </c:pt>
                <c:pt idx="3991">
                  <c:v>-1.564437196058992</c:v>
                </c:pt>
                <c:pt idx="3992">
                  <c:v>-1.8605364592964788</c:v>
                </c:pt>
                <c:pt idx="3993">
                  <c:v>-2.0372242967798995</c:v>
                </c:pt>
                <c:pt idx="3994">
                  <c:v>-2.0112856787696076</c:v>
                </c:pt>
                <c:pt idx="3995">
                  <c:v>-1.8396095144596551</c:v>
                </c:pt>
                <c:pt idx="3996">
                  <c:v>-1.8744583852462242</c:v>
                </c:pt>
                <c:pt idx="3997">
                  <c:v>-2.0602384717875073</c:v>
                </c:pt>
                <c:pt idx="3998">
                  <c:v>-2.0637497522983077</c:v>
                </c:pt>
                <c:pt idx="3999">
                  <c:v>-2.5251884495258241</c:v>
                </c:pt>
                <c:pt idx="4000">
                  <c:v>-2.933722602191811</c:v>
                </c:pt>
                <c:pt idx="4001">
                  <c:v>-2.9599227022305055</c:v>
                </c:pt>
                <c:pt idx="4002">
                  <c:v>-2.9595067589003534</c:v>
                </c:pt>
                <c:pt idx="4003">
                  <c:v>-2.9086674411073332</c:v>
                </c:pt>
                <c:pt idx="4004">
                  <c:v>-2.7043769183780539</c:v>
                </c:pt>
                <c:pt idx="4005">
                  <c:v>-2.9590917645993695</c:v>
                </c:pt>
                <c:pt idx="4006">
                  <c:v>-2.931302223624062</c:v>
                </c:pt>
                <c:pt idx="4007">
                  <c:v>-2.91747757713047</c:v>
                </c:pt>
                <c:pt idx="4008">
                  <c:v>-2.7767682608034776</c:v>
                </c:pt>
                <c:pt idx="4009">
                  <c:v>-2.7631004670054073</c:v>
                </c:pt>
                <c:pt idx="4010">
                  <c:v>-2.8118627408727703</c:v>
                </c:pt>
                <c:pt idx="4011">
                  <c:v>-2.9560075825037644</c:v>
                </c:pt>
                <c:pt idx="4012">
                  <c:v>-2.5561762188368049</c:v>
                </c:pt>
                <c:pt idx="4013">
                  <c:v>-2.4233997418937148</c:v>
                </c:pt>
                <c:pt idx="4014">
                  <c:v>-2.4298675889267116</c:v>
                </c:pt>
                <c:pt idx="4015">
                  <c:v>-2.8453157829747666</c:v>
                </c:pt>
                <c:pt idx="4016">
                  <c:v>-2.9550279888328363</c:v>
                </c:pt>
                <c:pt idx="4017">
                  <c:v>-2.9187610754088817</c:v>
                </c:pt>
                <c:pt idx="4018">
                  <c:v>-2.5349959327442049</c:v>
                </c:pt>
                <c:pt idx="4019">
                  <c:v>-2.4464553216488669</c:v>
                </c:pt>
                <c:pt idx="4020">
                  <c:v>-1.7913930969664684</c:v>
                </c:pt>
                <c:pt idx="4021">
                  <c:v>-1.5756748518271904</c:v>
                </c:pt>
                <c:pt idx="4022">
                  <c:v>-1.4224856642711847</c:v>
                </c:pt>
                <c:pt idx="4023">
                  <c:v>-1.7734114639508922</c:v>
                </c:pt>
                <c:pt idx="4024">
                  <c:v>-1.8331448672116053</c:v>
                </c:pt>
                <c:pt idx="4025">
                  <c:v>-1.7711117261936928</c:v>
                </c:pt>
                <c:pt idx="4026">
                  <c:v>-1.7761274285912929</c:v>
                </c:pt>
                <c:pt idx="4027">
                  <c:v>-1.7126693959476147</c:v>
                </c:pt>
                <c:pt idx="4028">
                  <c:v>-1.8475123854593396</c:v>
                </c:pt>
                <c:pt idx="4029">
                  <c:v>-1.8573542007211175</c:v>
                </c:pt>
                <c:pt idx="4030">
                  <c:v>-2.2081691239968149</c:v>
                </c:pt>
                <c:pt idx="4031">
                  <c:v>-2.2621141968349763</c:v>
                </c:pt>
                <c:pt idx="4032">
                  <c:v>-2.2572340265231023</c:v>
                </c:pt>
                <c:pt idx="4033">
                  <c:v>-1.6266069808498518</c:v>
                </c:pt>
                <c:pt idx="4034">
                  <c:v>-0.70401943271576539</c:v>
                </c:pt>
                <c:pt idx="4035">
                  <c:v>-0.41250904060666138</c:v>
                </c:pt>
                <c:pt idx="4036">
                  <c:v>-0.33591248688188924</c:v>
                </c:pt>
                <c:pt idx="4037">
                  <c:v>-0.3335279615027581</c:v>
                </c:pt>
                <c:pt idx="4038">
                  <c:v>-0.37443522814821917</c:v>
                </c:pt>
                <c:pt idx="4039">
                  <c:v>-0.36346744004442555</c:v>
                </c:pt>
                <c:pt idx="4040">
                  <c:v>-0.41462313605019097</c:v>
                </c:pt>
                <c:pt idx="4041">
                  <c:v>-0.38041200115427021</c:v>
                </c:pt>
                <c:pt idx="4042">
                  <c:v>-0.41653251251300993</c:v>
                </c:pt>
                <c:pt idx="4043">
                  <c:v>-0.39851241063756759</c:v>
                </c:pt>
                <c:pt idx="4044">
                  <c:v>-0.3803426649377184</c:v>
                </c:pt>
                <c:pt idx="4045">
                  <c:v>-0.47596656606248977</c:v>
                </c:pt>
                <c:pt idx="4046">
                  <c:v>-0.4799211193176961</c:v>
                </c:pt>
                <c:pt idx="4047">
                  <c:v>-0.49794289884889897</c:v>
                </c:pt>
                <c:pt idx="4048">
                  <c:v>-0.4014133477730919</c:v>
                </c:pt>
                <c:pt idx="4049">
                  <c:v>-0.43969136886111415</c:v>
                </c:pt>
                <c:pt idx="4050">
                  <c:v>-0.38480860997985011</c:v>
                </c:pt>
                <c:pt idx="4051">
                  <c:v>-0.44137489908658134</c:v>
                </c:pt>
                <c:pt idx="4052">
                  <c:v>-1.1508667033203088</c:v>
                </c:pt>
                <c:pt idx="4053">
                  <c:v>-1.5309723409272591</c:v>
                </c:pt>
                <c:pt idx="4054">
                  <c:v>-2.1878377519486967</c:v>
                </c:pt>
                <c:pt idx="4055">
                  <c:v>-2.4657547287840877</c:v>
                </c:pt>
                <c:pt idx="4056">
                  <c:v>-2.4674626765914804</c:v>
                </c:pt>
                <c:pt idx="4057">
                  <c:v>-2.6948005436445159</c:v>
                </c:pt>
                <c:pt idx="4058">
                  <c:v>-2.6392326182861154</c:v>
                </c:pt>
                <c:pt idx="4059">
                  <c:v>-2.2394579355537658</c:v>
                </c:pt>
                <c:pt idx="4060">
                  <c:v>-1.9279777669053124</c:v>
                </c:pt>
                <c:pt idx="4061">
                  <c:v>-1.7813503765126004</c:v>
                </c:pt>
                <c:pt idx="4062">
                  <c:v>-1.7799056535580977</c:v>
                </c:pt>
                <c:pt idx="4063">
                  <c:v>-1.728771163807822</c:v>
                </c:pt>
                <c:pt idx="4064">
                  <c:v>-1.8258154182133244</c:v>
                </c:pt>
                <c:pt idx="4065">
                  <c:v>-1.5767940062370787</c:v>
                </c:pt>
                <c:pt idx="4066">
                  <c:v>-1.0776945119527506</c:v>
                </c:pt>
                <c:pt idx="4067">
                  <c:v>-0.42852894241674921</c:v>
                </c:pt>
                <c:pt idx="4068">
                  <c:v>-0.30888607301405835</c:v>
                </c:pt>
                <c:pt idx="4069">
                  <c:v>-0.41638937606256199</c:v>
                </c:pt>
                <c:pt idx="4070">
                  <c:v>-0.4199091881245498</c:v>
                </c:pt>
                <c:pt idx="4071">
                  <c:v>-1.1070009310359699</c:v>
                </c:pt>
                <c:pt idx="4072">
                  <c:v>-1.2268083516113313</c:v>
                </c:pt>
                <c:pt idx="4073">
                  <c:v>-1.2451261788874681</c:v>
                </c:pt>
                <c:pt idx="4074">
                  <c:v>-1.4241697445976063</c:v>
                </c:pt>
                <c:pt idx="4075">
                  <c:v>-1.6918189112681166</c:v>
                </c:pt>
                <c:pt idx="4076">
                  <c:v>-1.8684276513937998</c:v>
                </c:pt>
                <c:pt idx="4077">
                  <c:v>-1.7074526130042327</c:v>
                </c:pt>
                <c:pt idx="4078">
                  <c:v>-1.2151780250222166</c:v>
                </c:pt>
                <c:pt idx="4079">
                  <c:v>-1.2052748569240221</c:v>
                </c:pt>
                <c:pt idx="4080">
                  <c:v>-0.56974370041169142</c:v>
                </c:pt>
                <c:pt idx="4081">
                  <c:v>-0.34405558128862168</c:v>
                </c:pt>
                <c:pt idx="4082">
                  <c:v>-0.31459823584413782</c:v>
                </c:pt>
                <c:pt idx="4083">
                  <c:v>-0.39453744145754821</c:v>
                </c:pt>
                <c:pt idx="4084">
                  <c:v>-0.46595981472264303</c:v>
                </c:pt>
                <c:pt idx="4085">
                  <c:v>-0.58650567010894827</c:v>
                </c:pt>
                <c:pt idx="4086">
                  <c:v>-0.31298318062852359</c:v>
                </c:pt>
                <c:pt idx="4087">
                  <c:v>-0.51977490493767853</c:v>
                </c:pt>
                <c:pt idx="4088">
                  <c:v>-0.57007964045386517</c:v>
                </c:pt>
                <c:pt idx="4089">
                  <c:v>-0.67683752299321853</c:v>
                </c:pt>
                <c:pt idx="4090">
                  <c:v>-0.48521568164603779</c:v>
                </c:pt>
                <c:pt idx="4091">
                  <c:v>-0.3505249046084844</c:v>
                </c:pt>
                <c:pt idx="4092">
                  <c:v>-0.31067096789710347</c:v>
                </c:pt>
                <c:pt idx="4093">
                  <c:v>-0.63109823998869929</c:v>
                </c:pt>
                <c:pt idx="4094">
                  <c:v>-0.72833319564393706</c:v>
                </c:pt>
                <c:pt idx="4095">
                  <c:v>-0.6747237115220599</c:v>
                </c:pt>
                <c:pt idx="4096">
                  <c:v>-0.60880822492091191</c:v>
                </c:pt>
                <c:pt idx="4097">
                  <c:v>-0.68686463572095702</c:v>
                </c:pt>
                <c:pt idx="4098">
                  <c:v>-0.88042609523671955</c:v>
                </c:pt>
                <c:pt idx="4099">
                  <c:v>-0.88265930658270531</c:v>
                </c:pt>
                <c:pt idx="4100">
                  <c:v>-1.5041194400241873</c:v>
                </c:pt>
                <c:pt idx="4101">
                  <c:v>-1.8872491818497488</c:v>
                </c:pt>
                <c:pt idx="4102">
                  <c:v>-2.2382282680680246</c:v>
                </c:pt>
                <c:pt idx="4103">
                  <c:v>-2.3632164703209897</c:v>
                </c:pt>
                <c:pt idx="4104">
                  <c:v>-2.760965560725098</c:v>
                </c:pt>
                <c:pt idx="4105">
                  <c:v>-2.8508650272133327</c:v>
                </c:pt>
                <c:pt idx="4106">
                  <c:v>-2.369697107938014</c:v>
                </c:pt>
                <c:pt idx="4107">
                  <c:v>-1.818373668884411</c:v>
                </c:pt>
                <c:pt idx="4108">
                  <c:v>-1.3565294226402023</c:v>
                </c:pt>
                <c:pt idx="4109">
                  <c:v>-1.1109755113721245</c:v>
                </c:pt>
                <c:pt idx="4110">
                  <c:v>-1.0686885413452742</c:v>
                </c:pt>
                <c:pt idx="4111">
                  <c:v>-1.0695358204394019</c:v>
                </c:pt>
                <c:pt idx="4112">
                  <c:v>-1.3263346709604864</c:v>
                </c:pt>
                <c:pt idx="4113">
                  <c:v>-1.0612395624871089</c:v>
                </c:pt>
                <c:pt idx="4114">
                  <c:v>-0.88297820291315332</c:v>
                </c:pt>
                <c:pt idx="4115">
                  <c:v>-1.0132467488937835</c:v>
                </c:pt>
                <c:pt idx="4116">
                  <c:v>-1.4414343715332159</c:v>
                </c:pt>
                <c:pt idx="4117">
                  <c:v>-1.7848549575954593</c:v>
                </c:pt>
                <c:pt idx="4118">
                  <c:v>-2.2459202564397716</c:v>
                </c:pt>
                <c:pt idx="4119">
                  <c:v>-2.5999589430168819</c:v>
                </c:pt>
                <c:pt idx="4120">
                  <c:v>-2.6937997533213767</c:v>
                </c:pt>
                <c:pt idx="4121">
                  <c:v>-2.5354688940562418</c:v>
                </c:pt>
                <c:pt idx="4122">
                  <c:v>-1.4317555258388253</c:v>
                </c:pt>
                <c:pt idx="4123">
                  <c:v>-1.428391825425722</c:v>
                </c:pt>
                <c:pt idx="4124">
                  <c:v>-0.98949445019087034</c:v>
                </c:pt>
                <c:pt idx="4125">
                  <c:v>-0.44313705147234062</c:v>
                </c:pt>
                <c:pt idx="4126">
                  <c:v>-0.32027061395142986</c:v>
                </c:pt>
                <c:pt idx="4127">
                  <c:v>-0.30872630007951773</c:v>
                </c:pt>
                <c:pt idx="4128">
                  <c:v>-0.32691647643910615</c:v>
                </c:pt>
                <c:pt idx="4129">
                  <c:v>-0.32180686159703886</c:v>
                </c:pt>
                <c:pt idx="4130">
                  <c:v>-0.300154350442836</c:v>
                </c:pt>
                <c:pt idx="4131">
                  <c:v>-0.324038725850191</c:v>
                </c:pt>
                <c:pt idx="4132">
                  <c:v>-0.39115137713720749</c:v>
                </c:pt>
                <c:pt idx="4133">
                  <c:v>-0.81058951115049716</c:v>
                </c:pt>
                <c:pt idx="4134">
                  <c:v>-1.0011210616819159</c:v>
                </c:pt>
                <c:pt idx="4135">
                  <c:v>-1.0020655361424422</c:v>
                </c:pt>
                <c:pt idx="4136">
                  <c:v>-1.5021421774223027</c:v>
                </c:pt>
                <c:pt idx="4137">
                  <c:v>-1.5154616999480934</c:v>
                </c:pt>
                <c:pt idx="4138">
                  <c:v>-1.9183720626875649</c:v>
                </c:pt>
                <c:pt idx="4139">
                  <c:v>-2.7922992949575662</c:v>
                </c:pt>
                <c:pt idx="4140">
                  <c:v>-2.9545003514974262</c:v>
                </c:pt>
                <c:pt idx="4141">
                  <c:v>-2.9548081302163745</c:v>
                </c:pt>
                <c:pt idx="4142">
                  <c:v>-2.9060848312949172</c:v>
                </c:pt>
                <c:pt idx="4143">
                  <c:v>-2.9566461853796207</c:v>
                </c:pt>
                <c:pt idx="4144">
                  <c:v>-2.9674017829975927</c:v>
                </c:pt>
                <c:pt idx="4145">
                  <c:v>-2.9698822799942555</c:v>
                </c:pt>
                <c:pt idx="4146">
                  <c:v>-2.9965412239975606</c:v>
                </c:pt>
                <c:pt idx="4147">
                  <c:v>-2.9588148130239098</c:v>
                </c:pt>
                <c:pt idx="4148">
                  <c:v>-2.7865631310240828</c:v>
                </c:pt>
                <c:pt idx="4149">
                  <c:v>-2.4913216054187641</c:v>
                </c:pt>
                <c:pt idx="4150">
                  <c:v>-1.5519809551812158</c:v>
                </c:pt>
                <c:pt idx="4151">
                  <c:v>-0.67866994592207186</c:v>
                </c:pt>
                <c:pt idx="4152">
                  <c:v>-0.31819864927327346</c:v>
                </c:pt>
                <c:pt idx="4153">
                  <c:v>-0.54711704418979745</c:v>
                </c:pt>
                <c:pt idx="4154">
                  <c:v>-0.57572810233821636</c:v>
                </c:pt>
                <c:pt idx="4155">
                  <c:v>-1.0491297072081862</c:v>
                </c:pt>
                <c:pt idx="4156">
                  <c:v>-1.3876318848753615</c:v>
                </c:pt>
                <c:pt idx="4157">
                  <c:v>-1.4025351848883187</c:v>
                </c:pt>
                <c:pt idx="4158">
                  <c:v>-1.1394247885442526</c:v>
                </c:pt>
                <c:pt idx="4159">
                  <c:v>-0.875074252417822</c:v>
                </c:pt>
                <c:pt idx="4160">
                  <c:v>-0.66378111705244425</c:v>
                </c:pt>
                <c:pt idx="4161">
                  <c:v>-0.54531726735302277</c:v>
                </c:pt>
                <c:pt idx="4162">
                  <c:v>-0.31639880218274452</c:v>
                </c:pt>
                <c:pt idx="4163">
                  <c:v>-0.42336297157322667</c:v>
                </c:pt>
                <c:pt idx="4164">
                  <c:v>-0.3768750582453918</c:v>
                </c:pt>
                <c:pt idx="4165">
                  <c:v>-0.43674593943602569</c:v>
                </c:pt>
                <c:pt idx="4166">
                  <c:v>-0.61934585429887001</c:v>
                </c:pt>
                <c:pt idx="4167">
                  <c:v>-0.87301663642391059</c:v>
                </c:pt>
                <c:pt idx="4168">
                  <c:v>-1.0111582886206929</c:v>
                </c:pt>
                <c:pt idx="4169">
                  <c:v>-0.94235829694002526</c:v>
                </c:pt>
                <c:pt idx="4170">
                  <c:v>-0.6845237358459072</c:v>
                </c:pt>
                <c:pt idx="4171">
                  <c:v>-0.31406627592130554</c:v>
                </c:pt>
                <c:pt idx="4172">
                  <c:v>-0.31466889257680142</c:v>
                </c:pt>
                <c:pt idx="4173">
                  <c:v>-0.37374124436895606</c:v>
                </c:pt>
                <c:pt idx="4174">
                  <c:v>-0.51623823119010359</c:v>
                </c:pt>
                <c:pt idx="4175">
                  <c:v>-1.1956070108817665</c:v>
                </c:pt>
                <c:pt idx="4176">
                  <c:v>-1.5243248183564329</c:v>
                </c:pt>
                <c:pt idx="4177">
                  <c:v>-1.867362004641945</c:v>
                </c:pt>
                <c:pt idx="4178">
                  <c:v>-1.9652105754351092</c:v>
                </c:pt>
                <c:pt idx="4179">
                  <c:v>-2.0539542713982173</c:v>
                </c:pt>
                <c:pt idx="4180">
                  <c:v>-2.4977880215168615</c:v>
                </c:pt>
                <c:pt idx="4181">
                  <c:v>-2.457152772896912</c:v>
                </c:pt>
                <c:pt idx="4182">
                  <c:v>-2.4579370340503104</c:v>
                </c:pt>
                <c:pt idx="4183">
                  <c:v>-2.5259986660669536</c:v>
                </c:pt>
                <c:pt idx="4184">
                  <c:v>-2.8218586080119263</c:v>
                </c:pt>
                <c:pt idx="4185">
                  <c:v>-2.9563569155960621</c:v>
                </c:pt>
                <c:pt idx="4186">
                  <c:v>-2.8376217801166312</c:v>
                </c:pt>
                <c:pt idx="4187">
                  <c:v>-2.5658935215601466</c:v>
                </c:pt>
                <c:pt idx="4188">
                  <c:v>-2.4656893641180617</c:v>
                </c:pt>
                <c:pt idx="4189">
                  <c:v>-2.5705039127090892</c:v>
                </c:pt>
                <c:pt idx="4190">
                  <c:v>-2.5312160746447088</c:v>
                </c:pt>
                <c:pt idx="4191">
                  <c:v>-2.3453207747502747</c:v>
                </c:pt>
                <c:pt idx="4192">
                  <c:v>-1.5336996847540929</c:v>
                </c:pt>
                <c:pt idx="4193">
                  <c:v>-1.0118332759123327</c:v>
                </c:pt>
                <c:pt idx="4194">
                  <c:v>-0.48427867015202908</c:v>
                </c:pt>
                <c:pt idx="4195">
                  <c:v>-0.31986724386099064</c:v>
                </c:pt>
                <c:pt idx="4196">
                  <c:v>-0.31545677453398246</c:v>
                </c:pt>
                <c:pt idx="4197">
                  <c:v>-0.30714940006728098</c:v>
                </c:pt>
                <c:pt idx="4198">
                  <c:v>-0.34467561878400865</c:v>
                </c:pt>
                <c:pt idx="4199">
                  <c:v>-0.31817802988086064</c:v>
                </c:pt>
                <c:pt idx="4200">
                  <c:v>-0.31817799387701085</c:v>
                </c:pt>
                <c:pt idx="4201">
                  <c:v>-0.30790923895339051</c:v>
                </c:pt>
                <c:pt idx="4202">
                  <c:v>-0.61840691446047613</c:v>
                </c:pt>
                <c:pt idx="4203">
                  <c:v>-0.69695659626866779</c:v>
                </c:pt>
                <c:pt idx="4204">
                  <c:v>-0.68398478148115049</c:v>
                </c:pt>
                <c:pt idx="4205">
                  <c:v>-0.97729578015427532</c:v>
                </c:pt>
                <c:pt idx="4206">
                  <c:v>-1.0728560778001992</c:v>
                </c:pt>
                <c:pt idx="4207">
                  <c:v>-1.0029596107750585</c:v>
                </c:pt>
                <c:pt idx="4208">
                  <c:v>-0.62067921263519887</c:v>
                </c:pt>
                <c:pt idx="4209">
                  <c:v>-0.87362314851812839</c:v>
                </c:pt>
                <c:pt idx="4210">
                  <c:v>-1.0082591743720306</c:v>
                </c:pt>
                <c:pt idx="4211">
                  <c:v>-0.98835021150940416</c:v>
                </c:pt>
                <c:pt idx="4212">
                  <c:v>-0.66579659473871289</c:v>
                </c:pt>
                <c:pt idx="4213">
                  <c:v>-0.55751614018617779</c:v>
                </c:pt>
                <c:pt idx="4214">
                  <c:v>-0.48446750412467898</c:v>
                </c:pt>
                <c:pt idx="4215">
                  <c:v>-0.35828196955348579</c:v>
                </c:pt>
                <c:pt idx="4216">
                  <c:v>-0.33711345438955798</c:v>
                </c:pt>
                <c:pt idx="4217">
                  <c:v>-0.31935678914657917</c:v>
                </c:pt>
                <c:pt idx="4218">
                  <c:v>-0.3199961931890466</c:v>
                </c:pt>
                <c:pt idx="4219">
                  <c:v>-0.31721124341309026</c:v>
                </c:pt>
                <c:pt idx="4220">
                  <c:v>-0.31858330942280066</c:v>
                </c:pt>
                <c:pt idx="4221">
                  <c:v>-0.31924301119642329</c:v>
                </c:pt>
                <c:pt idx="4222">
                  <c:v>-0.31852140843798959</c:v>
                </c:pt>
                <c:pt idx="4223">
                  <c:v>-0.32060213194701714</c:v>
                </c:pt>
                <c:pt idx="4224">
                  <c:v>-0.31781717347460081</c:v>
                </c:pt>
                <c:pt idx="4225">
                  <c:v>-0.31705374855170976</c:v>
                </c:pt>
                <c:pt idx="4226">
                  <c:v>-0.31844483846369365</c:v>
                </c:pt>
                <c:pt idx="4227">
                  <c:v>-0.31842799609518557</c:v>
                </c:pt>
                <c:pt idx="4228">
                  <c:v>-0.32051524708443579</c:v>
                </c:pt>
                <c:pt idx="4229">
                  <c:v>-0.31703419515195808</c:v>
                </c:pt>
                <c:pt idx="4230">
                  <c:v>-0.3170119391426065</c:v>
                </c:pt>
                <c:pt idx="4231">
                  <c:v>-0.31840139386199662</c:v>
                </c:pt>
                <c:pt idx="4232">
                  <c:v>-0.3176786897486763</c:v>
                </c:pt>
                <c:pt idx="4233">
                  <c:v>-0.31837097083663479</c:v>
                </c:pt>
                <c:pt idx="4234">
                  <c:v>-0.31833242340055867</c:v>
                </c:pt>
                <c:pt idx="4235">
                  <c:v>-0.31969206495810554</c:v>
                </c:pt>
                <c:pt idx="4236">
                  <c:v>-0.31829820916507434</c:v>
                </c:pt>
                <c:pt idx="4237">
                  <c:v>-0.3182873479530155</c:v>
                </c:pt>
                <c:pt idx="4238">
                  <c:v>-0.31828191747598689</c:v>
                </c:pt>
                <c:pt idx="4239">
                  <c:v>-0.31826833246685704</c:v>
                </c:pt>
                <c:pt idx="4240">
                  <c:v>-0.31964809086544899</c:v>
                </c:pt>
                <c:pt idx="4241">
                  <c:v>-0.31821022703041746</c:v>
                </c:pt>
                <c:pt idx="4242">
                  <c:v>-0.31887535546713908</c:v>
                </c:pt>
                <c:pt idx="4243">
                  <c:v>-0.31813636047888427</c:v>
                </c:pt>
                <c:pt idx="4244">
                  <c:v>-0.3181005001886843</c:v>
                </c:pt>
                <c:pt idx="4245">
                  <c:v>-0.3180934673658159</c:v>
                </c:pt>
                <c:pt idx="4246">
                  <c:v>-0.32087735354265035</c:v>
                </c:pt>
                <c:pt idx="4247">
                  <c:v>-0.31878739016866731</c:v>
                </c:pt>
                <c:pt idx="4248">
                  <c:v>-0.31808044417560866</c:v>
                </c:pt>
                <c:pt idx="4249">
                  <c:v>-0.31877489701032979</c:v>
                </c:pt>
                <c:pt idx="4250">
                  <c:v>-0.31803426383069455</c:v>
                </c:pt>
                <c:pt idx="4251">
                  <c:v>-0.31872274312675331</c:v>
                </c:pt>
                <c:pt idx="4252">
                  <c:v>-0.31939771832458774</c:v>
                </c:pt>
                <c:pt idx="4253">
                  <c:v>-0.31799895530294942</c:v>
                </c:pt>
                <c:pt idx="4254">
                  <c:v>-0.31866733567933991</c:v>
                </c:pt>
                <c:pt idx="4255">
                  <c:v>-0.3172605370617354</c:v>
                </c:pt>
                <c:pt idx="4256">
                  <c:v>-0.31864995783119832</c:v>
                </c:pt>
                <c:pt idx="4257">
                  <c:v>-0.31791752400205475</c:v>
                </c:pt>
                <c:pt idx="4258">
                  <c:v>-0.31788548070511524</c:v>
                </c:pt>
                <c:pt idx="4259">
                  <c:v>-0.31788008719705674</c:v>
                </c:pt>
                <c:pt idx="4260">
                  <c:v>-0.317867998641153</c:v>
                </c:pt>
                <c:pt idx="4261">
                  <c:v>-0.31995496033471982</c:v>
                </c:pt>
                <c:pt idx="4262">
                  <c:v>-0.31716987787827233</c:v>
                </c:pt>
                <c:pt idx="4263">
                  <c:v>-0.31924073203106096</c:v>
                </c:pt>
                <c:pt idx="4264">
                  <c:v>-0.31645564419618788</c:v>
                </c:pt>
                <c:pt idx="4265">
                  <c:v>-0.31779193162488606</c:v>
                </c:pt>
                <c:pt idx="4266">
                  <c:v>-0.31775498996752882</c:v>
                </c:pt>
                <c:pt idx="4267">
                  <c:v>-0.31772203601232996</c:v>
                </c:pt>
                <c:pt idx="4268">
                  <c:v>-0.31839923319275509</c:v>
                </c:pt>
                <c:pt idx="4269">
                  <c:v>-0.31767158452127708</c:v>
                </c:pt>
                <c:pt idx="4270">
                  <c:v>-0.31825937470061372</c:v>
                </c:pt>
                <c:pt idx="4271">
                  <c:v>-0.31823852477204295</c:v>
                </c:pt>
                <c:pt idx="4272">
                  <c:v>-0.31884454466453471</c:v>
                </c:pt>
                <c:pt idx="4273">
                  <c:v>-0.31813694613661359</c:v>
                </c:pt>
                <c:pt idx="4274">
                  <c:v>-0.31741324313779884</c:v>
                </c:pt>
                <c:pt idx="4275">
                  <c:v>-0.31806090232326267</c:v>
                </c:pt>
                <c:pt idx="4276">
                  <c:v>-0.31945184219221201</c:v>
                </c:pt>
                <c:pt idx="4277">
                  <c:v>-0.31805824239993008</c:v>
                </c:pt>
                <c:pt idx="4278">
                  <c:v>-0.3193892873568881</c:v>
                </c:pt>
                <c:pt idx="4279">
                  <c:v>-0.31799570841276625</c:v>
                </c:pt>
                <c:pt idx="4280">
                  <c:v>-0.31794929742901279</c:v>
                </c:pt>
                <c:pt idx="4281">
                  <c:v>-0.31793242948506495</c:v>
                </c:pt>
                <c:pt idx="4282">
                  <c:v>-0.31790754510246899</c:v>
                </c:pt>
                <c:pt idx="4283">
                  <c:v>-0.31786853174186436</c:v>
                </c:pt>
                <c:pt idx="4284">
                  <c:v>-0.31786117582748918</c:v>
                </c:pt>
                <c:pt idx="4285">
                  <c:v>-0.31700832869096429</c:v>
                </c:pt>
                <c:pt idx="4286">
                  <c:v>-0.31766338045037146</c:v>
                </c:pt>
                <c:pt idx="4287">
                  <c:v>-0.31763449256508891</c:v>
                </c:pt>
                <c:pt idx="4288">
                  <c:v>-0.31901728987745415</c:v>
                </c:pt>
                <c:pt idx="4289">
                  <c:v>-0.31762168059224005</c:v>
                </c:pt>
                <c:pt idx="4290">
                  <c:v>-0.31685093163556244</c:v>
                </c:pt>
                <c:pt idx="4291">
                  <c:v>-0.31893253681480394</c:v>
                </c:pt>
                <c:pt idx="4292">
                  <c:v>-0.31614681939827405</c:v>
                </c:pt>
                <c:pt idx="4293">
                  <c:v>-0.31747033790706558</c:v>
                </c:pt>
                <c:pt idx="4294">
                  <c:v>-0.31674734856490483</c:v>
                </c:pt>
                <c:pt idx="4295">
                  <c:v>-0.31738827637869416</c:v>
                </c:pt>
                <c:pt idx="4296">
                  <c:v>-0.31737078961708964</c:v>
                </c:pt>
                <c:pt idx="4297">
                  <c:v>-0.31876105248144448</c:v>
                </c:pt>
                <c:pt idx="4298">
                  <c:v>-0.31597592798048468</c:v>
                </c:pt>
                <c:pt idx="4299">
                  <c:v>-0.31801586491254097</c:v>
                </c:pt>
                <c:pt idx="4300">
                  <c:v>-0.31730487194896462</c:v>
                </c:pt>
                <c:pt idx="4301">
                  <c:v>-0.31657112149556088</c:v>
                </c:pt>
                <c:pt idx="4302">
                  <c:v>-0.31725375455678695</c:v>
                </c:pt>
                <c:pt idx="4303">
                  <c:v>-0.31652874496641636</c:v>
                </c:pt>
                <c:pt idx="4304">
                  <c:v>-0.31720737989902026</c:v>
                </c:pt>
                <c:pt idx="4305">
                  <c:v>-0.31719389126167674</c:v>
                </c:pt>
                <c:pt idx="4306">
                  <c:v>-0.31718178219177795</c:v>
                </c:pt>
                <c:pt idx="4307">
                  <c:v>-0.31572776554638338</c:v>
                </c:pt>
                <c:pt idx="4308">
                  <c:v>-0.31699748588399601</c:v>
                </c:pt>
                <c:pt idx="4309">
                  <c:v>-0.31629467485017204</c:v>
                </c:pt>
                <c:pt idx="4310">
                  <c:v>-0.31625431822913741</c:v>
                </c:pt>
                <c:pt idx="4311">
                  <c:v>-0.3175934270461076</c:v>
                </c:pt>
                <c:pt idx="4312">
                  <c:v>-0.31619983263661267</c:v>
                </c:pt>
                <c:pt idx="4313">
                  <c:v>-0.31545733626939654</c:v>
                </c:pt>
                <c:pt idx="4314">
                  <c:v>-0.31824108086065439</c:v>
                </c:pt>
                <c:pt idx="4315">
                  <c:v>-0.31614602369770273</c:v>
                </c:pt>
                <c:pt idx="4316">
                  <c:v>-0.31605185815614656</c:v>
                </c:pt>
                <c:pt idx="4317">
                  <c:v>-0.31604446053951629</c:v>
                </c:pt>
                <c:pt idx="4318">
                  <c:v>-0.31673449121579889</c:v>
                </c:pt>
                <c:pt idx="4319">
                  <c:v>-0.31527102004262497</c:v>
                </c:pt>
                <c:pt idx="4320">
                  <c:v>-0.31734589923949719</c:v>
                </c:pt>
                <c:pt idx="4321">
                  <c:v>-0.31590386820931715</c:v>
                </c:pt>
                <c:pt idx="4322">
                  <c:v>-0.31655489055837605</c:v>
                </c:pt>
                <c:pt idx="4323">
                  <c:v>-0.31579895263944213</c:v>
                </c:pt>
                <c:pt idx="4324">
                  <c:v>-0.31578077844619568</c:v>
                </c:pt>
                <c:pt idx="4325">
                  <c:v>-0.31644727808074136</c:v>
                </c:pt>
                <c:pt idx="4326">
                  <c:v>-0.31572294548466928</c:v>
                </c:pt>
                <c:pt idx="4327">
                  <c:v>-0.3164149960809316</c:v>
                </c:pt>
                <c:pt idx="4328">
                  <c:v>-0.31634369533831397</c:v>
                </c:pt>
                <c:pt idx="4329">
                  <c:v>-0.31630452969210499</c:v>
                </c:pt>
                <c:pt idx="4330">
                  <c:v>-0.31560486043630909</c:v>
                </c:pt>
                <c:pt idx="4331">
                  <c:v>-0.31629846287535524</c:v>
                </c:pt>
                <c:pt idx="4332">
                  <c:v>-0.31558720418146502</c:v>
                </c:pt>
                <c:pt idx="4333">
                  <c:v>-0.31557231461425628</c:v>
                </c:pt>
                <c:pt idx="4334">
                  <c:v>-0.31553311147656138</c:v>
                </c:pt>
                <c:pt idx="4335">
                  <c:v>-0.3154885853027185</c:v>
                </c:pt>
                <c:pt idx="4336">
                  <c:v>-0.31409509358980248</c:v>
                </c:pt>
                <c:pt idx="4337">
                  <c:v>-0.31687883604069667</c:v>
                </c:pt>
                <c:pt idx="4338">
                  <c:v>-0.31405256812626625</c:v>
                </c:pt>
                <c:pt idx="4339">
                  <c:v>-0.31404393339665626</c:v>
                </c:pt>
                <c:pt idx="4340">
                  <c:v>-0.31682768116018911</c:v>
                </c:pt>
                <c:pt idx="4341">
                  <c:v>-0.31542214605151486</c:v>
                </c:pt>
                <c:pt idx="4342">
                  <c:v>-0.31536367308196211</c:v>
                </c:pt>
                <c:pt idx="4343">
                  <c:v>-0.3132693660424265</c:v>
                </c:pt>
                <c:pt idx="4344">
                  <c:v>-0.31605178686434254</c:v>
                </c:pt>
                <c:pt idx="4345">
                  <c:v>-0.31531982100854283</c:v>
                </c:pt>
                <c:pt idx="4346">
                  <c:v>-0.31530453664535518</c:v>
                </c:pt>
                <c:pt idx="4347">
                  <c:v>-0.31529788700426897</c:v>
                </c:pt>
                <c:pt idx="4348">
                  <c:v>-0.31519489316757709</c:v>
                </c:pt>
                <c:pt idx="4349">
                  <c:v>-0.31378612240568571</c:v>
                </c:pt>
                <c:pt idx="4350">
                  <c:v>-0.31517696555987651</c:v>
                </c:pt>
                <c:pt idx="4351">
                  <c:v>-0.3151005493549055</c:v>
                </c:pt>
                <c:pt idx="4352">
                  <c:v>-0.31509256779880612</c:v>
                </c:pt>
                <c:pt idx="4353">
                  <c:v>-0.31506997563418193</c:v>
                </c:pt>
                <c:pt idx="4354">
                  <c:v>-0.31645225511117792</c:v>
                </c:pt>
                <c:pt idx="4355">
                  <c:v>-0.31505669728148622</c:v>
                </c:pt>
                <c:pt idx="4356">
                  <c:v>-0.31502347500203753</c:v>
                </c:pt>
                <c:pt idx="4357">
                  <c:v>-0.31498958958074985</c:v>
                </c:pt>
                <c:pt idx="4358">
                  <c:v>-0.31497893852714254</c:v>
                </c:pt>
                <c:pt idx="4359">
                  <c:v>-0.31562185802597353</c:v>
                </c:pt>
                <c:pt idx="4360">
                  <c:v>-0.31488127803358568</c:v>
                </c:pt>
                <c:pt idx="4361">
                  <c:v>-0.31548101888727753</c:v>
                </c:pt>
                <c:pt idx="4362">
                  <c:v>-0.31477827889019006</c:v>
                </c:pt>
                <c:pt idx="4363">
                  <c:v>-0.31616588637772036</c:v>
                </c:pt>
                <c:pt idx="4364">
                  <c:v>-0.31338078078227438</c:v>
                </c:pt>
                <c:pt idx="4365">
                  <c:v>-0.3147430612146469</c:v>
                </c:pt>
                <c:pt idx="4366">
                  <c:v>-0.31468524141109622</c:v>
                </c:pt>
                <c:pt idx="4367">
                  <c:v>-0.31467596381496254</c:v>
                </c:pt>
                <c:pt idx="4368">
                  <c:v>-0.31397788337887678</c:v>
                </c:pt>
                <c:pt idx="4369">
                  <c:v>-0.31467130457818615</c:v>
                </c:pt>
                <c:pt idx="4370">
                  <c:v>-0.31395662347008169</c:v>
                </c:pt>
                <c:pt idx="4371">
                  <c:v>-0.31464605356129316</c:v>
                </c:pt>
                <c:pt idx="4372">
                  <c:v>-0.3153281864854276</c:v>
                </c:pt>
                <c:pt idx="4373">
                  <c:v>-0.31455568523709387</c:v>
                </c:pt>
                <c:pt idx="4374">
                  <c:v>-0.31453773170655841</c:v>
                </c:pt>
                <c:pt idx="4375">
                  <c:v>-0.31447992221215204</c:v>
                </c:pt>
                <c:pt idx="4376">
                  <c:v>-0.31444206660415097</c:v>
                </c:pt>
                <c:pt idx="4377">
                  <c:v>-0.31371010041504366</c:v>
                </c:pt>
                <c:pt idx="4378">
                  <c:v>-0.31437828090503073</c:v>
                </c:pt>
                <c:pt idx="4379">
                  <c:v>-0.31437628550736274</c:v>
                </c:pt>
                <c:pt idx="4380">
                  <c:v>-0.31436955787262189</c:v>
                </c:pt>
                <c:pt idx="4381">
                  <c:v>-0.31435960733647828</c:v>
                </c:pt>
                <c:pt idx="4382">
                  <c:v>-0.31504999150890156</c:v>
                </c:pt>
                <c:pt idx="4383">
                  <c:v>-0.31364743853609189</c:v>
                </c:pt>
                <c:pt idx="4384">
                  <c:v>-0.31364011992124508</c:v>
                </c:pt>
                <c:pt idx="4385">
                  <c:v>-0.31432626474906034</c:v>
                </c:pt>
                <c:pt idx="4386">
                  <c:v>-0.31432289580669148</c:v>
                </c:pt>
                <c:pt idx="4387">
                  <c:v>-0.31431514367338143</c:v>
                </c:pt>
                <c:pt idx="4388">
                  <c:v>-0.3136003428805153</c:v>
                </c:pt>
                <c:pt idx="4389">
                  <c:v>-0.31359902636903969</c:v>
                </c:pt>
                <c:pt idx="4390">
                  <c:v>-0.31358922524016497</c:v>
                </c:pt>
                <c:pt idx="4391">
                  <c:v>-0.314283982369717</c:v>
                </c:pt>
                <c:pt idx="4392">
                  <c:v>-0.31497452281691862</c:v>
                </c:pt>
                <c:pt idx="4393">
                  <c:v>-0.31218995486390022</c:v>
                </c:pt>
                <c:pt idx="4394">
                  <c:v>-0.3121871803288736</c:v>
                </c:pt>
                <c:pt idx="4395">
                  <c:v>-0.31357898723403266</c:v>
                </c:pt>
                <c:pt idx="4396">
                  <c:v>-0.31287938947593852</c:v>
                </c:pt>
                <c:pt idx="4397">
                  <c:v>-0.31347860661313087</c:v>
                </c:pt>
                <c:pt idx="4398">
                  <c:v>-0.31355295294243901</c:v>
                </c:pt>
                <c:pt idx="4399">
                  <c:v>-0.31354885495625429</c:v>
                </c:pt>
                <c:pt idx="4400">
                  <c:v>-0.31353584124499911</c:v>
                </c:pt>
                <c:pt idx="4401">
                  <c:v>-0.31352545719138225</c:v>
                </c:pt>
                <c:pt idx="4402">
                  <c:v>-0.31351185360167544</c:v>
                </c:pt>
                <c:pt idx="4403">
                  <c:v>-0.31350922168631357</c:v>
                </c:pt>
                <c:pt idx="4404">
                  <c:v>-0.31306275391784921</c:v>
                </c:pt>
                <c:pt idx="4405">
                  <c:v>-0.31280450378680547</c:v>
                </c:pt>
                <c:pt idx="4406">
                  <c:v>-0.3120975113827017</c:v>
                </c:pt>
                <c:pt idx="4407">
                  <c:v>-0.31488164355301484</c:v>
                </c:pt>
                <c:pt idx="4408">
                  <c:v>-0.31278856490164153</c:v>
                </c:pt>
                <c:pt idx="4409">
                  <c:v>-0.31417985419371841</c:v>
                </c:pt>
                <c:pt idx="4410">
                  <c:v>-0.31347674832946482</c:v>
                </c:pt>
                <c:pt idx="4411">
                  <c:v>-0.31277291122181772</c:v>
                </c:pt>
                <c:pt idx="4412">
                  <c:v>-0.31276984000536923</c:v>
                </c:pt>
                <c:pt idx="4413">
                  <c:v>-0.31415279540949037</c:v>
                </c:pt>
                <c:pt idx="4414">
                  <c:v>-0.31344983902310497</c:v>
                </c:pt>
                <c:pt idx="4415">
                  <c:v>-0.31204925440059683</c:v>
                </c:pt>
                <c:pt idx="4416">
                  <c:v>-0.31483352684228971</c:v>
                </c:pt>
                <c:pt idx="4417">
                  <c:v>-0.31204691331995271</c:v>
                </c:pt>
                <c:pt idx="4418">
                  <c:v>-0.31273297445794401</c:v>
                </c:pt>
                <c:pt idx="4419">
                  <c:v>-0.31133576214096015</c:v>
                </c:pt>
                <c:pt idx="4420">
                  <c:v>-0.31272727014852875</c:v>
                </c:pt>
                <c:pt idx="4421">
                  <c:v>-0.31272230855521754</c:v>
                </c:pt>
                <c:pt idx="4422">
                  <c:v>-0.3131559783223149</c:v>
                </c:pt>
                <c:pt idx="4423">
                  <c:v>-0.31341532711327635</c:v>
                </c:pt>
                <c:pt idx="4424">
                  <c:v>-0.31269497551966119</c:v>
                </c:pt>
                <c:pt idx="4425">
                  <c:v>-0.31268510748802625</c:v>
                </c:pt>
                <c:pt idx="4426">
                  <c:v>-0.31197295036167394</c:v>
                </c:pt>
                <c:pt idx="4427">
                  <c:v>-0.31266777391608558</c:v>
                </c:pt>
                <c:pt idx="4428">
                  <c:v>-0.31264562506746751</c:v>
                </c:pt>
                <c:pt idx="4429">
                  <c:v>-0.31264004401104339</c:v>
                </c:pt>
                <c:pt idx="4430">
                  <c:v>-0.31192414898998</c:v>
                </c:pt>
                <c:pt idx="4431">
                  <c:v>-0.31331025884410868</c:v>
                </c:pt>
                <c:pt idx="4432">
                  <c:v>-0.31260003743395126</c:v>
                </c:pt>
                <c:pt idx="4433">
                  <c:v>-0.31327345347030411</c:v>
                </c:pt>
                <c:pt idx="4434">
                  <c:v>-0.31048849017098989</c:v>
                </c:pt>
                <c:pt idx="4435">
                  <c:v>-0.31188014436768063</c:v>
                </c:pt>
                <c:pt idx="4436">
                  <c:v>-0.31254270141884033</c:v>
                </c:pt>
                <c:pt idx="4437">
                  <c:v>-0.31184519441531866</c:v>
                </c:pt>
                <c:pt idx="4438">
                  <c:v>-0.31323370677165607</c:v>
                </c:pt>
                <c:pt idx="4439">
                  <c:v>-0.31184065981604203</c:v>
                </c:pt>
                <c:pt idx="4440">
                  <c:v>-0.31391939135379909</c:v>
                </c:pt>
                <c:pt idx="4441">
                  <c:v>-0.31113470885822847</c:v>
                </c:pt>
                <c:pt idx="4442">
                  <c:v>-0.3125122882019109</c:v>
                </c:pt>
                <c:pt idx="4443">
                  <c:v>-0.31181239322551135</c:v>
                </c:pt>
                <c:pt idx="4444">
                  <c:v>-0.31319665392939677</c:v>
                </c:pt>
                <c:pt idx="4445">
                  <c:v>-0.31180385857786441</c:v>
                </c:pt>
                <c:pt idx="4446">
                  <c:v>-0.31248643665329257</c:v>
                </c:pt>
                <c:pt idx="4447">
                  <c:v>-0.31178279124500319</c:v>
                </c:pt>
                <c:pt idx="4448">
                  <c:v>-0.31246588520116003</c:v>
                </c:pt>
                <c:pt idx="4449">
                  <c:v>-0.30968040188067669</c:v>
                </c:pt>
                <c:pt idx="4450">
                  <c:v>-0.31246455181281085</c:v>
                </c:pt>
                <c:pt idx="4451">
                  <c:v>-0.31311345169475269</c:v>
                </c:pt>
                <c:pt idx="4452">
                  <c:v>-0.311720656480443</c:v>
                </c:pt>
                <c:pt idx="4453">
                  <c:v>-0.31170945717764309</c:v>
                </c:pt>
                <c:pt idx="4454">
                  <c:v>-0.31168998937854464</c:v>
                </c:pt>
                <c:pt idx="4455">
                  <c:v>-0.31168493475967263</c:v>
                </c:pt>
                <c:pt idx="4456">
                  <c:v>-0.31307638418000494</c:v>
                </c:pt>
                <c:pt idx="4457">
                  <c:v>-0.31168358896569526</c:v>
                </c:pt>
                <c:pt idx="4458">
                  <c:v>-0.31167132254954266</c:v>
                </c:pt>
                <c:pt idx="4459">
                  <c:v>-0.31305690198331582</c:v>
                </c:pt>
                <c:pt idx="4460">
                  <c:v>-0.31027221735158927</c:v>
                </c:pt>
                <c:pt idx="4461">
                  <c:v>-0.31444720412089611</c:v>
                </c:pt>
                <c:pt idx="4462">
                  <c:v>-0.31096590416181535</c:v>
                </c:pt>
                <c:pt idx="4463">
                  <c:v>-0.31165105405088445</c:v>
                </c:pt>
                <c:pt idx="4464">
                  <c:v>-0.31162786701948142</c:v>
                </c:pt>
                <c:pt idx="4465">
                  <c:v>-0.31230988133782289</c:v>
                </c:pt>
                <c:pt idx="4466">
                  <c:v>-0.31157291897796335</c:v>
                </c:pt>
                <c:pt idx="4467">
                  <c:v>-0.31156626481300653</c:v>
                </c:pt>
                <c:pt idx="4468">
                  <c:v>-0.31153291853471643</c:v>
                </c:pt>
                <c:pt idx="4469">
                  <c:v>-0.31220642526455566</c:v>
                </c:pt>
                <c:pt idx="4470">
                  <c:v>-0.31148785105946075</c:v>
                </c:pt>
                <c:pt idx="4471">
                  <c:v>-0.31074909678220242</c:v>
                </c:pt>
                <c:pt idx="4472">
                  <c:v>-0.31283342790690616</c:v>
                </c:pt>
                <c:pt idx="4473">
                  <c:v>-0.31004847914227396</c:v>
                </c:pt>
                <c:pt idx="4474">
                  <c:v>-0.31143531579385353</c:v>
                </c:pt>
                <c:pt idx="4475">
                  <c:v>-0.3128131614064662</c:v>
                </c:pt>
                <c:pt idx="4476">
                  <c:v>-0.31072269601104807</c:v>
                </c:pt>
                <c:pt idx="4477">
                  <c:v>-0.31141638068511812</c:v>
                </c:pt>
                <c:pt idx="4478">
                  <c:v>-0.31068962854467064</c:v>
                </c:pt>
                <c:pt idx="4479">
                  <c:v>-0.31066962831935863</c:v>
                </c:pt>
                <c:pt idx="4480">
                  <c:v>-0.31274782530126444</c:v>
                </c:pt>
                <c:pt idx="4481">
                  <c:v>-0.3099626102541273</c:v>
                </c:pt>
                <c:pt idx="4482">
                  <c:v>-0.31204614054303847</c:v>
                </c:pt>
                <c:pt idx="4483">
                  <c:v>-0.31132864598083498</c:v>
                </c:pt>
                <c:pt idx="4484">
                  <c:v>-0.31131371078905079</c:v>
                </c:pt>
                <c:pt idx="4485">
                  <c:v>-0.31130569289263188</c:v>
                </c:pt>
                <c:pt idx="4486">
                  <c:v>-0.31129451140209485</c:v>
                </c:pt>
                <c:pt idx="4487">
                  <c:v>-0.31126571025400807</c:v>
                </c:pt>
                <c:pt idx="4488">
                  <c:v>-0.31195280412711601</c:v>
                </c:pt>
                <c:pt idx="4489">
                  <c:v>-0.31055362502561146</c:v>
                </c:pt>
                <c:pt idx="4490">
                  <c:v>-0.31055015540398379</c:v>
                </c:pt>
                <c:pt idx="4491">
                  <c:v>-0.31121557135618072</c:v>
                </c:pt>
                <c:pt idx="4492">
                  <c:v>-0.30980180563692528</c:v>
                </c:pt>
                <c:pt idx="4493">
                  <c:v>-0.31185839859903897</c:v>
                </c:pt>
                <c:pt idx="4494">
                  <c:v>-0.30906651898123993</c:v>
                </c:pt>
                <c:pt idx="4495">
                  <c:v>-0.31184239841702099</c:v>
                </c:pt>
                <c:pt idx="4496">
                  <c:v>-0.31113690598838839</c:v>
                </c:pt>
                <c:pt idx="4497">
                  <c:v>-0.31113450761574046</c:v>
                </c:pt>
                <c:pt idx="4498">
                  <c:v>-0.31042988792315718</c:v>
                </c:pt>
                <c:pt idx="4499">
                  <c:v>-0.31181893270570826</c:v>
                </c:pt>
                <c:pt idx="4500">
                  <c:v>-0.31111557238053078</c:v>
                </c:pt>
                <c:pt idx="4501">
                  <c:v>-0.31111477367774698</c:v>
                </c:pt>
                <c:pt idx="4502">
                  <c:v>-0.31041122096880214</c:v>
                </c:pt>
                <c:pt idx="4503">
                  <c:v>-0.30970153624426466</c:v>
                </c:pt>
                <c:pt idx="4504">
                  <c:v>-0.3117871964979112</c:v>
                </c:pt>
                <c:pt idx="4505">
                  <c:v>-0.31107023436349501</c:v>
                </c:pt>
                <c:pt idx="4506">
                  <c:v>-0.31106463064599765</c:v>
                </c:pt>
                <c:pt idx="4507">
                  <c:v>-0.31106422313328264</c:v>
                </c:pt>
                <c:pt idx="4508">
                  <c:v>-0.31105558239418452</c:v>
                </c:pt>
                <c:pt idx="4509">
                  <c:v>-0.31105434922149011</c:v>
                </c:pt>
                <c:pt idx="4510">
                  <c:v>-0.31035675717114042</c:v>
                </c:pt>
                <c:pt idx="4511">
                  <c:v>-0.31243768400540939</c:v>
                </c:pt>
                <c:pt idx="4512">
                  <c:v>-0.30965312875623108</c:v>
                </c:pt>
                <c:pt idx="4513">
                  <c:v>-0.31033988637957566</c:v>
                </c:pt>
                <c:pt idx="4514">
                  <c:v>-0.31033577295392445</c:v>
                </c:pt>
                <c:pt idx="4515">
                  <c:v>-0.30893784985054429</c:v>
                </c:pt>
                <c:pt idx="4516">
                  <c:v>-0.31172212702749702</c:v>
                </c:pt>
                <c:pt idx="4517">
                  <c:v>-0.30962169475129464</c:v>
                </c:pt>
                <c:pt idx="4518">
                  <c:v>-0.3124054568901623</c:v>
                </c:pt>
                <c:pt idx="4519">
                  <c:v>-0.31030903572477475</c:v>
                </c:pt>
                <c:pt idx="4520">
                  <c:v>-0.31030670950698569</c:v>
                </c:pt>
                <c:pt idx="4521">
                  <c:v>-0.30891385279963357</c:v>
                </c:pt>
                <c:pt idx="4522">
                  <c:v>-0.31030574481063089</c:v>
                </c:pt>
                <c:pt idx="4523">
                  <c:v>-0.30891000998009266</c:v>
                </c:pt>
                <c:pt idx="4524">
                  <c:v>-0.31169387964433048</c:v>
                </c:pt>
                <c:pt idx="4525">
                  <c:v>-0.31029807200101478</c:v>
                </c:pt>
                <c:pt idx="4526">
                  <c:v>-0.31166865366629815</c:v>
                </c:pt>
                <c:pt idx="4527">
                  <c:v>-0.31027613056178294</c:v>
                </c:pt>
                <c:pt idx="4528">
                  <c:v>-0.3123567856925199</c:v>
                </c:pt>
                <c:pt idx="4529">
                  <c:v>-0.30957222721673294</c:v>
                </c:pt>
                <c:pt idx="4530">
                  <c:v>-0.30955604736244802</c:v>
                </c:pt>
                <c:pt idx="4531">
                  <c:v>-0.31024884677584452</c:v>
                </c:pt>
                <c:pt idx="4532">
                  <c:v>-0.31023417495200323</c:v>
                </c:pt>
                <c:pt idx="4533">
                  <c:v>-0.3095286266689149</c:v>
                </c:pt>
                <c:pt idx="4534">
                  <c:v>-0.31021813303371459</c:v>
                </c:pt>
                <c:pt idx="4535">
                  <c:v>-0.31021086238893258</c:v>
                </c:pt>
                <c:pt idx="4536">
                  <c:v>-0.31020757250588504</c:v>
                </c:pt>
                <c:pt idx="4537">
                  <c:v>-0.31020373284088243</c:v>
                </c:pt>
                <c:pt idx="4538">
                  <c:v>-0.31089282422730413</c:v>
                </c:pt>
                <c:pt idx="4539">
                  <c:v>-0.31019605680407392</c:v>
                </c:pt>
                <c:pt idx="4540">
                  <c:v>-0.31018960970189557</c:v>
                </c:pt>
                <c:pt idx="4541">
                  <c:v>-0.31018618077653781</c:v>
                </c:pt>
                <c:pt idx="4542">
                  <c:v>-0.30943717104886981</c:v>
                </c:pt>
                <c:pt idx="4543">
                  <c:v>-0.3101055148441958</c:v>
                </c:pt>
                <c:pt idx="4544">
                  <c:v>-0.31012146237377269</c:v>
                </c:pt>
                <c:pt idx="4545">
                  <c:v>-0.31151343252893482</c:v>
                </c:pt>
                <c:pt idx="4546">
                  <c:v>-0.30872888152690292</c:v>
                </c:pt>
                <c:pt idx="4547">
                  <c:v>-0.31011803430897367</c:v>
                </c:pt>
                <c:pt idx="4548">
                  <c:v>-0.31151000446355204</c:v>
                </c:pt>
                <c:pt idx="4549">
                  <c:v>-0.30872545030527687</c:v>
                </c:pt>
                <c:pt idx="4550">
                  <c:v>-0.31009842567033319</c:v>
                </c:pt>
                <c:pt idx="4551">
                  <c:v>-0.30946868180659559</c:v>
                </c:pt>
                <c:pt idx="4552">
                  <c:v>-0.30939909352435413</c:v>
                </c:pt>
                <c:pt idx="4553">
                  <c:v>-0.31081661452401688</c:v>
                </c:pt>
                <c:pt idx="4554">
                  <c:v>-0.31082557480050588</c:v>
                </c:pt>
                <c:pt idx="4555">
                  <c:v>-0.3094345817163936</c:v>
                </c:pt>
                <c:pt idx="4556">
                  <c:v>-0.31014119027493059</c:v>
                </c:pt>
                <c:pt idx="4557">
                  <c:v>-0.31155335223433211</c:v>
                </c:pt>
                <c:pt idx="4558">
                  <c:v>-0.3087704719691583</c:v>
                </c:pt>
                <c:pt idx="4559">
                  <c:v>-0.31156541480813371</c:v>
                </c:pt>
                <c:pt idx="4560">
                  <c:v>-0.30878177709911481</c:v>
                </c:pt>
                <c:pt idx="4561">
                  <c:v>-0.3093178690853372</c:v>
                </c:pt>
                <c:pt idx="4562">
                  <c:v>-0.31090239686719312</c:v>
                </c:pt>
                <c:pt idx="4563">
                  <c:v>-0.3102339986271434</c:v>
                </c:pt>
                <c:pt idx="4564">
                  <c:v>-0.31023672075300734</c:v>
                </c:pt>
                <c:pt idx="4565">
                  <c:v>-0.31024686407336122</c:v>
                </c:pt>
                <c:pt idx="4566">
                  <c:v>-0.3102554441592984</c:v>
                </c:pt>
                <c:pt idx="4567">
                  <c:v>-0.31026363178274741</c:v>
                </c:pt>
                <c:pt idx="4568">
                  <c:v>-0.30817686093146335</c:v>
                </c:pt>
                <c:pt idx="4569">
                  <c:v>-0.3109616664947078</c:v>
                </c:pt>
                <c:pt idx="4570">
                  <c:v>-0.31027376926625316</c:v>
                </c:pt>
                <c:pt idx="4571">
                  <c:v>-0.31027610808161621</c:v>
                </c:pt>
                <c:pt idx="4572">
                  <c:v>-0.30890303866449631</c:v>
                </c:pt>
                <c:pt idx="4573">
                  <c:v>-0.31031707697562194</c:v>
                </c:pt>
                <c:pt idx="4574">
                  <c:v>-0.30964085297888233</c:v>
                </c:pt>
                <c:pt idx="4575">
                  <c:v>-0.31034434713715486</c:v>
                </c:pt>
                <c:pt idx="4576">
                  <c:v>-0.31038294368371455</c:v>
                </c:pt>
                <c:pt idx="4577">
                  <c:v>-0.31042584099997017</c:v>
                </c:pt>
                <c:pt idx="4578">
                  <c:v>-0.31182471754436469</c:v>
                </c:pt>
                <c:pt idx="4579">
                  <c:v>-0.3104332501134377</c:v>
                </c:pt>
                <c:pt idx="4580">
                  <c:v>-0.30974418483817712</c:v>
                </c:pt>
                <c:pt idx="4581">
                  <c:v>-0.30976563037685079</c:v>
                </c:pt>
                <c:pt idx="4582">
                  <c:v>-0.31047536268080356</c:v>
                </c:pt>
                <c:pt idx="4583">
                  <c:v>-0.30979798897246813</c:v>
                </c:pt>
                <c:pt idx="4584">
                  <c:v>-0.31121787315329985</c:v>
                </c:pt>
                <c:pt idx="4585">
                  <c:v>-0.31123500583784547</c:v>
                </c:pt>
                <c:pt idx="4586">
                  <c:v>-0.30984439607075276</c:v>
                </c:pt>
                <c:pt idx="4587">
                  <c:v>-0.31059117064859065</c:v>
                </c:pt>
                <c:pt idx="4588">
                  <c:v>-0.30992084399816089</c:v>
                </c:pt>
                <c:pt idx="4589">
                  <c:v>-0.31063876411872671</c:v>
                </c:pt>
                <c:pt idx="4590">
                  <c:v>-0.31067112855928425</c:v>
                </c:pt>
                <c:pt idx="4591">
                  <c:v>-0.30998167393384468</c:v>
                </c:pt>
                <c:pt idx="4592">
                  <c:v>-0.31071207016506019</c:v>
                </c:pt>
                <c:pt idx="4593">
                  <c:v>-0.31071555577274246</c:v>
                </c:pt>
                <c:pt idx="4594">
                  <c:v>-0.31072442513385723</c:v>
                </c:pt>
                <c:pt idx="4595">
                  <c:v>-0.30933954622858906</c:v>
                </c:pt>
                <c:pt idx="4596">
                  <c:v>-0.31212420616152692</c:v>
                </c:pt>
                <c:pt idx="4597">
                  <c:v>-0.31144706929425237</c:v>
                </c:pt>
                <c:pt idx="4598">
                  <c:v>-0.30866289680092784</c:v>
                </c:pt>
                <c:pt idx="4599">
                  <c:v>-0.31076582466564151</c:v>
                </c:pt>
                <c:pt idx="4600">
                  <c:v>-0.31149628012583574</c:v>
                </c:pt>
                <c:pt idx="4601">
                  <c:v>-0.31081321361500103</c:v>
                </c:pt>
                <c:pt idx="4602">
                  <c:v>-0.31082153057271267</c:v>
                </c:pt>
                <c:pt idx="4603">
                  <c:v>-0.310146551485185</c:v>
                </c:pt>
                <c:pt idx="4604">
                  <c:v>-0.3101642575318333</c:v>
                </c:pt>
                <c:pt idx="4605">
                  <c:v>-0.30950045907366697</c:v>
                </c:pt>
                <c:pt idx="4606">
                  <c:v>-0.31228513735580066</c:v>
                </c:pt>
                <c:pt idx="4607">
                  <c:v>-0.30950827023919825</c:v>
                </c:pt>
                <c:pt idx="4608">
                  <c:v>-0.30881419090736872</c:v>
                </c:pt>
                <c:pt idx="4609">
                  <c:v>-0.31159964903787174</c:v>
                </c:pt>
                <c:pt idx="4610">
                  <c:v>-0.31022648702103761</c:v>
                </c:pt>
                <c:pt idx="4611">
                  <c:v>-0.31092361384743883</c:v>
                </c:pt>
                <c:pt idx="4612">
                  <c:v>-0.31024445304731585</c:v>
                </c:pt>
                <c:pt idx="4613">
                  <c:v>-0.31095980602297502</c:v>
                </c:pt>
                <c:pt idx="4614">
                  <c:v>-0.31027934331984974</c:v>
                </c:pt>
                <c:pt idx="4615">
                  <c:v>-0.3103027768253559</c:v>
                </c:pt>
                <c:pt idx="4616">
                  <c:v>-0.31035667516341992</c:v>
                </c:pt>
                <c:pt idx="4617">
                  <c:v>-0.31037099560065506</c:v>
                </c:pt>
                <c:pt idx="4618">
                  <c:v>-0.31177592436042656</c:v>
                </c:pt>
                <c:pt idx="4619">
                  <c:v>-0.31038427411438652</c:v>
                </c:pt>
                <c:pt idx="4620">
                  <c:v>-0.31108713050009495</c:v>
                </c:pt>
                <c:pt idx="4621">
                  <c:v>-0.3097998782747281</c:v>
                </c:pt>
                <c:pt idx="4622">
                  <c:v>-0.30972183731737535</c:v>
                </c:pt>
                <c:pt idx="4623">
                  <c:v>-0.310429946986022</c:v>
                </c:pt>
                <c:pt idx="4624">
                  <c:v>-0.3139107204114383</c:v>
                </c:pt>
                <c:pt idx="4625">
                  <c:v>-0.30973441277854796</c:v>
                </c:pt>
                <c:pt idx="4626">
                  <c:v>-0.3111296265578477</c:v>
                </c:pt>
                <c:pt idx="4627">
                  <c:v>-0.31043700089053061</c:v>
                </c:pt>
                <c:pt idx="4628">
                  <c:v>-0.31252560077235036</c:v>
                </c:pt>
                <c:pt idx="4629">
                  <c:v>-0.30974133132531323</c:v>
                </c:pt>
                <c:pt idx="4630">
                  <c:v>-0.31045123770506344</c:v>
                </c:pt>
                <c:pt idx="4631">
                  <c:v>-0.30976317287601363</c:v>
                </c:pt>
                <c:pt idx="4632">
                  <c:v>-0.3125484185905234</c:v>
                </c:pt>
                <c:pt idx="4633">
                  <c:v>-0.30976414043390821</c:v>
                </c:pt>
                <c:pt idx="4634">
                  <c:v>-0.31185709750228474</c:v>
                </c:pt>
                <c:pt idx="4635">
                  <c:v>-0.3090728204562867</c:v>
                </c:pt>
                <c:pt idx="4636">
                  <c:v>-0.31117580156081881</c:v>
                </c:pt>
                <c:pt idx="4637">
                  <c:v>-0.31049243444936203</c:v>
                </c:pt>
                <c:pt idx="4638">
                  <c:v>-0.31052617245812342</c:v>
                </c:pt>
                <c:pt idx="4639">
                  <c:v>-0.31052866151915237</c:v>
                </c:pt>
                <c:pt idx="4640">
                  <c:v>-0.30913848925004639</c:v>
                </c:pt>
                <c:pt idx="4641">
                  <c:v>-0.31192304352113587</c:v>
                </c:pt>
                <c:pt idx="4642">
                  <c:v>-0.30914194572713538</c:v>
                </c:pt>
                <c:pt idx="4643">
                  <c:v>-0.31192663804658294</c:v>
                </c:pt>
                <c:pt idx="4644">
                  <c:v>-0.31124728309475647</c:v>
                </c:pt>
                <c:pt idx="4645">
                  <c:v>-0.31055202733906007</c:v>
                </c:pt>
                <c:pt idx="4646">
                  <c:v>-0.31055686636271518</c:v>
                </c:pt>
                <c:pt idx="4647">
                  <c:v>-0.30916489634747824</c:v>
                </c:pt>
                <c:pt idx="4648">
                  <c:v>-0.31264575078178336</c:v>
                </c:pt>
                <c:pt idx="4649">
                  <c:v>-0.31056087387544384</c:v>
                </c:pt>
                <c:pt idx="4650">
                  <c:v>-0.31056225649674107</c:v>
                </c:pt>
                <c:pt idx="4651">
                  <c:v>-0.31056903346466724</c:v>
                </c:pt>
                <c:pt idx="4652">
                  <c:v>-0.3098780645857856</c:v>
                </c:pt>
                <c:pt idx="4653">
                  <c:v>-0.3119678403253161</c:v>
                </c:pt>
                <c:pt idx="4654">
                  <c:v>-0.31057597323123654</c:v>
                </c:pt>
                <c:pt idx="4655">
                  <c:v>-0.30918522939532767</c:v>
                </c:pt>
                <c:pt idx="4656">
                  <c:v>-0.31196978366484351</c:v>
                </c:pt>
                <c:pt idx="4657">
                  <c:v>-0.31057981684702707</c:v>
                </c:pt>
                <c:pt idx="4658">
                  <c:v>-0.31197780298231725</c:v>
                </c:pt>
                <c:pt idx="4659">
                  <c:v>-0.30919351617984403</c:v>
                </c:pt>
                <c:pt idx="4660">
                  <c:v>-0.31058715356524713</c:v>
                </c:pt>
                <c:pt idx="4661">
                  <c:v>-0.31060014131696834</c:v>
                </c:pt>
                <c:pt idx="4662">
                  <c:v>-0.30991954165617164</c:v>
                </c:pt>
                <c:pt idx="4663">
                  <c:v>-0.31061991247382426</c:v>
                </c:pt>
                <c:pt idx="4664">
                  <c:v>-0.30922960215420281</c:v>
                </c:pt>
                <c:pt idx="4665">
                  <c:v>-0.31062212438436143</c:v>
                </c:pt>
                <c:pt idx="4666">
                  <c:v>-0.30993116518312536</c:v>
                </c:pt>
                <c:pt idx="4667">
                  <c:v>-0.31062794153545104</c:v>
                </c:pt>
                <c:pt idx="4668">
                  <c:v>-0.31272455845801395</c:v>
                </c:pt>
                <c:pt idx="4669">
                  <c:v>-0.30994041828482299</c:v>
                </c:pt>
                <c:pt idx="4670">
                  <c:v>-0.31063983039032128</c:v>
                </c:pt>
                <c:pt idx="4671">
                  <c:v>-0.3113393718419768</c:v>
                </c:pt>
                <c:pt idx="4672">
                  <c:v>-0.31065572993873591</c:v>
                </c:pt>
                <c:pt idx="4673">
                  <c:v>-0.31066139825828087</c:v>
                </c:pt>
                <c:pt idx="4674">
                  <c:v>-0.31067176857439827</c:v>
                </c:pt>
                <c:pt idx="4675">
                  <c:v>-0.31067425659940984</c:v>
                </c:pt>
                <c:pt idx="4676">
                  <c:v>-0.31069568750908272</c:v>
                </c:pt>
                <c:pt idx="4677">
                  <c:v>-0.30930619791396141</c:v>
                </c:pt>
                <c:pt idx="4678">
                  <c:v>-0.31069872871708337</c:v>
                </c:pt>
                <c:pt idx="4679">
                  <c:v>-0.31070232324990765</c:v>
                </c:pt>
                <c:pt idx="4680">
                  <c:v>-0.31038171212786769</c:v>
                </c:pt>
                <c:pt idx="4681">
                  <c:v>-0.30930317528879969</c:v>
                </c:pt>
                <c:pt idx="4682">
                  <c:v>-0.31208710525508021</c:v>
                </c:pt>
                <c:pt idx="4683">
                  <c:v>-0.31068114885580833</c:v>
                </c:pt>
                <c:pt idx="4684">
                  <c:v>-0.31136747076668958</c:v>
                </c:pt>
                <c:pt idx="4685">
                  <c:v>-0.31066587626015207</c:v>
                </c:pt>
                <c:pt idx="4686">
                  <c:v>-0.31066287251309999</c:v>
                </c:pt>
                <c:pt idx="4687">
                  <c:v>-0.31134368295489945</c:v>
                </c:pt>
                <c:pt idx="4688">
                  <c:v>-0.30925284806653341</c:v>
                </c:pt>
                <c:pt idx="4689">
                  <c:v>-0.31203701427241803</c:v>
                </c:pt>
                <c:pt idx="4690">
                  <c:v>-0.3099440017017524</c:v>
                </c:pt>
                <c:pt idx="4691">
                  <c:v>-0.30992422154906718</c:v>
                </c:pt>
                <c:pt idx="4692">
                  <c:v>-0.31200696909969727</c:v>
                </c:pt>
                <c:pt idx="4693">
                  <c:v>-0.30922130108367651</c:v>
                </c:pt>
                <c:pt idx="4694">
                  <c:v>-0.31130387277650495</c:v>
                </c:pt>
                <c:pt idx="4695">
                  <c:v>-0.31059678444585681</c:v>
                </c:pt>
                <c:pt idx="4696">
                  <c:v>-0.30989392636916546</c:v>
                </c:pt>
                <c:pt idx="4697">
                  <c:v>-0.31058450194598219</c:v>
                </c:pt>
                <c:pt idx="4698">
                  <c:v>-0.30988417300233684</c:v>
                </c:pt>
                <c:pt idx="4699">
                  <c:v>-0.31056246995667314</c:v>
                </c:pt>
                <c:pt idx="4700">
                  <c:v>-0.31055946433813364</c:v>
                </c:pt>
                <c:pt idx="4701">
                  <c:v>-0.31055470678044228</c:v>
                </c:pt>
                <c:pt idx="4702">
                  <c:v>-0.30985161233467218</c:v>
                </c:pt>
                <c:pt idx="4703">
                  <c:v>-0.31054594355808951</c:v>
                </c:pt>
                <c:pt idx="4704">
                  <c:v>-0.30915069369436321</c:v>
                </c:pt>
                <c:pt idx="4705">
                  <c:v>-0.31193435800194524</c:v>
                </c:pt>
                <c:pt idx="4706">
                  <c:v>-0.30981205215752372</c:v>
                </c:pt>
                <c:pt idx="4707">
                  <c:v>-0.3104534610397478</c:v>
                </c:pt>
                <c:pt idx="4708">
                  <c:v>-0.31048910695429632</c:v>
                </c:pt>
                <c:pt idx="4709">
                  <c:v>-0.3097887663719372</c:v>
                </c:pt>
                <c:pt idx="4710">
                  <c:v>-0.31047558818015908</c:v>
                </c:pt>
                <c:pt idx="4711">
                  <c:v>-0.30976022300328654</c:v>
                </c:pt>
                <c:pt idx="4712">
                  <c:v>-0.31045230239444133</c:v>
                </c:pt>
                <c:pt idx="4713">
                  <c:v>-0.31043527609851718</c:v>
                </c:pt>
                <c:pt idx="4714">
                  <c:v>-0.30969662701249034</c:v>
                </c:pt>
                <c:pt idx="4715">
                  <c:v>-0.31108403953815311</c:v>
                </c:pt>
                <c:pt idx="4716">
                  <c:v>-0.3089927027514846</c:v>
                </c:pt>
                <c:pt idx="4717">
                  <c:v>-0.31038394884100884</c:v>
                </c:pt>
                <c:pt idx="4718">
                  <c:v>-0.31035164994772357</c:v>
                </c:pt>
                <c:pt idx="4719">
                  <c:v>-0.3096518072509945</c:v>
                </c:pt>
                <c:pt idx="4720">
                  <c:v>-0.31033687536546706</c:v>
                </c:pt>
                <c:pt idx="4721">
                  <c:v>-0.30961575271920072</c:v>
                </c:pt>
                <c:pt idx="4722">
                  <c:v>-0.31030808211753647</c:v>
                </c:pt>
                <c:pt idx="4723">
                  <c:v>-0.31097211426976201</c:v>
                </c:pt>
                <c:pt idx="4724">
                  <c:v>-0.31026501818504026</c:v>
                </c:pt>
                <c:pt idx="4725">
                  <c:v>-0.31025525305159685</c:v>
                </c:pt>
                <c:pt idx="4726">
                  <c:v>-0.30955766419668351</c:v>
                </c:pt>
                <c:pt idx="4727">
                  <c:v>-0.30958234021441777</c:v>
                </c:pt>
                <c:pt idx="4728">
                  <c:v>-0.31027415608844955</c:v>
                </c:pt>
                <c:pt idx="4729">
                  <c:v>-0.30959012211032344</c:v>
                </c:pt>
                <c:pt idx="4730">
                  <c:v>-0.30961101146128678</c:v>
                </c:pt>
                <c:pt idx="4731">
                  <c:v>-0.30961690221541882</c:v>
                </c:pt>
                <c:pt idx="4732">
                  <c:v>-0.3103215582612544</c:v>
                </c:pt>
                <c:pt idx="4733">
                  <c:v>-0.30965118167870676</c:v>
                </c:pt>
                <c:pt idx="4734">
                  <c:v>-0.31036360423374532</c:v>
                </c:pt>
                <c:pt idx="4735">
                  <c:v>-0.30966992774196811</c:v>
                </c:pt>
                <c:pt idx="4736">
                  <c:v>-0.30968171768771968</c:v>
                </c:pt>
                <c:pt idx="4737">
                  <c:v>-0.30969617316100206</c:v>
                </c:pt>
                <c:pt idx="4738">
                  <c:v>-0.30971974047726902</c:v>
                </c:pt>
                <c:pt idx="4739">
                  <c:v>-0.30972777451923439</c:v>
                </c:pt>
                <c:pt idx="4740">
                  <c:v>-0.30903563046353433</c:v>
                </c:pt>
                <c:pt idx="4741">
                  <c:v>-0.31044046448131035</c:v>
                </c:pt>
                <c:pt idx="4742">
                  <c:v>-0.30906376219845</c:v>
                </c:pt>
                <c:pt idx="4743">
                  <c:v>-0.30976125389718645</c:v>
                </c:pt>
                <c:pt idx="4744">
                  <c:v>-0.31047609129958664</c:v>
                </c:pt>
                <c:pt idx="4745">
                  <c:v>-0.30978402327127164</c:v>
                </c:pt>
                <c:pt idx="4746">
                  <c:v>-0.31189557215276764</c:v>
                </c:pt>
                <c:pt idx="4747">
                  <c:v>-0.30911141920162621</c:v>
                </c:pt>
                <c:pt idx="4748">
                  <c:v>-0.31121502667463041</c:v>
                </c:pt>
                <c:pt idx="4749">
                  <c:v>-0.31065580425448225</c:v>
                </c:pt>
                <c:pt idx="4750">
                  <c:v>-0.30986382059924589</c:v>
                </c:pt>
                <c:pt idx="4751">
                  <c:v>-0.30986543737073979</c:v>
                </c:pt>
                <c:pt idx="4752">
                  <c:v>-0.30988363830098398</c:v>
                </c:pt>
                <c:pt idx="4753">
                  <c:v>-0.30988846799089353</c:v>
                </c:pt>
                <c:pt idx="4754">
                  <c:v>-0.30988953950194043</c:v>
                </c:pt>
                <c:pt idx="4755">
                  <c:v>-0.30919418266006826</c:v>
                </c:pt>
                <c:pt idx="4756">
                  <c:v>-0.30989436076088095</c:v>
                </c:pt>
                <c:pt idx="4757">
                  <c:v>-0.30989757354448944</c:v>
                </c:pt>
                <c:pt idx="4758">
                  <c:v>-0.30992247991814037</c:v>
                </c:pt>
                <c:pt idx="4759">
                  <c:v>-0.30922818225957371</c:v>
                </c:pt>
                <c:pt idx="4760">
                  <c:v>-0.31063757226647193</c:v>
                </c:pt>
                <c:pt idx="4761">
                  <c:v>-0.30855540127536762</c:v>
                </c:pt>
                <c:pt idx="4762">
                  <c:v>-0.31135588558216098</c:v>
                </c:pt>
                <c:pt idx="4763">
                  <c:v>-0.3085720104783628</c:v>
                </c:pt>
                <c:pt idx="4764">
                  <c:v>-0.3099856849126974</c:v>
                </c:pt>
                <c:pt idx="4765">
                  <c:v>-0.30999478631537614</c:v>
                </c:pt>
                <c:pt idx="4766">
                  <c:v>-0.31001245872430538</c:v>
                </c:pt>
                <c:pt idx="4767">
                  <c:v>-0.31071309975836381</c:v>
                </c:pt>
                <c:pt idx="4768">
                  <c:v>-0.31014315189147057</c:v>
                </c:pt>
                <c:pt idx="4769">
                  <c:v>-0.31003352204388401</c:v>
                </c:pt>
                <c:pt idx="4770">
                  <c:v>-0.31033517912181141</c:v>
                </c:pt>
                <c:pt idx="4771">
                  <c:v>-0.31073827121382314</c:v>
                </c:pt>
                <c:pt idx="4772">
                  <c:v>-0.3100441239390016</c:v>
                </c:pt>
                <c:pt idx="4773">
                  <c:v>-0.31006052318176236</c:v>
                </c:pt>
                <c:pt idx="4774">
                  <c:v>-0.31077377696178454</c:v>
                </c:pt>
                <c:pt idx="4775">
                  <c:v>-0.31077597451698336</c:v>
                </c:pt>
                <c:pt idx="4776">
                  <c:v>-0.3107879847267695</c:v>
                </c:pt>
                <c:pt idx="4777">
                  <c:v>-0.30870365387850718</c:v>
                </c:pt>
                <c:pt idx="4778">
                  <c:v>-0.31009616689576203</c:v>
                </c:pt>
                <c:pt idx="4779">
                  <c:v>-0.31011320270474241</c:v>
                </c:pt>
                <c:pt idx="4780">
                  <c:v>-0.3101221118409131</c:v>
                </c:pt>
                <c:pt idx="4781">
                  <c:v>-0.31151763671799715</c:v>
                </c:pt>
                <c:pt idx="4782">
                  <c:v>-0.31012572848818853</c:v>
                </c:pt>
                <c:pt idx="4783">
                  <c:v>-0.31221669287696974</c:v>
                </c:pt>
                <c:pt idx="4784">
                  <c:v>-0.30943240559192819</c:v>
                </c:pt>
                <c:pt idx="4785">
                  <c:v>-0.31012935016946197</c:v>
                </c:pt>
                <c:pt idx="4786">
                  <c:v>-0.31153700404577178</c:v>
                </c:pt>
                <c:pt idx="4787">
                  <c:v>-0.31014509484847774</c:v>
                </c:pt>
                <c:pt idx="4788">
                  <c:v>-0.30875388910660628</c:v>
                </c:pt>
                <c:pt idx="4789">
                  <c:v>-0.31014651490803991</c:v>
                </c:pt>
                <c:pt idx="4790">
                  <c:v>-0.31014845164066474</c:v>
                </c:pt>
                <c:pt idx="4791">
                  <c:v>-0.30946198229228339</c:v>
                </c:pt>
                <c:pt idx="4792">
                  <c:v>-0.31016124133919332</c:v>
                </c:pt>
                <c:pt idx="4793">
                  <c:v>-0.31016252543611922</c:v>
                </c:pt>
                <c:pt idx="4794">
                  <c:v>-0.30877518606018495</c:v>
                </c:pt>
                <c:pt idx="4795">
                  <c:v>-0.31156128018234186</c:v>
                </c:pt>
                <c:pt idx="4796">
                  <c:v>-0.31017130565020079</c:v>
                </c:pt>
                <c:pt idx="4797">
                  <c:v>-0.3101732423768907</c:v>
                </c:pt>
                <c:pt idx="4798">
                  <c:v>-0.31017569578473547</c:v>
                </c:pt>
                <c:pt idx="4799">
                  <c:v>-0.31017698697975971</c:v>
                </c:pt>
                <c:pt idx="4800">
                  <c:v>-0.31157458752951084</c:v>
                </c:pt>
                <c:pt idx="4801">
                  <c:v>-0.31018306303636334</c:v>
                </c:pt>
                <c:pt idx="4802">
                  <c:v>-0.31018796882049759</c:v>
                </c:pt>
                <c:pt idx="4803">
                  <c:v>-0.31019157842385459</c:v>
                </c:pt>
                <c:pt idx="4804">
                  <c:v>-0.31020101030457592</c:v>
                </c:pt>
                <c:pt idx="4805">
                  <c:v>-0.31020281707820518</c:v>
                </c:pt>
                <c:pt idx="4806">
                  <c:v>-0.31021585856286726</c:v>
                </c:pt>
                <c:pt idx="4807">
                  <c:v>-0.30883303024995734</c:v>
                </c:pt>
                <c:pt idx="4808">
                  <c:v>-0.31161757532104206</c:v>
                </c:pt>
                <c:pt idx="4809">
                  <c:v>-0.3095306642124751</c:v>
                </c:pt>
                <c:pt idx="4810">
                  <c:v>-0.3102403904874298</c:v>
                </c:pt>
                <c:pt idx="4811">
                  <c:v>-0.31025084260812941</c:v>
                </c:pt>
                <c:pt idx="4812">
                  <c:v>-0.31025833775622602</c:v>
                </c:pt>
                <c:pt idx="4813">
                  <c:v>-0.30886776250472481</c:v>
                </c:pt>
                <c:pt idx="4814">
                  <c:v>-0.31026027552197966</c:v>
                </c:pt>
                <c:pt idx="4815">
                  <c:v>-0.31026234110668882</c:v>
                </c:pt>
                <c:pt idx="4816">
                  <c:v>-0.30958414647265986</c:v>
                </c:pt>
                <c:pt idx="4817">
                  <c:v>-0.31028250910914146</c:v>
                </c:pt>
                <c:pt idx="4818">
                  <c:v>-0.30960661977455728</c:v>
                </c:pt>
                <c:pt idx="4819">
                  <c:v>-0.31032176243301679</c:v>
                </c:pt>
                <c:pt idx="4820">
                  <c:v>-0.31034074104610987</c:v>
                </c:pt>
                <c:pt idx="4821">
                  <c:v>-0.31034306552593072</c:v>
                </c:pt>
                <c:pt idx="4822">
                  <c:v>-0.31034913350706061</c:v>
                </c:pt>
                <c:pt idx="4823">
                  <c:v>-0.31035300697446755</c:v>
                </c:pt>
                <c:pt idx="4824">
                  <c:v>-0.31035894609600445</c:v>
                </c:pt>
                <c:pt idx="4825">
                  <c:v>-0.31107246276607237</c:v>
                </c:pt>
                <c:pt idx="4826">
                  <c:v>-0.31177190660223641</c:v>
                </c:pt>
                <c:pt idx="4827">
                  <c:v>-0.31038025118202428</c:v>
                </c:pt>
                <c:pt idx="4828">
                  <c:v>-0.31039096812931444</c:v>
                </c:pt>
                <c:pt idx="4829">
                  <c:v>-0.30900091659636797</c:v>
                </c:pt>
                <c:pt idx="4830">
                  <c:v>-0.31109066982152633</c:v>
                </c:pt>
                <c:pt idx="4831">
                  <c:v>-0.31040078071825827</c:v>
                </c:pt>
                <c:pt idx="4832">
                  <c:v>-0.30970900978204496</c:v>
                </c:pt>
                <c:pt idx="4833">
                  <c:v>-0.31040607424306987</c:v>
                </c:pt>
                <c:pt idx="4834">
                  <c:v>-0.30971068968860349</c:v>
                </c:pt>
                <c:pt idx="4835">
                  <c:v>-0.31041188444310153</c:v>
                </c:pt>
                <c:pt idx="4836">
                  <c:v>-0.31042105750028959</c:v>
                </c:pt>
                <c:pt idx="4837">
                  <c:v>-0.31043241397281685</c:v>
                </c:pt>
                <c:pt idx="4838">
                  <c:v>-0.3111406380855587</c:v>
                </c:pt>
                <c:pt idx="4839">
                  <c:v>-0.31044674665686445</c:v>
                </c:pt>
                <c:pt idx="4840">
                  <c:v>-0.31046417924948144</c:v>
                </c:pt>
                <c:pt idx="4841">
                  <c:v>-0.31046675951787839</c:v>
                </c:pt>
                <c:pt idx="4842">
                  <c:v>-0.31047231186186219</c:v>
                </c:pt>
                <c:pt idx="4843">
                  <c:v>-0.3097828644379842</c:v>
                </c:pt>
                <c:pt idx="4844">
                  <c:v>-0.31187348482798649</c:v>
                </c:pt>
                <c:pt idx="4845">
                  <c:v>-0.31048909891530507</c:v>
                </c:pt>
                <c:pt idx="4846">
                  <c:v>-0.31118802512121713</c:v>
                </c:pt>
                <c:pt idx="4847">
                  <c:v>-0.30994653803717975</c:v>
                </c:pt>
                <c:pt idx="4848">
                  <c:v>-0.3098060996487727</c:v>
                </c:pt>
                <c:pt idx="4849">
                  <c:v>-0.31050177715916294</c:v>
                </c:pt>
                <c:pt idx="4850">
                  <c:v>-0.31118339309510401</c:v>
                </c:pt>
                <c:pt idx="4851">
                  <c:v>-0.31048562410096181</c:v>
                </c:pt>
                <c:pt idx="4852">
                  <c:v>-0.3118705110012252</c:v>
                </c:pt>
                <c:pt idx="4853">
                  <c:v>-0.30908570954641734</c:v>
                </c:pt>
                <c:pt idx="4854">
                  <c:v>-0.31046898449148275</c:v>
                </c:pt>
                <c:pt idx="4855">
                  <c:v>-0.30977087587247287</c:v>
                </c:pt>
                <c:pt idx="4856">
                  <c:v>-0.31255516230150815</c:v>
                </c:pt>
                <c:pt idx="4857">
                  <c:v>-0.31185816386008913</c:v>
                </c:pt>
                <c:pt idx="4858">
                  <c:v>-0.31046573421798074</c:v>
                </c:pt>
                <c:pt idx="4859">
                  <c:v>-0.30907258275260641</c:v>
                </c:pt>
                <c:pt idx="4860">
                  <c:v>-0.31046456729817562</c:v>
                </c:pt>
                <c:pt idx="4861">
                  <c:v>-0.31045053218533636</c:v>
                </c:pt>
                <c:pt idx="4862">
                  <c:v>-0.31044637149655951</c:v>
                </c:pt>
                <c:pt idx="4863">
                  <c:v>-0.31043818296912973</c:v>
                </c:pt>
                <c:pt idx="4864">
                  <c:v>-0.31043596982704136</c:v>
                </c:pt>
                <c:pt idx="4865">
                  <c:v>-0.31182450438921627</c:v>
                </c:pt>
                <c:pt idx="4866">
                  <c:v>-0.30903995840300036</c:v>
                </c:pt>
                <c:pt idx="4867">
                  <c:v>-0.31112074785061206</c:v>
                </c:pt>
                <c:pt idx="4868">
                  <c:v>-0.3104141374639463</c:v>
                </c:pt>
                <c:pt idx="4869">
                  <c:v>-0.31109982687758386</c:v>
                </c:pt>
                <c:pt idx="4870">
                  <c:v>-0.30831514908846858</c:v>
                </c:pt>
                <c:pt idx="4871">
                  <c:v>-0.31179551758024238</c:v>
                </c:pt>
                <c:pt idx="4872">
                  <c:v>-0.31037839255499977</c:v>
                </c:pt>
                <c:pt idx="4873">
                  <c:v>-0.30898549961086752</c:v>
                </c:pt>
                <c:pt idx="4874">
                  <c:v>-0.31176978103231723</c:v>
                </c:pt>
                <c:pt idx="4875">
                  <c:v>-0.31106057323288194</c:v>
                </c:pt>
                <c:pt idx="4876">
                  <c:v>-0.31104237333889972</c:v>
                </c:pt>
                <c:pt idx="4877">
                  <c:v>-0.31104159778016449</c:v>
                </c:pt>
                <c:pt idx="4878">
                  <c:v>-0.30964180994396284</c:v>
                </c:pt>
                <c:pt idx="4879">
                  <c:v>-0.31103379956320898</c:v>
                </c:pt>
                <c:pt idx="4880">
                  <c:v>-0.31102885519431489</c:v>
                </c:pt>
                <c:pt idx="4881">
                  <c:v>-0.30963427121710663</c:v>
                </c:pt>
                <c:pt idx="4882">
                  <c:v>-0.31172117292605228</c:v>
                </c:pt>
                <c:pt idx="4883">
                  <c:v>-0.3110071546248131</c:v>
                </c:pt>
                <c:pt idx="4884">
                  <c:v>-0.31239867484109607</c:v>
                </c:pt>
                <c:pt idx="4885">
                  <c:v>-0.31100624421983447</c:v>
                </c:pt>
                <c:pt idx="4886">
                  <c:v>-0.31100351202196763</c:v>
                </c:pt>
                <c:pt idx="4887">
                  <c:v>-0.31162693650266926</c:v>
                </c:pt>
                <c:pt idx="4888">
                  <c:v>-0.31169691166265745</c:v>
                </c:pt>
                <c:pt idx="4889">
                  <c:v>-0.31030369610850006</c:v>
                </c:pt>
                <c:pt idx="4890">
                  <c:v>-0.31098840960590457</c:v>
                </c:pt>
                <c:pt idx="4891">
                  <c:v>-0.31097253563686245</c:v>
                </c:pt>
                <c:pt idx="4892">
                  <c:v>-0.30957942696205298</c:v>
                </c:pt>
                <c:pt idx="4893">
                  <c:v>-0.31097132866466648</c:v>
                </c:pt>
                <c:pt idx="4894">
                  <c:v>-0.31026817526519124</c:v>
                </c:pt>
                <c:pt idx="4895">
                  <c:v>-0.31096253520532058</c:v>
                </c:pt>
                <c:pt idx="4896">
                  <c:v>-0.31094665993767068</c:v>
                </c:pt>
                <c:pt idx="4897">
                  <c:v>-0.3095499289731638</c:v>
                </c:pt>
                <c:pt idx="4898">
                  <c:v>-0.31233417293542953</c:v>
                </c:pt>
                <c:pt idx="4899">
                  <c:v>-0.3112440115489119</c:v>
                </c:pt>
                <c:pt idx="4900">
                  <c:v>-0.30954369041799423</c:v>
                </c:pt>
                <c:pt idx="4901">
                  <c:v>-0.31232453776037161</c:v>
                </c:pt>
                <c:pt idx="4902">
                  <c:v>-0.31193879085518861</c:v>
                </c:pt>
                <c:pt idx="4903">
                  <c:v>-0.31092033701053734</c:v>
                </c:pt>
                <c:pt idx="4904">
                  <c:v>-0.31091346327003355</c:v>
                </c:pt>
                <c:pt idx="4905">
                  <c:v>-0.31020997443102361</c:v>
                </c:pt>
                <c:pt idx="4906">
                  <c:v>-0.30950627762356508</c:v>
                </c:pt>
                <c:pt idx="4907">
                  <c:v>-0.31089799573813448</c:v>
                </c:pt>
                <c:pt idx="4908">
                  <c:v>-0.3108936339321241</c:v>
                </c:pt>
                <c:pt idx="4909">
                  <c:v>-0.31088834507596386</c:v>
                </c:pt>
                <c:pt idx="4910">
                  <c:v>-0.30948274741248583</c:v>
                </c:pt>
                <c:pt idx="4911">
                  <c:v>-0.31087380360040506</c:v>
                </c:pt>
                <c:pt idx="4912">
                  <c:v>-0.31086878073273649</c:v>
                </c:pt>
                <c:pt idx="4913">
                  <c:v>-0.31086388893363093</c:v>
                </c:pt>
                <c:pt idx="4914">
                  <c:v>-0.31085979106860218</c:v>
                </c:pt>
                <c:pt idx="4915">
                  <c:v>-0.31016198702606823</c:v>
                </c:pt>
                <c:pt idx="4916">
                  <c:v>-0.31085080133648457</c:v>
                </c:pt>
                <c:pt idx="4917">
                  <c:v>-0.31082753512942518</c:v>
                </c:pt>
                <c:pt idx="4918">
                  <c:v>-0.310826477129864</c:v>
                </c:pt>
                <c:pt idx="4919">
                  <c:v>-0.3094329090785819</c:v>
                </c:pt>
                <c:pt idx="4920">
                  <c:v>-0.31082475820024968</c:v>
                </c:pt>
                <c:pt idx="4921">
                  <c:v>-0.30942537229352174</c:v>
                </c:pt>
                <c:pt idx="4922">
                  <c:v>-0.31011889049380836</c:v>
                </c:pt>
                <c:pt idx="4923">
                  <c:v>-0.31080254173176269</c:v>
                </c:pt>
                <c:pt idx="4924">
                  <c:v>-0.31009402902533967</c:v>
                </c:pt>
                <c:pt idx="4925">
                  <c:v>-0.30938558161580487</c:v>
                </c:pt>
                <c:pt idx="4926">
                  <c:v>-0.31077756379801613</c:v>
                </c:pt>
                <c:pt idx="4927">
                  <c:v>-0.31077148299283464</c:v>
                </c:pt>
                <c:pt idx="4928">
                  <c:v>-0.31076605493005183</c:v>
                </c:pt>
                <c:pt idx="4929">
                  <c:v>-0.31005543555538029</c:v>
                </c:pt>
                <c:pt idx="4930">
                  <c:v>-0.31075006567472219</c:v>
                </c:pt>
                <c:pt idx="4931">
                  <c:v>-0.31074345693047434</c:v>
                </c:pt>
                <c:pt idx="4932">
                  <c:v>-0.31074028399951836</c:v>
                </c:pt>
                <c:pt idx="4933">
                  <c:v>-0.31003559802289149</c:v>
                </c:pt>
                <c:pt idx="4934">
                  <c:v>-0.31072931140273985</c:v>
                </c:pt>
                <c:pt idx="4935">
                  <c:v>-0.3100289882243592</c:v>
                </c:pt>
                <c:pt idx="4936">
                  <c:v>-0.31211592141862565</c:v>
                </c:pt>
                <c:pt idx="4937">
                  <c:v>-0.30933137320680948</c:v>
                </c:pt>
                <c:pt idx="4938">
                  <c:v>-0.31141230164108424</c:v>
                </c:pt>
                <c:pt idx="4939">
                  <c:v>-0.31083007496100368</c:v>
                </c:pt>
                <c:pt idx="4940">
                  <c:v>-0.31000661649246941</c:v>
                </c:pt>
                <c:pt idx="4941">
                  <c:v>-0.31139825979438229</c:v>
                </c:pt>
                <c:pt idx="4942">
                  <c:v>-0.31139119747757515</c:v>
                </c:pt>
                <c:pt idx="4943">
                  <c:v>-0.31065951316529616</c:v>
                </c:pt>
                <c:pt idx="4944">
                  <c:v>-0.30993908476948961</c:v>
                </c:pt>
                <c:pt idx="4945">
                  <c:v>-0.31132706728427861</c:v>
                </c:pt>
                <c:pt idx="4946">
                  <c:v>-0.31061162469516401</c:v>
                </c:pt>
                <c:pt idx="4947">
                  <c:v>-0.31060899496127825</c:v>
                </c:pt>
                <c:pt idx="4948">
                  <c:v>-0.3119773465215181</c:v>
                </c:pt>
                <c:pt idx="4949">
                  <c:v>-0.30919266685435776</c:v>
                </c:pt>
                <c:pt idx="4950">
                  <c:v>-0.31058177281401966</c:v>
                </c:pt>
                <c:pt idx="4951">
                  <c:v>-0.31126634057534108</c:v>
                </c:pt>
                <c:pt idx="4952">
                  <c:v>-0.31193729412617477</c:v>
                </c:pt>
                <c:pt idx="4953">
                  <c:v>-0.31054434216737004</c:v>
                </c:pt>
                <c:pt idx="4954">
                  <c:v>-0.31053072180397878</c:v>
                </c:pt>
                <c:pt idx="4955">
                  <c:v>-0.31261670711064804</c:v>
                </c:pt>
                <c:pt idx="4956">
                  <c:v>-0.30983202953637501</c:v>
                </c:pt>
                <c:pt idx="4957">
                  <c:v>-0.31260126361531426</c:v>
                </c:pt>
                <c:pt idx="4958">
                  <c:v>-0.30981658198201489</c:v>
                </c:pt>
                <c:pt idx="4959">
                  <c:v>-0.31117498614248251</c:v>
                </c:pt>
                <c:pt idx="4960">
                  <c:v>-0.30975926085032346</c:v>
                </c:pt>
                <c:pt idx="4961">
                  <c:v>-0.31045037017752719</c:v>
                </c:pt>
                <c:pt idx="4962">
                  <c:v>-0.30974905222360039</c:v>
                </c:pt>
                <c:pt idx="4963">
                  <c:v>-0.30902435014230079</c:v>
                </c:pt>
                <c:pt idx="4964">
                  <c:v>-0.30901257149747829</c:v>
                </c:pt>
                <c:pt idx="4965">
                  <c:v>-0.30830733334773852</c:v>
                </c:pt>
                <c:pt idx="4966">
                  <c:v>-0.30826755055939359</c:v>
                </c:pt>
                <c:pt idx="4967">
                  <c:v>-0.30687249970816066</c:v>
                </c:pt>
                <c:pt idx="4968">
                  <c:v>-0.30965665456595348</c:v>
                </c:pt>
                <c:pt idx="4969">
                  <c:v>-0.30894635863464448</c:v>
                </c:pt>
                <c:pt idx="4970">
                  <c:v>-0.308944265889185</c:v>
                </c:pt>
                <c:pt idx="4971">
                  <c:v>-0.30823796213292776</c:v>
                </c:pt>
                <c:pt idx="4972">
                  <c:v>-0.30946309100076663</c:v>
                </c:pt>
                <c:pt idx="4973">
                  <c:v>-0.30962131862595743</c:v>
                </c:pt>
                <c:pt idx="4974">
                  <c:v>-0.30822854570886993</c:v>
                </c:pt>
                <c:pt idx="4975">
                  <c:v>-0.30822223476516786</c:v>
                </c:pt>
                <c:pt idx="4976">
                  <c:v>-0.30821362899933868</c:v>
                </c:pt>
                <c:pt idx="4977">
                  <c:v>-0.30818297261129568</c:v>
                </c:pt>
                <c:pt idx="4978">
                  <c:v>-0.30817776417907905</c:v>
                </c:pt>
                <c:pt idx="4979">
                  <c:v>-0.30745707861319083</c:v>
                </c:pt>
                <c:pt idx="4980">
                  <c:v>-0.3081494968555919</c:v>
                </c:pt>
                <c:pt idx="4981">
                  <c:v>-0.30952211477971292</c:v>
                </c:pt>
                <c:pt idx="4982">
                  <c:v>-0.30812934189288343</c:v>
                </c:pt>
                <c:pt idx="4983">
                  <c:v>-0.3067340338629343</c:v>
                </c:pt>
                <c:pt idx="4984">
                  <c:v>-0.30812568124167805</c:v>
                </c:pt>
                <c:pt idx="4985">
                  <c:v>-0.3081086642234071</c:v>
                </c:pt>
                <c:pt idx="4986">
                  <c:v>-0.30808851331262255</c:v>
                </c:pt>
                <c:pt idx="4987">
                  <c:v>-0.30807909124282506</c:v>
                </c:pt>
                <c:pt idx="4988">
                  <c:v>-0.30806338700886193</c:v>
                </c:pt>
                <c:pt idx="4989">
                  <c:v>-0.3094404474084288</c:v>
                </c:pt>
                <c:pt idx="4990">
                  <c:v>-0.30665498186137286</c:v>
                </c:pt>
                <c:pt idx="4991">
                  <c:v>-0.30802438357843487</c:v>
                </c:pt>
                <c:pt idx="4992">
                  <c:v>-0.30866183909921308</c:v>
                </c:pt>
                <c:pt idx="4993">
                  <c:v>-0.30795738131846973</c:v>
                </c:pt>
                <c:pt idx="4994">
                  <c:v>-0.30653850266778693</c:v>
                </c:pt>
                <c:pt idx="4995">
                  <c:v>-0.30932240232856179</c:v>
                </c:pt>
                <c:pt idx="4996">
                  <c:v>-0.30929855880503798</c:v>
                </c:pt>
                <c:pt idx="4997">
                  <c:v>-0.30791496852369638</c:v>
                </c:pt>
                <c:pt idx="4998">
                  <c:v>-0.30791182848479792</c:v>
                </c:pt>
                <c:pt idx="4999">
                  <c:v>-0.30789403565126727</c:v>
                </c:pt>
                <c:pt idx="5000">
                  <c:v>-0.30787833141730403</c:v>
                </c:pt>
                <c:pt idx="5001">
                  <c:v>-0.30996431066602781</c:v>
                </c:pt>
                <c:pt idx="5002">
                  <c:v>-0.30717962288575973</c:v>
                </c:pt>
                <c:pt idx="5003">
                  <c:v>-0.30786445848392086</c:v>
                </c:pt>
                <c:pt idx="5004">
                  <c:v>-0.30785477505826697</c:v>
                </c:pt>
                <c:pt idx="5005">
                  <c:v>-0.30783985684340109</c:v>
                </c:pt>
                <c:pt idx="5006">
                  <c:v>-0.30780582279440571</c:v>
                </c:pt>
                <c:pt idx="5007">
                  <c:v>-0.30780347297539612</c:v>
                </c:pt>
                <c:pt idx="5008">
                  <c:v>-0.30710632013775863</c:v>
                </c:pt>
                <c:pt idx="5009">
                  <c:v>-0.30776865905921702</c:v>
                </c:pt>
                <c:pt idx="5010">
                  <c:v>-0.30707100392819797</c:v>
                </c:pt>
                <c:pt idx="5011">
                  <c:v>-0.30775897563356325</c:v>
                </c:pt>
                <c:pt idx="5012">
                  <c:v>-0.3077479752384108</c:v>
                </c:pt>
                <c:pt idx="5013">
                  <c:v>-0.30773201174147846</c:v>
                </c:pt>
                <c:pt idx="5014">
                  <c:v>-0.30771683021113572</c:v>
                </c:pt>
                <c:pt idx="5015">
                  <c:v>-0.30631340923368344</c:v>
                </c:pt>
                <c:pt idx="5016">
                  <c:v>-0.30909755767640035</c:v>
                </c:pt>
                <c:pt idx="5017">
                  <c:v>-0.30699326511173475</c:v>
                </c:pt>
                <c:pt idx="5018">
                  <c:v>-0.30698592862685325</c:v>
                </c:pt>
                <c:pt idx="5019">
                  <c:v>-0.30696787229963018</c:v>
                </c:pt>
                <c:pt idx="5020">
                  <c:v>-0.30760585219682768</c:v>
                </c:pt>
                <c:pt idx="5021">
                  <c:v>-0.30763202782696963</c:v>
                </c:pt>
                <c:pt idx="5022">
                  <c:v>-0.30613305521093048</c:v>
                </c:pt>
                <c:pt idx="5023">
                  <c:v>-0.30752391651122823</c:v>
                </c:pt>
                <c:pt idx="5024">
                  <c:v>-0.30751160878008321</c:v>
                </c:pt>
                <c:pt idx="5025">
                  <c:v>-0.30609718977465139</c:v>
                </c:pt>
                <c:pt idx="5026">
                  <c:v>-0.30746973258813137</c:v>
                </c:pt>
                <c:pt idx="5027">
                  <c:v>-0.30814749509432604</c:v>
                </c:pt>
                <c:pt idx="5028">
                  <c:v>-0.30675479821707707</c:v>
                </c:pt>
                <c:pt idx="5029">
                  <c:v>-0.30675139876090274</c:v>
                </c:pt>
                <c:pt idx="5030">
                  <c:v>-0.30668307638002068</c:v>
                </c:pt>
                <c:pt idx="5031">
                  <c:v>-0.30528821280442597</c:v>
                </c:pt>
                <c:pt idx="5032">
                  <c:v>-0.30667967286697739</c:v>
                </c:pt>
                <c:pt idx="5033">
                  <c:v>-0.30736973890946029</c:v>
                </c:pt>
                <c:pt idx="5034">
                  <c:v>-0.30731503291603157</c:v>
                </c:pt>
                <c:pt idx="5035">
                  <c:v>-0.30730456089667835</c:v>
                </c:pt>
                <c:pt idx="5036">
                  <c:v>-0.30728231224329161</c:v>
                </c:pt>
                <c:pt idx="5037">
                  <c:v>-0.30727786733082374</c:v>
                </c:pt>
                <c:pt idx="5038">
                  <c:v>-0.30727184218297521</c:v>
                </c:pt>
                <c:pt idx="5039">
                  <c:v>-0.30723729012004852</c:v>
                </c:pt>
                <c:pt idx="5040">
                  <c:v>-0.30793050040388326</c:v>
                </c:pt>
                <c:pt idx="5041">
                  <c:v>-0.30791712090243739</c:v>
                </c:pt>
                <c:pt idx="5042">
                  <c:v>-0.30791689016281498</c:v>
                </c:pt>
                <c:pt idx="5043">
                  <c:v>-0.30652419537845332</c:v>
                </c:pt>
                <c:pt idx="5044">
                  <c:v>-0.30753750649135592</c:v>
                </c:pt>
                <c:pt idx="5045">
                  <c:v>-0.3079035394004872</c:v>
                </c:pt>
                <c:pt idx="5046">
                  <c:v>-0.30651084672839102</c:v>
                </c:pt>
                <c:pt idx="5047">
                  <c:v>-0.30718964488903955</c:v>
                </c:pt>
                <c:pt idx="5048">
                  <c:v>-0.30579041875396074</c:v>
                </c:pt>
                <c:pt idx="5049">
                  <c:v>-0.30787657503037724</c:v>
                </c:pt>
                <c:pt idx="5050">
                  <c:v>-0.30647890867831218</c:v>
                </c:pt>
                <c:pt idx="5051">
                  <c:v>-0.30646032952512159</c:v>
                </c:pt>
                <c:pt idx="5052">
                  <c:v>-0.30572026663062957</c:v>
                </c:pt>
                <c:pt idx="5053">
                  <c:v>-0.30639566751917147</c:v>
                </c:pt>
                <c:pt idx="5054">
                  <c:v>-0.30776271478903328</c:v>
                </c:pt>
                <c:pt idx="5055">
                  <c:v>-0.30633573811052839</c:v>
                </c:pt>
                <c:pt idx="5056">
                  <c:v>-0.30702972429864595</c:v>
                </c:pt>
                <c:pt idx="5057">
                  <c:v>-0.30702239472661685</c:v>
                </c:pt>
                <c:pt idx="5058">
                  <c:v>-0.30699255552683835</c:v>
                </c:pt>
                <c:pt idx="5059">
                  <c:v>-0.30693785082563851</c:v>
                </c:pt>
                <c:pt idx="5060">
                  <c:v>-0.306875287672146</c:v>
                </c:pt>
                <c:pt idx="5061">
                  <c:v>-0.30686089799489458</c:v>
                </c:pt>
                <c:pt idx="5062">
                  <c:v>-0.30614832231490829</c:v>
                </c:pt>
                <c:pt idx="5063">
                  <c:v>-0.30684309245355901</c:v>
                </c:pt>
                <c:pt idx="5064">
                  <c:v>-0.30683811903360525</c:v>
                </c:pt>
                <c:pt idx="5065">
                  <c:v>-0.30613941241478604</c:v>
                </c:pt>
                <c:pt idx="5066">
                  <c:v>-0.30752321573341301</c:v>
                </c:pt>
                <c:pt idx="5067">
                  <c:v>-0.30612947552679326</c:v>
                </c:pt>
                <c:pt idx="5068">
                  <c:v>-0.30540616880345339</c:v>
                </c:pt>
                <c:pt idx="5069">
                  <c:v>-0.30818953761840939</c:v>
                </c:pt>
                <c:pt idx="5070">
                  <c:v>-0.30540433745975559</c:v>
                </c:pt>
                <c:pt idx="5071">
                  <c:v>-0.30677975556087955</c:v>
                </c:pt>
                <c:pt idx="5072">
                  <c:v>-0.30817121563966177</c:v>
                </c:pt>
                <c:pt idx="5073">
                  <c:v>-0.30538653807132365</c:v>
                </c:pt>
                <c:pt idx="5074">
                  <c:v>-0.30606587112593753</c:v>
                </c:pt>
                <c:pt idx="5075">
                  <c:v>-0.30605906426503748</c:v>
                </c:pt>
                <c:pt idx="5076">
                  <c:v>-0.3060419681193467</c:v>
                </c:pt>
                <c:pt idx="5077">
                  <c:v>-0.3060408418740298</c:v>
                </c:pt>
                <c:pt idx="5078">
                  <c:v>-0.30602465615246088</c:v>
                </c:pt>
                <c:pt idx="5079">
                  <c:v>-0.30602081502322009</c:v>
                </c:pt>
                <c:pt idx="5080">
                  <c:v>-0.30601888632500718</c:v>
                </c:pt>
                <c:pt idx="5081">
                  <c:v>-0.30739519183758557</c:v>
                </c:pt>
                <c:pt idx="5082">
                  <c:v>-0.30461061689489422</c:v>
                </c:pt>
                <c:pt idx="5083">
                  <c:v>-0.30599901563887544</c:v>
                </c:pt>
                <c:pt idx="5084">
                  <c:v>-0.30598876215796644</c:v>
                </c:pt>
                <c:pt idx="5085">
                  <c:v>-0.3045957148615217</c:v>
                </c:pt>
                <c:pt idx="5086">
                  <c:v>-0.30598762974641458</c:v>
                </c:pt>
                <c:pt idx="5087">
                  <c:v>-0.30598026871032979</c:v>
                </c:pt>
                <c:pt idx="5088">
                  <c:v>-0.30595415192920694</c:v>
                </c:pt>
                <c:pt idx="5089">
                  <c:v>-0.30594722966082744</c:v>
                </c:pt>
                <c:pt idx="5090">
                  <c:v>-0.30594437094878169</c:v>
                </c:pt>
                <c:pt idx="5091">
                  <c:v>-0.30661818290777398</c:v>
                </c:pt>
                <c:pt idx="5092">
                  <c:v>-0.30452759933162554</c:v>
                </c:pt>
                <c:pt idx="5093">
                  <c:v>-0.30731170682808562</c:v>
                </c:pt>
                <c:pt idx="5094">
                  <c:v>-0.30591392563544029</c:v>
                </c:pt>
                <c:pt idx="5095">
                  <c:v>-0.30729439726500485</c:v>
                </c:pt>
                <c:pt idx="5096">
                  <c:v>-0.30450981110978703</c:v>
                </c:pt>
                <c:pt idx="5097">
                  <c:v>-0.30658948873246006</c:v>
                </c:pt>
                <c:pt idx="5098">
                  <c:v>-0.30587241180888503</c:v>
                </c:pt>
                <c:pt idx="5099">
                  <c:v>-0.30722067320537627</c:v>
                </c:pt>
                <c:pt idx="5100">
                  <c:v>-0.30651450093666044</c:v>
                </c:pt>
                <c:pt idx="5101">
                  <c:v>-0.3065116173066238</c:v>
                </c:pt>
                <c:pt idx="5102">
                  <c:v>-0.30649909138543685</c:v>
                </c:pt>
                <c:pt idx="5103">
                  <c:v>-0.30649671518964672</c:v>
                </c:pt>
                <c:pt idx="5104">
                  <c:v>-0.30649367027011232</c:v>
                </c:pt>
                <c:pt idx="5105">
                  <c:v>-0.30578075945870986</c:v>
                </c:pt>
                <c:pt idx="5106">
                  <c:v>-0.30715674383294855</c:v>
                </c:pt>
                <c:pt idx="5107">
                  <c:v>-0.30646001754055696</c:v>
                </c:pt>
                <c:pt idx="5108">
                  <c:v>-0.30645500513924728</c:v>
                </c:pt>
                <c:pt idx="5109">
                  <c:v>-0.30574837920626696</c:v>
                </c:pt>
                <c:pt idx="5110">
                  <c:v>-0.30643500953829883</c:v>
                </c:pt>
                <c:pt idx="5111">
                  <c:v>-0.30573732198715797</c:v>
                </c:pt>
                <c:pt idx="5112">
                  <c:v>-0.30711139263669762</c:v>
                </c:pt>
                <c:pt idx="5113">
                  <c:v>-0.30571890380792899</c:v>
                </c:pt>
                <c:pt idx="5114">
                  <c:v>-0.30640424292169721</c:v>
                </c:pt>
                <c:pt idx="5115">
                  <c:v>-0.30499701824000591</c:v>
                </c:pt>
                <c:pt idx="5116">
                  <c:v>-0.3063819760846026</c:v>
                </c:pt>
                <c:pt idx="5117">
                  <c:v>-0.3056740238333765</c:v>
                </c:pt>
                <c:pt idx="5118">
                  <c:v>-0.30566489787428119</c:v>
                </c:pt>
                <c:pt idx="5119">
                  <c:v>-0.30636001420906078</c:v>
                </c:pt>
                <c:pt idx="5120">
                  <c:v>-0.3070477657326095</c:v>
                </c:pt>
                <c:pt idx="5121">
                  <c:v>-0.30563845739157547</c:v>
                </c:pt>
                <c:pt idx="5122">
                  <c:v>-0.30633037631853566</c:v>
                </c:pt>
                <c:pt idx="5123">
                  <c:v>-0.30632748386876663</c:v>
                </c:pt>
                <c:pt idx="5124">
                  <c:v>-0.30701427045402596</c:v>
                </c:pt>
                <c:pt idx="5125">
                  <c:v>-0.30699904719376425</c:v>
                </c:pt>
                <c:pt idx="5126">
                  <c:v>-0.30768575724314906</c:v>
                </c:pt>
                <c:pt idx="5127">
                  <c:v>-0.30698720001392976</c:v>
                </c:pt>
                <c:pt idx="5128">
                  <c:v>-0.30837671370808695</c:v>
                </c:pt>
                <c:pt idx="5129">
                  <c:v>-0.30559181626322351</c:v>
                </c:pt>
                <c:pt idx="5130">
                  <c:v>-0.30836934266046012</c:v>
                </c:pt>
                <c:pt idx="5131">
                  <c:v>-0.30697324787346691</c:v>
                </c:pt>
                <c:pt idx="5132">
                  <c:v>-0.30766829777669324</c:v>
                </c:pt>
                <c:pt idx="5133">
                  <c:v>-0.30696829050946117</c:v>
                </c:pt>
                <c:pt idx="5134">
                  <c:v>-0.30695914829312176</c:v>
                </c:pt>
                <c:pt idx="5135">
                  <c:v>-0.30556442204288492</c:v>
                </c:pt>
                <c:pt idx="5136">
                  <c:v>-0.30834867079455786</c:v>
                </c:pt>
                <c:pt idx="5137">
                  <c:v>-0.30764665591434015</c:v>
                </c:pt>
                <c:pt idx="5138">
                  <c:v>-0.30694055263659703</c:v>
                </c:pt>
                <c:pt idx="5139">
                  <c:v>-0.30832318404197656</c:v>
                </c:pt>
                <c:pt idx="5140">
                  <c:v>-0.3069287017015786</c:v>
                </c:pt>
                <c:pt idx="5141">
                  <c:v>-0.30762374030273909</c:v>
                </c:pt>
                <c:pt idx="5142">
                  <c:v>-0.30642982026466647</c:v>
                </c:pt>
                <c:pt idx="5143">
                  <c:v>-0.30616947934116989</c:v>
                </c:pt>
                <c:pt idx="5144">
                  <c:v>-0.30824674070228686</c:v>
                </c:pt>
                <c:pt idx="5145">
                  <c:v>-0.30819691690014184</c:v>
                </c:pt>
                <c:pt idx="5146">
                  <c:v>-0.30680244342108609</c:v>
                </c:pt>
                <c:pt idx="5147">
                  <c:v>-0.30665855922071794</c:v>
                </c:pt>
                <c:pt idx="5148">
                  <c:v>-0.30691743258607396</c:v>
                </c:pt>
                <c:pt idx="5149">
                  <c:v>-0.26890444391824975</c:v>
                </c:pt>
                <c:pt idx="5150">
                  <c:v>-0.23951713430983071</c:v>
                </c:pt>
                <c:pt idx="5151">
                  <c:v>-0.18132294806144647</c:v>
                </c:pt>
                <c:pt idx="5152">
                  <c:v>-0.16871630237577559</c:v>
                </c:pt>
                <c:pt idx="5153">
                  <c:v>-0.14670637238105463</c:v>
                </c:pt>
                <c:pt idx="5154">
                  <c:v>-0.11361882419593003</c:v>
                </c:pt>
                <c:pt idx="5155">
                  <c:v>-9.4238853310927961E-2</c:v>
                </c:pt>
                <c:pt idx="5156">
                  <c:v>-9.1419585329577863E-2</c:v>
                </c:pt>
                <c:pt idx="5157">
                  <c:v>-1.6416538247205764E-2</c:v>
                </c:pt>
                <c:pt idx="5158">
                  <c:v>8.7544578144445329E-3</c:v>
                </c:pt>
                <c:pt idx="5159">
                  <c:v>6.9348967169596237E-2</c:v>
                </c:pt>
                <c:pt idx="5160">
                  <c:v>0.14785334495453592</c:v>
                </c:pt>
                <c:pt idx="5161">
                  <c:v>0.17185927543262089</c:v>
                </c:pt>
                <c:pt idx="5162">
                  <c:v>0.19043673217337001</c:v>
                </c:pt>
                <c:pt idx="5163">
                  <c:v>0.20843405591044403</c:v>
                </c:pt>
                <c:pt idx="5164">
                  <c:v>0.24723387283291728</c:v>
                </c:pt>
                <c:pt idx="5165">
                  <c:v>0.26172994190074383</c:v>
                </c:pt>
                <c:pt idx="5166">
                  <c:v>0.29583036635861459</c:v>
                </c:pt>
                <c:pt idx="5167">
                  <c:v>0.30259596325521609</c:v>
                </c:pt>
                <c:pt idx="5168">
                  <c:v>0.31875814412513892</c:v>
                </c:pt>
                <c:pt idx="5169">
                  <c:v>0.40392324792399059</c:v>
                </c:pt>
                <c:pt idx="5170">
                  <c:v>0.22924644220432608</c:v>
                </c:pt>
                <c:pt idx="5171">
                  <c:v>5.2679768765722862E-2</c:v>
                </c:pt>
                <c:pt idx="5172">
                  <c:v>-0.3084968846942453</c:v>
                </c:pt>
                <c:pt idx="5173">
                  <c:v>-0.30579085474327949</c:v>
                </c:pt>
                <c:pt idx="5174">
                  <c:v>-0.30407187302751748</c:v>
                </c:pt>
                <c:pt idx="5175">
                  <c:v>-0.29244008618297834</c:v>
                </c:pt>
                <c:pt idx="5176">
                  <c:v>-0.28880318521283876</c:v>
                </c:pt>
                <c:pt idx="5177">
                  <c:v>-0.27873004024709247</c:v>
                </c:pt>
                <c:pt idx="5178">
                  <c:v>-0.22815570892401366</c:v>
                </c:pt>
                <c:pt idx="5179">
                  <c:v>-0.20260362952193695</c:v>
                </c:pt>
                <c:pt idx="5180">
                  <c:v>-0.17243968187359818</c:v>
                </c:pt>
                <c:pt idx="5181">
                  <c:v>-0.13729365261164464</c:v>
                </c:pt>
                <c:pt idx="5182">
                  <c:v>-0.11543635572627739</c:v>
                </c:pt>
                <c:pt idx="5183">
                  <c:v>-0.10621500865489938</c:v>
                </c:pt>
                <c:pt idx="5184">
                  <c:v>-8.4596597115913663E-2</c:v>
                </c:pt>
                <c:pt idx="5185">
                  <c:v>-7.4180546088220695E-2</c:v>
                </c:pt>
                <c:pt idx="5186">
                  <c:v>-4.0135136843992364E-2</c:v>
                </c:pt>
                <c:pt idx="5187">
                  <c:v>-1.2745449022216443E-2</c:v>
                </c:pt>
                <c:pt idx="5188">
                  <c:v>3.0128191146162026E-2</c:v>
                </c:pt>
                <c:pt idx="5189">
                  <c:v>4.0931276318275672E-2</c:v>
                </c:pt>
                <c:pt idx="5190">
                  <c:v>4.2258358615174935E-2</c:v>
                </c:pt>
                <c:pt idx="5191">
                  <c:v>8.7195723116004514E-2</c:v>
                </c:pt>
                <c:pt idx="5192">
                  <c:v>9.3290388110151973E-2</c:v>
                </c:pt>
                <c:pt idx="5193">
                  <c:v>9.4563563811981735E-2</c:v>
                </c:pt>
                <c:pt idx="5194">
                  <c:v>0.11505951289513618</c:v>
                </c:pt>
                <c:pt idx="5195">
                  <c:v>0.143804535485164</c:v>
                </c:pt>
                <c:pt idx="5196">
                  <c:v>0.17247460045221741</c:v>
                </c:pt>
                <c:pt idx="5197">
                  <c:v>0.18327672143313745</c:v>
                </c:pt>
                <c:pt idx="5198">
                  <c:v>0.19697201496904837</c:v>
                </c:pt>
                <c:pt idx="5199">
                  <c:v>0.27129264307269063</c:v>
                </c:pt>
                <c:pt idx="5200">
                  <c:v>0.27611456288771086</c:v>
                </c:pt>
                <c:pt idx="5201">
                  <c:v>0.28394522443885861</c:v>
                </c:pt>
                <c:pt idx="5202">
                  <c:v>0.39262183563792974</c:v>
                </c:pt>
                <c:pt idx="5203">
                  <c:v>0.31525578512813435</c:v>
                </c:pt>
                <c:pt idx="5204">
                  <c:v>0.23954229898524201</c:v>
                </c:pt>
                <c:pt idx="5205">
                  <c:v>0.15901739844729715</c:v>
                </c:pt>
                <c:pt idx="5206">
                  <c:v>0.26072883527473933</c:v>
                </c:pt>
                <c:pt idx="5207">
                  <c:v>0.3447172015279919</c:v>
                </c:pt>
                <c:pt idx="5208">
                  <c:v>0.22120712359862696</c:v>
                </c:pt>
                <c:pt idx="5209">
                  <c:v>0.35276673880923592</c:v>
                </c:pt>
                <c:pt idx="5210">
                  <c:v>0.2064043343551546</c:v>
                </c:pt>
                <c:pt idx="5211">
                  <c:v>0.28479599536471045</c:v>
                </c:pt>
                <c:pt idx="5212">
                  <c:v>0.43920844367578626</c:v>
                </c:pt>
                <c:pt idx="5213">
                  <c:v>0.25269731194415801</c:v>
                </c:pt>
                <c:pt idx="5214">
                  <c:v>0.39548985219334065</c:v>
                </c:pt>
                <c:pt idx="5215">
                  <c:v>0.2393321707710406</c:v>
                </c:pt>
                <c:pt idx="5216">
                  <c:v>0.3312514961049704</c:v>
                </c:pt>
                <c:pt idx="5217">
                  <c:v>0.43168468749594202</c:v>
                </c:pt>
                <c:pt idx="5218">
                  <c:v>0.26946246369973204</c:v>
                </c:pt>
                <c:pt idx="5219">
                  <c:v>0.43880185601490329</c:v>
                </c:pt>
                <c:pt idx="5220">
                  <c:v>0.45284533061568788</c:v>
                </c:pt>
                <c:pt idx="5221">
                  <c:v>0.54325555415384841</c:v>
                </c:pt>
                <c:pt idx="5222">
                  <c:v>0.44629098989962857</c:v>
                </c:pt>
                <c:pt idx="5223">
                  <c:v>0.58298410445844806</c:v>
                </c:pt>
                <c:pt idx="5224">
                  <c:v>0.43425274506260647</c:v>
                </c:pt>
                <c:pt idx="5225">
                  <c:v>0.46220738065584599</c:v>
                </c:pt>
                <c:pt idx="5226">
                  <c:v>0.59100117749601822</c:v>
                </c:pt>
                <c:pt idx="5227">
                  <c:v>0.40542349122468502</c:v>
                </c:pt>
                <c:pt idx="5228">
                  <c:v>0.5351209037930672</c:v>
                </c:pt>
                <c:pt idx="5229">
                  <c:v>0.43209624838865346</c:v>
                </c:pt>
                <c:pt idx="5230">
                  <c:v>0.50209621206456068</c:v>
                </c:pt>
                <c:pt idx="5231">
                  <c:v>0.42192138560849157</c:v>
                </c:pt>
                <c:pt idx="5232">
                  <c:v>0.57214221819483113</c:v>
                </c:pt>
                <c:pt idx="5233">
                  <c:v>0.4481276616392762</c:v>
                </c:pt>
                <c:pt idx="5234">
                  <c:v>0.5302541104488312</c:v>
                </c:pt>
                <c:pt idx="5235">
                  <c:v>0.71320844723563237</c:v>
                </c:pt>
                <c:pt idx="5236">
                  <c:v>0.53426022611901802</c:v>
                </c:pt>
                <c:pt idx="5237">
                  <c:v>0.64849085440131693</c:v>
                </c:pt>
                <c:pt idx="5238">
                  <c:v>0.61207867291592088</c:v>
                </c:pt>
                <c:pt idx="5239">
                  <c:v>0.55744524247172933</c:v>
                </c:pt>
                <c:pt idx="5240">
                  <c:v>0.64042791045391168</c:v>
                </c:pt>
                <c:pt idx="5241">
                  <c:v>0.72130772125150133</c:v>
                </c:pt>
                <c:pt idx="5242">
                  <c:v>0.64148785685552023</c:v>
                </c:pt>
                <c:pt idx="5243">
                  <c:v>0.71467679511897997</c:v>
                </c:pt>
                <c:pt idx="5244">
                  <c:v>0.72379053032630747</c:v>
                </c:pt>
                <c:pt idx="5245">
                  <c:v>0.77596828296523201</c:v>
                </c:pt>
                <c:pt idx="5246">
                  <c:v>0.87120158597307684</c:v>
                </c:pt>
                <c:pt idx="5247">
                  <c:v>0.90385367111817017</c:v>
                </c:pt>
                <c:pt idx="5248">
                  <c:v>0.82590025450047311</c:v>
                </c:pt>
                <c:pt idx="5249">
                  <c:v>0.91491228208024789</c:v>
                </c:pt>
                <c:pt idx="5250">
                  <c:v>0.9748388981588374</c:v>
                </c:pt>
                <c:pt idx="5251">
                  <c:v>0.98713007253285723</c:v>
                </c:pt>
                <c:pt idx="5252">
                  <c:v>1.0468918494171975</c:v>
                </c:pt>
                <c:pt idx="5253">
                  <c:v>0.94751895675391584</c:v>
                </c:pt>
                <c:pt idx="5254">
                  <c:v>1.0477560087461313</c:v>
                </c:pt>
                <c:pt idx="5255">
                  <c:v>0.94185416076850481</c:v>
                </c:pt>
                <c:pt idx="5256">
                  <c:v>1.0901300129684903</c:v>
                </c:pt>
                <c:pt idx="5257">
                  <c:v>0.94411857369774599</c:v>
                </c:pt>
                <c:pt idx="5258">
                  <c:v>1.0522864577166751</c:v>
                </c:pt>
                <c:pt idx="5259">
                  <c:v>1.0768150371692511</c:v>
                </c:pt>
                <c:pt idx="5260">
                  <c:v>1.1134915023690224</c:v>
                </c:pt>
                <c:pt idx="5261">
                  <c:v>1.1419382664781594</c:v>
                </c:pt>
                <c:pt idx="5262">
                  <c:v>1.0742042268976986</c:v>
                </c:pt>
                <c:pt idx="5263">
                  <c:v>1.156476242568284</c:v>
                </c:pt>
                <c:pt idx="5264">
                  <c:v>1.0433953079163008</c:v>
                </c:pt>
                <c:pt idx="5265">
                  <c:v>1.0605190387912375</c:v>
                </c:pt>
                <c:pt idx="5266">
                  <c:v>1.1430923834810229</c:v>
                </c:pt>
                <c:pt idx="5267">
                  <c:v>1.0598304489771038</c:v>
                </c:pt>
                <c:pt idx="5268">
                  <c:v>1.1459410679807862</c:v>
                </c:pt>
                <c:pt idx="5269">
                  <c:v>1.2089363530041097</c:v>
                </c:pt>
                <c:pt idx="5270">
                  <c:v>1.1107513553886481</c:v>
                </c:pt>
                <c:pt idx="5271">
                  <c:v>1.1332421178062624</c:v>
                </c:pt>
                <c:pt idx="5272">
                  <c:v>1.2416961380762033</c:v>
                </c:pt>
                <c:pt idx="5273">
                  <c:v>1.1562715992102981</c:v>
                </c:pt>
                <c:pt idx="5274">
                  <c:v>1.6615674107930445</c:v>
                </c:pt>
                <c:pt idx="5275">
                  <c:v>1.2860681602140709</c:v>
                </c:pt>
                <c:pt idx="5276">
                  <c:v>1.4210945145483351</c:v>
                </c:pt>
                <c:pt idx="5277">
                  <c:v>1.2601158176058311</c:v>
                </c:pt>
                <c:pt idx="5278">
                  <c:v>1.4893507970557982</c:v>
                </c:pt>
                <c:pt idx="5279">
                  <c:v>1.1860708258823713</c:v>
                </c:pt>
                <c:pt idx="5280">
                  <c:v>0.95274668897459591</c:v>
                </c:pt>
                <c:pt idx="5281">
                  <c:v>0.82526940512070279</c:v>
                </c:pt>
                <c:pt idx="5282">
                  <c:v>0.64648929019711876</c:v>
                </c:pt>
                <c:pt idx="5283">
                  <c:v>0.67676676598831242</c:v>
                </c:pt>
                <c:pt idx="5284">
                  <c:v>0.67299703990226056</c:v>
                </c:pt>
                <c:pt idx="5285">
                  <c:v>0.56737882159908881</c:v>
                </c:pt>
                <c:pt idx="5286">
                  <c:v>0.43300041806651224</c:v>
                </c:pt>
                <c:pt idx="5287">
                  <c:v>0.19597401792988531</c:v>
                </c:pt>
                <c:pt idx="5288">
                  <c:v>9.783389975468279E-2</c:v>
                </c:pt>
                <c:pt idx="5289">
                  <c:v>0.18916533384215192</c:v>
                </c:pt>
                <c:pt idx="5290">
                  <c:v>6.8251541488154793E-2</c:v>
                </c:pt>
                <c:pt idx="5291">
                  <c:v>-2.1408694342717111E-2</c:v>
                </c:pt>
                <c:pt idx="5292">
                  <c:v>-0.16750238274259702</c:v>
                </c:pt>
                <c:pt idx="5293">
                  <c:v>-0.19627784326614475</c:v>
                </c:pt>
                <c:pt idx="5294">
                  <c:v>-0.13722150174708495</c:v>
                </c:pt>
                <c:pt idx="5295">
                  <c:v>-0.22697439225511842</c:v>
                </c:pt>
                <c:pt idx="5296">
                  <c:v>-0.30389288597757891</c:v>
                </c:pt>
                <c:pt idx="5297">
                  <c:v>-0.12640847235863154</c:v>
                </c:pt>
                <c:pt idx="5298">
                  <c:v>-0.23855260462786013</c:v>
                </c:pt>
                <c:pt idx="5299">
                  <c:v>-0.17394677971560649</c:v>
                </c:pt>
                <c:pt idx="5300">
                  <c:v>-0.24152353576553989</c:v>
                </c:pt>
                <c:pt idx="5301">
                  <c:v>-0.21757272407775799</c:v>
                </c:pt>
                <c:pt idx="5302">
                  <c:v>-0.16112822674988628</c:v>
                </c:pt>
                <c:pt idx="5303">
                  <c:v>-0.14937614449837291</c:v>
                </c:pt>
                <c:pt idx="5304">
                  <c:v>-0.19638795021606539</c:v>
                </c:pt>
                <c:pt idx="5305">
                  <c:v>-0.23775993335216464</c:v>
                </c:pt>
                <c:pt idx="5306">
                  <c:v>-0.15858763228082298</c:v>
                </c:pt>
                <c:pt idx="5307">
                  <c:v>-3.6404515180050195E-2</c:v>
                </c:pt>
                <c:pt idx="5308">
                  <c:v>-0.16689541110077846</c:v>
                </c:pt>
                <c:pt idx="5309">
                  <c:v>-3.3057307372277439E-2</c:v>
                </c:pt>
                <c:pt idx="5310">
                  <c:v>-0.10636656979661022</c:v>
                </c:pt>
                <c:pt idx="5311">
                  <c:v>-7.0850863077722398E-2</c:v>
                </c:pt>
                <c:pt idx="5312">
                  <c:v>-3.34227351025084E-2</c:v>
                </c:pt>
                <c:pt idx="5313">
                  <c:v>4.1721799364059231E-3</c:v>
                </c:pt>
                <c:pt idx="5314">
                  <c:v>-6.2320834780503681E-2</c:v>
                </c:pt>
                <c:pt idx="5315">
                  <c:v>2.9546903655985973E-2</c:v>
                </c:pt>
                <c:pt idx="5316">
                  <c:v>-5.2206072495644268E-2</c:v>
                </c:pt>
                <c:pt idx="5317">
                  <c:v>7.4987266761118526E-2</c:v>
                </c:pt>
                <c:pt idx="5318">
                  <c:v>-1.5523583393184076E-2</c:v>
                </c:pt>
                <c:pt idx="5319">
                  <c:v>7.9117342991905953E-2</c:v>
                </c:pt>
                <c:pt idx="5320">
                  <c:v>1.4078289186310877E-3</c:v>
                </c:pt>
                <c:pt idx="5321">
                  <c:v>0.18785996126763135</c:v>
                </c:pt>
                <c:pt idx="5322">
                  <c:v>1.1486457317749499E-3</c:v>
                </c:pt>
                <c:pt idx="5323">
                  <c:v>9.661743173258705E-2</c:v>
                </c:pt>
                <c:pt idx="5324">
                  <c:v>8.0631436131083672E-2</c:v>
                </c:pt>
                <c:pt idx="5325">
                  <c:v>1.8266602081523059E-2</c:v>
                </c:pt>
                <c:pt idx="5326">
                  <c:v>0.17903212470426064</c:v>
                </c:pt>
                <c:pt idx="5327">
                  <c:v>3.615466681909249E-2</c:v>
                </c:pt>
                <c:pt idx="5328">
                  <c:v>0.11402205316480271</c:v>
                </c:pt>
                <c:pt idx="5329">
                  <c:v>5.1633855513264798E-2</c:v>
                </c:pt>
                <c:pt idx="5330">
                  <c:v>0.17259288354483701</c:v>
                </c:pt>
                <c:pt idx="5331">
                  <c:v>8.1133585858941565E-2</c:v>
                </c:pt>
                <c:pt idx="5332">
                  <c:v>0.16786233316040797</c:v>
                </c:pt>
                <c:pt idx="5333">
                  <c:v>0.1904122343803932</c:v>
                </c:pt>
                <c:pt idx="5334">
                  <c:v>0.19426220812574777</c:v>
                </c:pt>
                <c:pt idx="5335">
                  <c:v>0.28024117228516243</c:v>
                </c:pt>
                <c:pt idx="5336">
                  <c:v>0.21442179734269748</c:v>
                </c:pt>
                <c:pt idx="5337">
                  <c:v>0.24677352288215024</c:v>
                </c:pt>
                <c:pt idx="5338">
                  <c:v>0.27751329938229186</c:v>
                </c:pt>
                <c:pt idx="5339">
                  <c:v>0.30933236290573929</c:v>
                </c:pt>
                <c:pt idx="5340">
                  <c:v>0.50056051674290558</c:v>
                </c:pt>
                <c:pt idx="5341">
                  <c:v>0.46414082271020052</c:v>
                </c:pt>
                <c:pt idx="5342">
                  <c:v>0.28851928517871739</c:v>
                </c:pt>
                <c:pt idx="5343">
                  <c:v>0.38863788588034531</c:v>
                </c:pt>
                <c:pt idx="5344">
                  <c:v>0.43851441025891258</c:v>
                </c:pt>
                <c:pt idx="5345">
                  <c:v>0.47621697470365121</c:v>
                </c:pt>
                <c:pt idx="5346">
                  <c:v>0.4612707555643033</c:v>
                </c:pt>
                <c:pt idx="5347">
                  <c:v>0.36250761932381692</c:v>
                </c:pt>
                <c:pt idx="5348">
                  <c:v>0.46607105197271637</c:v>
                </c:pt>
                <c:pt idx="5349">
                  <c:v>0.4643804909468533</c:v>
                </c:pt>
                <c:pt idx="5350">
                  <c:v>0.38769271075213563</c:v>
                </c:pt>
                <c:pt idx="5351">
                  <c:v>0.45523627999826177</c:v>
                </c:pt>
                <c:pt idx="5352">
                  <c:v>0.45380655515319657</c:v>
                </c:pt>
                <c:pt idx="5353">
                  <c:v>0.4472609727672664</c:v>
                </c:pt>
                <c:pt idx="5354">
                  <c:v>0.41314870105938029</c:v>
                </c:pt>
                <c:pt idx="5355">
                  <c:v>0.57567763306381703</c:v>
                </c:pt>
                <c:pt idx="5356">
                  <c:v>0.51348795425650995</c:v>
                </c:pt>
                <c:pt idx="5357">
                  <c:v>0.53468478268905895</c:v>
                </c:pt>
                <c:pt idx="5358">
                  <c:v>0.52444609681961374</c:v>
                </c:pt>
                <c:pt idx="5359">
                  <c:v>0.57859287377092639</c:v>
                </c:pt>
                <c:pt idx="5360">
                  <c:v>0.55689568389722088</c:v>
                </c:pt>
                <c:pt idx="5361">
                  <c:v>0.63744317306396348</c:v>
                </c:pt>
                <c:pt idx="5362">
                  <c:v>0.59916330727416922</c:v>
                </c:pt>
                <c:pt idx="5363">
                  <c:v>0.66297437649588742</c:v>
                </c:pt>
                <c:pt idx="5364">
                  <c:v>0.43409480056710381</c:v>
                </c:pt>
                <c:pt idx="5365">
                  <c:v>0.5611174599206209</c:v>
                </c:pt>
                <c:pt idx="5366">
                  <c:v>0.63583528703329273</c:v>
                </c:pt>
                <c:pt idx="5367">
                  <c:v>0.52639930788662903</c:v>
                </c:pt>
                <c:pt idx="5368">
                  <c:v>0.52863270741373725</c:v>
                </c:pt>
                <c:pt idx="5369">
                  <c:v>0.539395994180354</c:v>
                </c:pt>
                <c:pt idx="5370">
                  <c:v>0.58184144463250786</c:v>
                </c:pt>
                <c:pt idx="5371">
                  <c:v>0.5926283313941102</c:v>
                </c:pt>
                <c:pt idx="5372">
                  <c:v>0.65248731153781325</c:v>
                </c:pt>
                <c:pt idx="5373">
                  <c:v>0.45453144576374249</c:v>
                </c:pt>
                <c:pt idx="5374">
                  <c:v>0.5628180545566116</c:v>
                </c:pt>
                <c:pt idx="5375">
                  <c:v>0.62161616424886568</c:v>
                </c:pt>
                <c:pt idx="5376">
                  <c:v>0.6743928236104223</c:v>
                </c:pt>
                <c:pt idx="5377">
                  <c:v>0.64806057241012927</c:v>
                </c:pt>
                <c:pt idx="5378">
                  <c:v>0.68842873796162019</c:v>
                </c:pt>
                <c:pt idx="5379">
                  <c:v>0.67317148105777502</c:v>
                </c:pt>
                <c:pt idx="5380">
                  <c:v>0.70942673858352501</c:v>
                </c:pt>
                <c:pt idx="5381">
                  <c:v>0.69175046076904068</c:v>
                </c:pt>
                <c:pt idx="5382">
                  <c:v>0.73815651122826609</c:v>
                </c:pt>
                <c:pt idx="5383">
                  <c:v>0.70220569202217542</c:v>
                </c:pt>
                <c:pt idx="5384">
                  <c:v>0.68756818321925561</c:v>
                </c:pt>
                <c:pt idx="5385">
                  <c:v>0.62059545503778002</c:v>
                </c:pt>
                <c:pt idx="5386">
                  <c:v>0.67298201299023586</c:v>
                </c:pt>
                <c:pt idx="5387">
                  <c:v>0.67473029560237785</c:v>
                </c:pt>
                <c:pt idx="5388">
                  <c:v>0.63987899754749133</c:v>
                </c:pt>
                <c:pt idx="5389">
                  <c:v>0.66481686792752603</c:v>
                </c:pt>
                <c:pt idx="5390">
                  <c:v>0.58936793499015161</c:v>
                </c:pt>
                <c:pt idx="5391">
                  <c:v>0.67102475587922095</c:v>
                </c:pt>
                <c:pt idx="5392">
                  <c:v>0.56313293500495021</c:v>
                </c:pt>
                <c:pt idx="5393">
                  <c:v>0.73366932016638187</c:v>
                </c:pt>
                <c:pt idx="5394">
                  <c:v>0.61439388715039633</c:v>
                </c:pt>
                <c:pt idx="5395">
                  <c:v>0.67554151526703243</c:v>
                </c:pt>
                <c:pt idx="5396">
                  <c:v>0.53564119293959245</c:v>
                </c:pt>
                <c:pt idx="5397">
                  <c:v>0.81196595407377059</c:v>
                </c:pt>
                <c:pt idx="5398">
                  <c:v>0.62215722611644775</c:v>
                </c:pt>
                <c:pt idx="5399">
                  <c:v>0.64890306575721379</c:v>
                </c:pt>
                <c:pt idx="5400">
                  <c:v>0.77127647504892061</c:v>
                </c:pt>
                <c:pt idx="5401">
                  <c:v>0.71344795555298191</c:v>
                </c:pt>
                <c:pt idx="5402">
                  <c:v>0.8651857356146232</c:v>
                </c:pt>
                <c:pt idx="5403">
                  <c:v>0.6288129985537082</c:v>
                </c:pt>
                <c:pt idx="5404">
                  <c:v>0.87349349663722331</c:v>
                </c:pt>
                <c:pt idx="5405">
                  <c:v>0.50584621288331777</c:v>
                </c:pt>
                <c:pt idx="5406">
                  <c:v>0.86352576695917194</c:v>
                </c:pt>
                <c:pt idx="5407">
                  <c:v>0.56982015478539949</c:v>
                </c:pt>
                <c:pt idx="5408">
                  <c:v>0.76631699072169124</c:v>
                </c:pt>
                <c:pt idx="5409">
                  <c:v>0.68895032201921114</c:v>
                </c:pt>
                <c:pt idx="5410">
                  <c:v>0.8823212662277814</c:v>
                </c:pt>
                <c:pt idx="5411">
                  <c:v>0.5900946112511537</c:v>
                </c:pt>
                <c:pt idx="5412">
                  <c:v>0.87195983956788969</c:v>
                </c:pt>
                <c:pt idx="5413">
                  <c:v>2.1952021076346346</c:v>
                </c:pt>
                <c:pt idx="5414">
                  <c:v>3.1873337560168209</c:v>
                </c:pt>
                <c:pt idx="5415">
                  <c:v>2.4490650441893695</c:v>
                </c:pt>
                <c:pt idx="5416">
                  <c:v>-0.92882553807462698</c:v>
                </c:pt>
                <c:pt idx="5417">
                  <c:v>0.75563977330721055</c:v>
                </c:pt>
                <c:pt idx="5418">
                  <c:v>2.305456412409141</c:v>
                </c:pt>
                <c:pt idx="5419">
                  <c:v>3.1669137996789938</c:v>
                </c:pt>
                <c:pt idx="5420">
                  <c:v>1.6891073444927296</c:v>
                </c:pt>
                <c:pt idx="5421">
                  <c:v>-0.75842804119399798</c:v>
                </c:pt>
                <c:pt idx="5422">
                  <c:v>1.0669352948757038</c:v>
                </c:pt>
                <c:pt idx="5423">
                  <c:v>2.4091356016060601</c:v>
                </c:pt>
                <c:pt idx="5424">
                  <c:v>2.4198228961517718</c:v>
                </c:pt>
                <c:pt idx="5425">
                  <c:v>3.4165589839054027</c:v>
                </c:pt>
                <c:pt idx="5426">
                  <c:v>0.59794805187558231</c:v>
                </c:pt>
                <c:pt idx="5427">
                  <c:v>-0.62162930783962</c:v>
                </c:pt>
                <c:pt idx="5428">
                  <c:v>1.2840811913130212</c:v>
                </c:pt>
                <c:pt idx="5429">
                  <c:v>2.4469473511940052</c:v>
                </c:pt>
                <c:pt idx="5430">
                  <c:v>3.4214438992284588</c:v>
                </c:pt>
                <c:pt idx="5431">
                  <c:v>-0.89119943135342872</c:v>
                </c:pt>
                <c:pt idx="5432">
                  <c:v>-0.70453793126034303</c:v>
                </c:pt>
                <c:pt idx="5433">
                  <c:v>0.14951655190421373</c:v>
                </c:pt>
                <c:pt idx="5434">
                  <c:v>1.5901309120725411</c:v>
                </c:pt>
                <c:pt idx="5435">
                  <c:v>2.9675853492218582</c:v>
                </c:pt>
                <c:pt idx="5436">
                  <c:v>3.7758597583591493</c:v>
                </c:pt>
                <c:pt idx="5437">
                  <c:v>3.7820877408151095</c:v>
                </c:pt>
                <c:pt idx="5438">
                  <c:v>-1.2495108474770062</c:v>
                </c:pt>
                <c:pt idx="5439">
                  <c:v>0.39523693138652349</c:v>
                </c:pt>
                <c:pt idx="5440">
                  <c:v>1.9422007084712516</c:v>
                </c:pt>
                <c:pt idx="5441">
                  <c:v>2.0015924696652476</c:v>
                </c:pt>
                <c:pt idx="5442">
                  <c:v>3.0554250315065095</c:v>
                </c:pt>
                <c:pt idx="5443">
                  <c:v>0.32772120159303297</c:v>
                </c:pt>
                <c:pt idx="5444">
                  <c:v>-0.45362026712067594</c:v>
                </c:pt>
                <c:pt idx="5445">
                  <c:v>1.3669026016919195</c:v>
                </c:pt>
                <c:pt idx="5446">
                  <c:v>2.5500595744952137</c:v>
                </c:pt>
                <c:pt idx="5447">
                  <c:v>3.4455699716902517</c:v>
                </c:pt>
                <c:pt idx="5448">
                  <c:v>3.4523461530193296</c:v>
                </c:pt>
                <c:pt idx="5449">
                  <c:v>-1.1760037368784162</c:v>
                </c:pt>
                <c:pt idx="5450">
                  <c:v>0.31213124416980997</c:v>
                </c:pt>
                <c:pt idx="5451">
                  <c:v>1.6881575502787591</c:v>
                </c:pt>
                <c:pt idx="5452">
                  <c:v>2.9327506173586002</c:v>
                </c:pt>
                <c:pt idx="5453">
                  <c:v>2.9239420711698241</c:v>
                </c:pt>
                <c:pt idx="5454">
                  <c:v>2.9178958530582646</c:v>
                </c:pt>
                <c:pt idx="5455">
                  <c:v>-1.2682765571809205</c:v>
                </c:pt>
                <c:pt idx="5456">
                  <c:v>0.48504290508220771</c:v>
                </c:pt>
                <c:pt idx="5457">
                  <c:v>1.99951466797279</c:v>
                </c:pt>
                <c:pt idx="5458">
                  <c:v>3.124727163914466</c:v>
                </c:pt>
                <c:pt idx="5459">
                  <c:v>4.2121797106138157</c:v>
                </c:pt>
                <c:pt idx="5460">
                  <c:v>4.2199630867431228</c:v>
                </c:pt>
                <c:pt idx="5461">
                  <c:v>2.541424763877755</c:v>
                </c:pt>
                <c:pt idx="5462">
                  <c:v>-1.3853356372268049</c:v>
                </c:pt>
                <c:pt idx="5463">
                  <c:v>0.86490446232890517</c:v>
                </c:pt>
                <c:pt idx="5464">
                  <c:v>2.3599780352002551</c:v>
                </c:pt>
                <c:pt idx="5465">
                  <c:v>3.2775073946084783</c:v>
                </c:pt>
                <c:pt idx="5466">
                  <c:v>4.2731292664556735</c:v>
                </c:pt>
                <c:pt idx="5467">
                  <c:v>5.1465235868707522</c:v>
                </c:pt>
                <c:pt idx="5468">
                  <c:v>5.2192352797344901</c:v>
                </c:pt>
                <c:pt idx="5469">
                  <c:v>5.5519219322695372</c:v>
                </c:pt>
                <c:pt idx="5470">
                  <c:v>1.9024900102904851</c:v>
                </c:pt>
                <c:pt idx="5471">
                  <c:v>-0.84917560688425875</c:v>
                </c:pt>
                <c:pt idx="5472">
                  <c:v>-0.96657137677378613</c:v>
                </c:pt>
                <c:pt idx="5473">
                  <c:v>0.92727015583026351</c:v>
                </c:pt>
                <c:pt idx="5474">
                  <c:v>0.94404112390242323</c:v>
                </c:pt>
                <c:pt idx="5475">
                  <c:v>2.4226412527900871</c:v>
                </c:pt>
                <c:pt idx="5476">
                  <c:v>3.4573913419139393</c:v>
                </c:pt>
                <c:pt idx="5477">
                  <c:v>4.4701692034498182</c:v>
                </c:pt>
                <c:pt idx="5478">
                  <c:v>5.3398590538511455</c:v>
                </c:pt>
                <c:pt idx="5479">
                  <c:v>6.3055332959072548</c:v>
                </c:pt>
                <c:pt idx="5480">
                  <c:v>6.6347891016415259</c:v>
                </c:pt>
                <c:pt idx="5481">
                  <c:v>4.2546937099636901</c:v>
                </c:pt>
                <c:pt idx="5482">
                  <c:v>1.758290482259993</c:v>
                </c:pt>
                <c:pt idx="5483">
                  <c:v>5.9288864807768551</c:v>
                </c:pt>
                <c:pt idx="5484">
                  <c:v>5.9576543755813578</c:v>
                </c:pt>
                <c:pt idx="5485">
                  <c:v>5.7200918728265506</c:v>
                </c:pt>
                <c:pt idx="5486">
                  <c:v>5.9627862771010198</c:v>
                </c:pt>
                <c:pt idx="5487">
                  <c:v>5.9525934008398291</c:v>
                </c:pt>
                <c:pt idx="5488">
                  <c:v>5.8184233500786346</c:v>
                </c:pt>
                <c:pt idx="5489">
                  <c:v>5.7859459352001261</c:v>
                </c:pt>
                <c:pt idx="5490">
                  <c:v>5.9496025376628543</c:v>
                </c:pt>
                <c:pt idx="5491">
                  <c:v>6.0035740056884181</c:v>
                </c:pt>
                <c:pt idx="5492">
                  <c:v>5.958363286613757</c:v>
                </c:pt>
                <c:pt idx="5493">
                  <c:v>6.1218071053097773</c:v>
                </c:pt>
                <c:pt idx="5494">
                  <c:v>6.108129409786347</c:v>
                </c:pt>
                <c:pt idx="5495">
                  <c:v>6.068727116054947</c:v>
                </c:pt>
                <c:pt idx="5496">
                  <c:v>5.9547616473621581</c:v>
                </c:pt>
                <c:pt idx="5497">
                  <c:v>6.1282301312642034</c:v>
                </c:pt>
                <c:pt idx="5498">
                  <c:v>6.0826865263574268</c:v>
                </c:pt>
                <c:pt idx="5499">
                  <c:v>6.1029231917722324</c:v>
                </c:pt>
                <c:pt idx="5500">
                  <c:v>6.0528769133325042</c:v>
                </c:pt>
                <c:pt idx="5501">
                  <c:v>5.8596950121671494</c:v>
                </c:pt>
                <c:pt idx="5502">
                  <c:v>5.8930805844166612</c:v>
                </c:pt>
                <c:pt idx="5503">
                  <c:v>5.8973503274768957</c:v>
                </c:pt>
                <c:pt idx="5504">
                  <c:v>2.8131857664633708</c:v>
                </c:pt>
                <c:pt idx="5505">
                  <c:v>-0.946625464958886</c:v>
                </c:pt>
                <c:pt idx="5506">
                  <c:v>-0.9405950597142444</c:v>
                </c:pt>
                <c:pt idx="5507">
                  <c:v>-0.93676779084881157</c:v>
                </c:pt>
                <c:pt idx="5508">
                  <c:v>-0.66211276863534518</c:v>
                </c:pt>
                <c:pt idx="5509">
                  <c:v>-0.41878652483616763</c:v>
                </c:pt>
                <c:pt idx="5510">
                  <c:v>-0.28818106529944088</c:v>
                </c:pt>
                <c:pt idx="5511">
                  <c:v>-0.30217729154262551</c:v>
                </c:pt>
                <c:pt idx="5512">
                  <c:v>-0.3152863684915902</c:v>
                </c:pt>
                <c:pt idx="5513">
                  <c:v>-0.85174248789280915</c:v>
                </c:pt>
                <c:pt idx="5514">
                  <c:v>-0.80594596055573187</c:v>
                </c:pt>
                <c:pt idx="5515">
                  <c:v>-0.91979557895816921</c:v>
                </c:pt>
                <c:pt idx="5516">
                  <c:v>-0.69913732030388853</c:v>
                </c:pt>
                <c:pt idx="5517">
                  <c:v>-0.68481380685050508</c:v>
                </c:pt>
                <c:pt idx="5518">
                  <c:v>-0.62680844604014918</c:v>
                </c:pt>
                <c:pt idx="5519">
                  <c:v>-0.66361798169375386</c:v>
                </c:pt>
                <c:pt idx="5520">
                  <c:v>-0.62882090752815378</c:v>
                </c:pt>
                <c:pt idx="5521">
                  <c:v>-0.53614286180676352</c:v>
                </c:pt>
                <c:pt idx="5522">
                  <c:v>-0.44461455361388402</c:v>
                </c:pt>
                <c:pt idx="5523">
                  <c:v>-0.39519966224375147</c:v>
                </c:pt>
                <c:pt idx="5524">
                  <c:v>-0.43859775759085806</c:v>
                </c:pt>
                <c:pt idx="5525">
                  <c:v>-0.33045589264323816</c:v>
                </c:pt>
                <c:pt idx="5526">
                  <c:v>-0.25755135337209129</c:v>
                </c:pt>
                <c:pt idx="5527">
                  <c:v>-0.32314892871400336</c:v>
                </c:pt>
                <c:pt idx="5528">
                  <c:v>-0.27101277693649506</c:v>
                </c:pt>
                <c:pt idx="5529">
                  <c:v>-0.33031328156539486</c:v>
                </c:pt>
                <c:pt idx="5530">
                  <c:v>-0.28704786594681297</c:v>
                </c:pt>
                <c:pt idx="5531">
                  <c:v>-0.3184202394279384</c:v>
                </c:pt>
                <c:pt idx="5532">
                  <c:v>-0.26155515573005073</c:v>
                </c:pt>
                <c:pt idx="5533">
                  <c:v>-0.27172117837390031</c:v>
                </c:pt>
                <c:pt idx="5534">
                  <c:v>-0.28412442783007086</c:v>
                </c:pt>
                <c:pt idx="5535">
                  <c:v>-0.31913710260275663</c:v>
                </c:pt>
                <c:pt idx="5536">
                  <c:v>-0.28447607997104452</c:v>
                </c:pt>
                <c:pt idx="5537">
                  <c:v>-0.49931968299737373</c:v>
                </c:pt>
                <c:pt idx="5538">
                  <c:v>-1.0450888195604113</c:v>
                </c:pt>
                <c:pt idx="5539">
                  <c:v>-1.2754997148718574</c:v>
                </c:pt>
                <c:pt idx="5540">
                  <c:v>-0.79049073095215483</c:v>
                </c:pt>
                <c:pt idx="5541">
                  <c:v>-0.43325114607756865</c:v>
                </c:pt>
                <c:pt idx="5542">
                  <c:v>-0.41574295441377929</c:v>
                </c:pt>
                <c:pt idx="5543">
                  <c:v>-0.59214089112097801</c:v>
                </c:pt>
                <c:pt idx="5544">
                  <c:v>-0.74790039561427257</c:v>
                </c:pt>
                <c:pt idx="5545">
                  <c:v>-1.0456396450443914</c:v>
                </c:pt>
                <c:pt idx="5546">
                  <c:v>-1.6981541503073072</c:v>
                </c:pt>
                <c:pt idx="5547">
                  <c:v>-1.7906733531746144</c:v>
                </c:pt>
                <c:pt idx="5548">
                  <c:v>-2.0227122334254504</c:v>
                </c:pt>
                <c:pt idx="5549">
                  <c:v>-2.1639370272497396</c:v>
                </c:pt>
                <c:pt idx="5550">
                  <c:v>-2.2028134540518316</c:v>
                </c:pt>
                <c:pt idx="5551">
                  <c:v>-2.5504618952926745</c:v>
                </c:pt>
                <c:pt idx="5552">
                  <c:v>-2.9331064005652188</c:v>
                </c:pt>
                <c:pt idx="5553">
                  <c:v>-2.9129349995299458</c:v>
                </c:pt>
                <c:pt idx="5554">
                  <c:v>-2.8920869380353733</c:v>
                </c:pt>
                <c:pt idx="5555">
                  <c:v>-2.3018145526125116</c:v>
                </c:pt>
                <c:pt idx="5556">
                  <c:v>-1.9353194298154137</c:v>
                </c:pt>
                <c:pt idx="5557">
                  <c:v>-2.000206442373202</c:v>
                </c:pt>
                <c:pt idx="5558">
                  <c:v>-2.1880357858409849</c:v>
                </c:pt>
                <c:pt idx="5559">
                  <c:v>-1.2935302091834426</c:v>
                </c:pt>
                <c:pt idx="5560">
                  <c:v>-0.91212844191617581</c:v>
                </c:pt>
                <c:pt idx="5561">
                  <c:v>-1.0334190819916276</c:v>
                </c:pt>
                <c:pt idx="5562">
                  <c:v>-1.3458017964696332</c:v>
                </c:pt>
                <c:pt idx="5563">
                  <c:v>-1.5698195176514762</c:v>
                </c:pt>
                <c:pt idx="5564">
                  <c:v>-1.9942900971926916</c:v>
                </c:pt>
                <c:pt idx="5565">
                  <c:v>-2.1918595489662542</c:v>
                </c:pt>
                <c:pt idx="5566">
                  <c:v>-2.6678124061748187</c:v>
                </c:pt>
                <c:pt idx="5567">
                  <c:v>-2.952673550188551</c:v>
                </c:pt>
                <c:pt idx="5568">
                  <c:v>-2.8507570505428292</c:v>
                </c:pt>
                <c:pt idx="5569">
                  <c:v>-2.8061848429538556</c:v>
                </c:pt>
                <c:pt idx="5570">
                  <c:v>-2.7231341453131677</c:v>
                </c:pt>
                <c:pt idx="5571">
                  <c:v>-2.7187984212676013</c:v>
                </c:pt>
                <c:pt idx="5572">
                  <c:v>-2.2166384733134086</c:v>
                </c:pt>
                <c:pt idx="5573">
                  <c:v>-1.5639971237585004</c:v>
                </c:pt>
                <c:pt idx="5574">
                  <c:v>-1.2707333280697806</c:v>
                </c:pt>
                <c:pt idx="5575">
                  <c:v>-0.76259153077801678</c:v>
                </c:pt>
                <c:pt idx="5576">
                  <c:v>-0.65775495132680872</c:v>
                </c:pt>
                <c:pt idx="5577">
                  <c:v>-0.72952378878969693</c:v>
                </c:pt>
                <c:pt idx="5578">
                  <c:v>-0.92428338761812945</c:v>
                </c:pt>
                <c:pt idx="5579">
                  <c:v>-1.0071567831914967</c:v>
                </c:pt>
                <c:pt idx="5580">
                  <c:v>-0.88184318828586716</c:v>
                </c:pt>
                <c:pt idx="5581">
                  <c:v>-0.93508744506392316</c:v>
                </c:pt>
                <c:pt idx="5582">
                  <c:v>-0.83584624926269957</c:v>
                </c:pt>
                <c:pt idx="5583">
                  <c:v>-0.71113106146005822</c:v>
                </c:pt>
                <c:pt idx="5584">
                  <c:v>-0.82131092773388603</c:v>
                </c:pt>
                <c:pt idx="5585">
                  <c:v>-1.1814406331470855</c:v>
                </c:pt>
                <c:pt idx="5586">
                  <c:v>-1.5543217076721629</c:v>
                </c:pt>
                <c:pt idx="5587">
                  <c:v>-2.1434701397514915</c:v>
                </c:pt>
                <c:pt idx="5588">
                  <c:v>-2.9289726501742681</c:v>
                </c:pt>
                <c:pt idx="5589">
                  <c:v>-2.9549574631985216</c:v>
                </c:pt>
                <c:pt idx="5590">
                  <c:v>-2.997530405263733</c:v>
                </c:pt>
                <c:pt idx="5591">
                  <c:v>-2.9546506328205533</c:v>
                </c:pt>
                <c:pt idx="5592">
                  <c:v>-2.9544675903855491</c:v>
                </c:pt>
                <c:pt idx="5593">
                  <c:v>-2.6159791655368583</c:v>
                </c:pt>
                <c:pt idx="5594">
                  <c:v>-2.2080363460465997</c:v>
                </c:pt>
                <c:pt idx="5595">
                  <c:v>-1.5957890389681619</c:v>
                </c:pt>
                <c:pt idx="5596">
                  <c:v>-1.2497064076501698</c:v>
                </c:pt>
                <c:pt idx="5597">
                  <c:v>-0.93132467155256304</c:v>
                </c:pt>
                <c:pt idx="5598">
                  <c:v>-0.5583842037643244</c:v>
                </c:pt>
                <c:pt idx="5599">
                  <c:v>-0.36460765132253936</c:v>
                </c:pt>
                <c:pt idx="5600">
                  <c:v>-0.30349051257320914</c:v>
                </c:pt>
                <c:pt idx="5601">
                  <c:v>-0.32624353121111904</c:v>
                </c:pt>
                <c:pt idx="5602">
                  <c:v>-0.30820204821676744</c:v>
                </c:pt>
                <c:pt idx="5603">
                  <c:v>-0.2960281149696492</c:v>
                </c:pt>
                <c:pt idx="5604">
                  <c:v>-0.30476935353326473</c:v>
                </c:pt>
                <c:pt idx="5605">
                  <c:v>-0.35428241290246842</c:v>
                </c:pt>
                <c:pt idx="5606">
                  <c:v>-0.62163534974359569</c:v>
                </c:pt>
                <c:pt idx="5607">
                  <c:v>-1.0202310244924142</c:v>
                </c:pt>
                <c:pt idx="5608">
                  <c:v>-1.216232372453973</c:v>
                </c:pt>
                <c:pt idx="5609">
                  <c:v>-1.7017421221689708</c:v>
                </c:pt>
                <c:pt idx="5610">
                  <c:v>-1.8064100241205077</c:v>
                </c:pt>
                <c:pt idx="5611">
                  <c:v>-2.073254843150885</c:v>
                </c:pt>
                <c:pt idx="5612">
                  <c:v>-2.2349057623060213</c:v>
                </c:pt>
                <c:pt idx="5613">
                  <c:v>-2.733135230857513</c:v>
                </c:pt>
                <c:pt idx="5614">
                  <c:v>-2.9073952959766696</c:v>
                </c:pt>
                <c:pt idx="5615">
                  <c:v>-2.9546671416746157</c:v>
                </c:pt>
                <c:pt idx="5616">
                  <c:v>-2.8331389892347696</c:v>
                </c:pt>
                <c:pt idx="5617">
                  <c:v>-2.5721293082770873</c:v>
                </c:pt>
                <c:pt idx="5618">
                  <c:v>-2.3138606301973574</c:v>
                </c:pt>
                <c:pt idx="5619">
                  <c:v>-2.396215326303389</c:v>
                </c:pt>
                <c:pt idx="5620">
                  <c:v>-2.2002239034827404</c:v>
                </c:pt>
                <c:pt idx="5621">
                  <c:v>-2.1476810449604566</c:v>
                </c:pt>
                <c:pt idx="5622">
                  <c:v>-1.8574373901793764</c:v>
                </c:pt>
                <c:pt idx="5623">
                  <c:v>-1.646148513659307</c:v>
                </c:pt>
                <c:pt idx="5624">
                  <c:v>-1.6014029797084239</c:v>
                </c:pt>
                <c:pt idx="5625">
                  <c:v>-1.914127687255236</c:v>
                </c:pt>
                <c:pt idx="5626">
                  <c:v>-2.0593029043086224</c:v>
                </c:pt>
                <c:pt idx="5627">
                  <c:v>-2.3257230607720452</c:v>
                </c:pt>
                <c:pt idx="5628">
                  <c:v>-2.4437786990774559</c:v>
                </c:pt>
                <c:pt idx="5629">
                  <c:v>-2.6710063848027312</c:v>
                </c:pt>
                <c:pt idx="5630">
                  <c:v>-2.8719050185341066</c:v>
                </c:pt>
                <c:pt idx="5631">
                  <c:v>-2.9298723203433239</c:v>
                </c:pt>
                <c:pt idx="5632">
                  <c:v>-2.9552238883831459</c:v>
                </c:pt>
                <c:pt idx="5633">
                  <c:v>-2.9113094214476294</c:v>
                </c:pt>
                <c:pt idx="5634">
                  <c:v>-2.9092659937039791</c:v>
                </c:pt>
                <c:pt idx="5635">
                  <c:v>-2.8999626030976469</c:v>
                </c:pt>
                <c:pt idx="5636">
                  <c:v>-2.52939189931213</c:v>
                </c:pt>
                <c:pt idx="5637">
                  <c:v>-2.4308353729043626</c:v>
                </c:pt>
                <c:pt idx="5638">
                  <c:v>-1.9164019962970567</c:v>
                </c:pt>
                <c:pt idx="5639">
                  <c:v>-0.93334229737908492</c:v>
                </c:pt>
                <c:pt idx="5640">
                  <c:v>-0.32688456399724097</c:v>
                </c:pt>
                <c:pt idx="5641">
                  <c:v>-0.32570953420148685</c:v>
                </c:pt>
                <c:pt idx="5642">
                  <c:v>-0.33177210903674625</c:v>
                </c:pt>
                <c:pt idx="5643">
                  <c:v>-0.33949402831301545</c:v>
                </c:pt>
                <c:pt idx="5644">
                  <c:v>-0.36835606541109289</c:v>
                </c:pt>
                <c:pt idx="5645">
                  <c:v>-0.31476863810628242</c:v>
                </c:pt>
                <c:pt idx="5646">
                  <c:v>-0.33550529548274788</c:v>
                </c:pt>
                <c:pt idx="5647">
                  <c:v>-0.37779040037875689</c:v>
                </c:pt>
                <c:pt idx="5648">
                  <c:v>-0.39272684510135047</c:v>
                </c:pt>
                <c:pt idx="5649">
                  <c:v>-0.35628242562735568</c:v>
                </c:pt>
                <c:pt idx="5650">
                  <c:v>-0.33911414962349173</c:v>
                </c:pt>
                <c:pt idx="5651">
                  <c:v>-0.30112464573319275</c:v>
                </c:pt>
                <c:pt idx="5652">
                  <c:v>-0.38961032361990877</c:v>
                </c:pt>
                <c:pt idx="5653">
                  <c:v>-0.35446274210367767</c:v>
                </c:pt>
                <c:pt idx="5654">
                  <c:v>-0.36013288621824391</c:v>
                </c:pt>
                <c:pt idx="5655">
                  <c:v>-0.7718142907573371</c:v>
                </c:pt>
                <c:pt idx="5656">
                  <c:v>-0.82767071007918225</c:v>
                </c:pt>
                <c:pt idx="5657">
                  <c:v>-1.0620316939260019</c:v>
                </c:pt>
                <c:pt idx="5658">
                  <c:v>-1.2700009826478207</c:v>
                </c:pt>
                <c:pt idx="5659">
                  <c:v>-1.3113445867146505</c:v>
                </c:pt>
                <c:pt idx="5660">
                  <c:v>-1.4473284645615072</c:v>
                </c:pt>
                <c:pt idx="5661">
                  <c:v>-1.8052938182923466</c:v>
                </c:pt>
                <c:pt idx="5662">
                  <c:v>-1.969662185504911</c:v>
                </c:pt>
                <c:pt idx="5663">
                  <c:v>-2.2325295645115752</c:v>
                </c:pt>
                <c:pt idx="5664">
                  <c:v>-2.1908715146409041</c:v>
                </c:pt>
                <c:pt idx="5665">
                  <c:v>-1.7862383625418805</c:v>
                </c:pt>
                <c:pt idx="5666">
                  <c:v>-1.5307761027109974</c:v>
                </c:pt>
                <c:pt idx="5667">
                  <c:v>-1.1571254436424092</c:v>
                </c:pt>
                <c:pt idx="5668">
                  <c:v>-0.60203410624106457</c:v>
                </c:pt>
                <c:pt idx="5669">
                  <c:v>-0.29954224638245897</c:v>
                </c:pt>
                <c:pt idx="5670">
                  <c:v>-0.58990910972755661</c:v>
                </c:pt>
                <c:pt idx="5671">
                  <c:v>-0.75885032679677666</c:v>
                </c:pt>
                <c:pt idx="5672">
                  <c:v>-1.4809981706605746</c:v>
                </c:pt>
                <c:pt idx="5673">
                  <c:v>-1.913599573188669</c:v>
                </c:pt>
                <c:pt idx="5674">
                  <c:v>-2.5656233956946708</c:v>
                </c:pt>
                <c:pt idx="5675">
                  <c:v>-2.9086503189121773</c:v>
                </c:pt>
                <c:pt idx="5676">
                  <c:v>-2.9460368838115008</c:v>
                </c:pt>
                <c:pt idx="5677">
                  <c:v>-2.897482830182339</c:v>
                </c:pt>
                <c:pt idx="5678">
                  <c:v>-2.7400491188802714</c:v>
                </c:pt>
                <c:pt idx="5679">
                  <c:v>-2.7105727568272511</c:v>
                </c:pt>
                <c:pt idx="5680">
                  <c:v>-2.5328676125395795</c:v>
                </c:pt>
                <c:pt idx="5681">
                  <c:v>-2.1267300771259405</c:v>
                </c:pt>
                <c:pt idx="5682">
                  <c:v>-1.7226745935552574</c:v>
                </c:pt>
                <c:pt idx="5683">
                  <c:v>-1.5056032610596102</c:v>
                </c:pt>
                <c:pt idx="5684">
                  <c:v>-1.345875879241335</c:v>
                </c:pt>
                <c:pt idx="5685">
                  <c:v>-1.1215913075378292</c:v>
                </c:pt>
                <c:pt idx="5686">
                  <c:v>-0.72453215895890344</c:v>
                </c:pt>
                <c:pt idx="5687">
                  <c:v>-0.51972019759071175</c:v>
                </c:pt>
                <c:pt idx="5688">
                  <c:v>-0.47171133187292602</c:v>
                </c:pt>
                <c:pt idx="5689">
                  <c:v>-0.31883641181976585</c:v>
                </c:pt>
                <c:pt idx="5690">
                  <c:v>-0.31629058184529713</c:v>
                </c:pt>
                <c:pt idx="5691">
                  <c:v>-0.31236875396787056</c:v>
                </c:pt>
                <c:pt idx="5692">
                  <c:v>-0.37683497566840829</c:v>
                </c:pt>
                <c:pt idx="5693">
                  <c:v>-0.30294527109636771</c:v>
                </c:pt>
                <c:pt idx="5694">
                  <c:v>-0.32136798952451651</c:v>
                </c:pt>
                <c:pt idx="5695">
                  <c:v>-0.35947572106856163</c:v>
                </c:pt>
                <c:pt idx="5696">
                  <c:v>-0.31336449607112449</c:v>
                </c:pt>
                <c:pt idx="5697">
                  <c:v>-0.3051385335450475</c:v>
                </c:pt>
                <c:pt idx="5698">
                  <c:v>-0.30636095686341458</c:v>
                </c:pt>
                <c:pt idx="5699">
                  <c:v>-0.59937984343725603</c:v>
                </c:pt>
                <c:pt idx="5700">
                  <c:v>-0.68769832233105554</c:v>
                </c:pt>
                <c:pt idx="5701">
                  <c:v>-0.81153056537692192</c:v>
                </c:pt>
                <c:pt idx="5702">
                  <c:v>-1.3921960477093938</c:v>
                </c:pt>
                <c:pt idx="5703">
                  <c:v>-1.7472384748443328</c:v>
                </c:pt>
                <c:pt idx="5704">
                  <c:v>-1.7888242158379482</c:v>
                </c:pt>
                <c:pt idx="5705">
                  <c:v>-1.6832193176847183</c:v>
                </c:pt>
                <c:pt idx="5706">
                  <c:v>-1.4644585013581053</c:v>
                </c:pt>
                <c:pt idx="5707">
                  <c:v>-1.4220154463022456</c:v>
                </c:pt>
                <c:pt idx="5708">
                  <c:v>-1.5987126338797224</c:v>
                </c:pt>
                <c:pt idx="5709">
                  <c:v>-2.0110600012560824</c:v>
                </c:pt>
                <c:pt idx="5710">
                  <c:v>-2.0806097158698029</c:v>
                </c:pt>
                <c:pt idx="5711">
                  <c:v>-2.4646897710288034</c:v>
                </c:pt>
                <c:pt idx="5712">
                  <c:v>-2.9446427956255619</c:v>
                </c:pt>
                <c:pt idx="5713">
                  <c:v>-2.7014907350590063</c:v>
                </c:pt>
                <c:pt idx="5714">
                  <c:v>-1.4609323415750162</c:v>
                </c:pt>
                <c:pt idx="5715">
                  <c:v>-1.2727347710177577</c:v>
                </c:pt>
                <c:pt idx="5716">
                  <c:v>-0.98480090117739694</c:v>
                </c:pt>
                <c:pt idx="5717">
                  <c:v>-0.78271024732272221</c:v>
                </c:pt>
                <c:pt idx="5718">
                  <c:v>-0.58305442134719432</c:v>
                </c:pt>
                <c:pt idx="5719">
                  <c:v>-0.60365139123839617</c:v>
                </c:pt>
                <c:pt idx="5720">
                  <c:v>-0.92693912986331339</c:v>
                </c:pt>
                <c:pt idx="5721">
                  <c:v>-1.0562415369577525</c:v>
                </c:pt>
                <c:pt idx="5722">
                  <c:v>-1.1570705649685782</c:v>
                </c:pt>
                <c:pt idx="5723">
                  <c:v>-0.98787354532533866</c:v>
                </c:pt>
                <c:pt idx="5724">
                  <c:v>-1.0939259268429233</c:v>
                </c:pt>
                <c:pt idx="5725">
                  <c:v>-0.98078928524401154</c:v>
                </c:pt>
                <c:pt idx="5726">
                  <c:v>-0.92174059550561516</c:v>
                </c:pt>
                <c:pt idx="5727">
                  <c:v>-1.1150326212408912</c:v>
                </c:pt>
                <c:pt idx="5728">
                  <c:v>-1.4140876149602022</c:v>
                </c:pt>
                <c:pt idx="5729">
                  <c:v>-1.7575929832268784</c:v>
                </c:pt>
                <c:pt idx="5730">
                  <c:v>-1.9576420290905878</c:v>
                </c:pt>
                <c:pt idx="5731">
                  <c:v>-2.2037226058061563</c:v>
                </c:pt>
                <c:pt idx="5732">
                  <c:v>-2.4470907517999549</c:v>
                </c:pt>
                <c:pt idx="5733">
                  <c:v>-2.9183908945442276</c:v>
                </c:pt>
                <c:pt idx="5734">
                  <c:v>-2.9653958301676058</c:v>
                </c:pt>
                <c:pt idx="5735">
                  <c:v>-2.9363497227474147</c:v>
                </c:pt>
                <c:pt idx="5736">
                  <c:v>-2.3510150938267742</c:v>
                </c:pt>
                <c:pt idx="5737">
                  <c:v>-1.5926665408502665</c:v>
                </c:pt>
                <c:pt idx="5738">
                  <c:v>-0.40072063344645414</c:v>
                </c:pt>
                <c:pt idx="5739">
                  <c:v>-0.34212083160923668</c:v>
                </c:pt>
                <c:pt idx="5740">
                  <c:v>-0.30870885156784855</c:v>
                </c:pt>
                <c:pt idx="5741">
                  <c:v>-0.35819728653177485</c:v>
                </c:pt>
                <c:pt idx="5742">
                  <c:v>-0.33018597502123004</c:v>
                </c:pt>
                <c:pt idx="5743">
                  <c:v>-0.32398661692060238</c:v>
                </c:pt>
                <c:pt idx="5744">
                  <c:v>-0.31891002279195702</c:v>
                </c:pt>
                <c:pt idx="5745">
                  <c:v>-0.31254835619591914</c:v>
                </c:pt>
                <c:pt idx="5746">
                  <c:v>-0.76631514493820185</c:v>
                </c:pt>
                <c:pt idx="5747">
                  <c:v>-1.2859997180619229</c:v>
                </c:pt>
                <c:pt idx="5748">
                  <c:v>-1.4907897076760179</c:v>
                </c:pt>
                <c:pt idx="5749">
                  <c:v>-1.9848285436511539</c:v>
                </c:pt>
                <c:pt idx="5750">
                  <c:v>-2.206604539608461</c:v>
                </c:pt>
                <c:pt idx="5751">
                  <c:v>-1.9284694833811011</c:v>
                </c:pt>
                <c:pt idx="5752">
                  <c:v>-2.1727442033348416</c:v>
                </c:pt>
                <c:pt idx="5753">
                  <c:v>-2.0305908141310929</c:v>
                </c:pt>
                <c:pt idx="5754">
                  <c:v>-2.0070356478523323</c:v>
                </c:pt>
                <c:pt idx="5755">
                  <c:v>-2.1212172712649373</c:v>
                </c:pt>
                <c:pt idx="5756">
                  <c:v>-2.0387332975917531</c:v>
                </c:pt>
                <c:pt idx="5757">
                  <c:v>-2.0979606470501264</c:v>
                </c:pt>
                <c:pt idx="5758">
                  <c:v>-1.992650541661191</c:v>
                </c:pt>
                <c:pt idx="5759">
                  <c:v>-1.8818156167685105</c:v>
                </c:pt>
                <c:pt idx="5760">
                  <c:v>-1.9222855158049497</c:v>
                </c:pt>
                <c:pt idx="5761">
                  <c:v>-2.4695757887695065</c:v>
                </c:pt>
                <c:pt idx="5762">
                  <c:v>-2.6209726357966479</c:v>
                </c:pt>
                <c:pt idx="5763">
                  <c:v>-2.6034726068576299</c:v>
                </c:pt>
                <c:pt idx="5764">
                  <c:v>-2.374250894503275</c:v>
                </c:pt>
                <c:pt idx="5765">
                  <c:v>-2.2560160802787448</c:v>
                </c:pt>
                <c:pt idx="5766">
                  <c:v>-1.8591837152913231</c:v>
                </c:pt>
                <c:pt idx="5767">
                  <c:v>-1.8506290628569433</c:v>
                </c:pt>
                <c:pt idx="5768">
                  <c:v>-1.4727083363692202</c:v>
                </c:pt>
                <c:pt idx="5769">
                  <c:v>-1.6517641116478687</c:v>
                </c:pt>
                <c:pt idx="5770">
                  <c:v>-1.3451962186629338</c:v>
                </c:pt>
                <c:pt idx="5771">
                  <c:v>-1.1408428795599337</c:v>
                </c:pt>
                <c:pt idx="5772">
                  <c:v>-1.2700646770776529</c:v>
                </c:pt>
                <c:pt idx="5773">
                  <c:v>-1.0873981008253861</c:v>
                </c:pt>
                <c:pt idx="5774">
                  <c:v>-1.3506415138364032</c:v>
                </c:pt>
                <c:pt idx="5775">
                  <c:v>-1.5417901244782042</c:v>
                </c:pt>
                <c:pt idx="5776">
                  <c:v>-1.8489175069208945</c:v>
                </c:pt>
                <c:pt idx="5777">
                  <c:v>-1.9372745032979906</c:v>
                </c:pt>
                <c:pt idx="5778">
                  <c:v>-1.8982354785724844</c:v>
                </c:pt>
                <c:pt idx="5779">
                  <c:v>-1.20761407359617</c:v>
                </c:pt>
                <c:pt idx="5780">
                  <c:v>-1.0045097410619486</c:v>
                </c:pt>
                <c:pt idx="5781">
                  <c:v>-0.62047570346364245</c:v>
                </c:pt>
                <c:pt idx="5782">
                  <c:v>-0.3196740769602443</c:v>
                </c:pt>
                <c:pt idx="5783">
                  <c:v>-0.53353661815761888</c:v>
                </c:pt>
                <c:pt idx="5784">
                  <c:v>-0.60654477955580244</c:v>
                </c:pt>
                <c:pt idx="5785">
                  <c:v>-0.85488735111990155</c:v>
                </c:pt>
                <c:pt idx="5786">
                  <c:v>-0.70502266398464208</c:v>
                </c:pt>
                <c:pt idx="5787">
                  <c:v>-0.42419194429290308</c:v>
                </c:pt>
                <c:pt idx="5788">
                  <c:v>-0.40204323579210299</c:v>
                </c:pt>
                <c:pt idx="5789">
                  <c:v>-0.31127146026256469</c:v>
                </c:pt>
                <c:pt idx="5790">
                  <c:v>-0.30660415435882393</c:v>
                </c:pt>
                <c:pt idx="5791">
                  <c:v>-0.36883456199404407</c:v>
                </c:pt>
                <c:pt idx="5792">
                  <c:v>-0.30831697097003541</c:v>
                </c:pt>
                <c:pt idx="5793">
                  <c:v>-0.30999976434032717</c:v>
                </c:pt>
                <c:pt idx="5794">
                  <c:v>-0.33852753352873721</c:v>
                </c:pt>
                <c:pt idx="5795">
                  <c:v>-0.33462245331697182</c:v>
                </c:pt>
                <c:pt idx="5796">
                  <c:v>-0.30565297635267741</c:v>
                </c:pt>
                <c:pt idx="5797">
                  <c:v>-0.33373752784343536</c:v>
                </c:pt>
                <c:pt idx="5798">
                  <c:v>-0.29324689988160979</c:v>
                </c:pt>
                <c:pt idx="5799">
                  <c:v>-0.3008896034405435</c:v>
                </c:pt>
                <c:pt idx="5800">
                  <c:v>-0.5700612690181962</c:v>
                </c:pt>
                <c:pt idx="5801">
                  <c:v>-1.0711846418356903</c:v>
                </c:pt>
                <c:pt idx="5802">
                  <c:v>-1.8433546625172978</c:v>
                </c:pt>
                <c:pt idx="5803">
                  <c:v>-2.2111304597384436</c:v>
                </c:pt>
                <c:pt idx="5804">
                  <c:v>-2.4973887168229894</c:v>
                </c:pt>
                <c:pt idx="5805">
                  <c:v>-2.9561943651686855</c:v>
                </c:pt>
                <c:pt idx="5806">
                  <c:v>-2.9593964704798017</c:v>
                </c:pt>
                <c:pt idx="5807">
                  <c:v>-2.9210738484392387</c:v>
                </c:pt>
                <c:pt idx="5808">
                  <c:v>-2.9100798117676852</c:v>
                </c:pt>
                <c:pt idx="5809">
                  <c:v>-2.6374477072623206</c:v>
                </c:pt>
                <c:pt idx="5810">
                  <c:v>-2.4884630391195781</c:v>
                </c:pt>
                <c:pt idx="5811">
                  <c:v>-2.4729324467972384</c:v>
                </c:pt>
                <c:pt idx="5812">
                  <c:v>-2.8000693695883365</c:v>
                </c:pt>
                <c:pt idx="5813">
                  <c:v>-2.6418911393371181</c:v>
                </c:pt>
                <c:pt idx="5814">
                  <c:v>-2.6445922120032312</c:v>
                </c:pt>
                <c:pt idx="5815">
                  <c:v>-2.8678890702386957</c:v>
                </c:pt>
                <c:pt idx="5816">
                  <c:v>-2.9436736292582246</c:v>
                </c:pt>
                <c:pt idx="5817">
                  <c:v>-2.8943971131536426</c:v>
                </c:pt>
                <c:pt idx="5818">
                  <c:v>-2.8881942024874134</c:v>
                </c:pt>
                <c:pt idx="5819">
                  <c:v>-2.7404105282597566</c:v>
                </c:pt>
                <c:pt idx="5820">
                  <c:v>-1.7488731526132173</c:v>
                </c:pt>
                <c:pt idx="5821">
                  <c:v>-1.2793576729189313</c:v>
                </c:pt>
                <c:pt idx="5822">
                  <c:v>-1.1681293786213662</c:v>
                </c:pt>
                <c:pt idx="5823">
                  <c:v>-1.048674947489415</c:v>
                </c:pt>
                <c:pt idx="5824">
                  <c:v>-1.0278001327701303</c:v>
                </c:pt>
                <c:pt idx="5825">
                  <c:v>-0.39462481453297393</c:v>
                </c:pt>
                <c:pt idx="5826">
                  <c:v>-0.39104682389142065</c:v>
                </c:pt>
                <c:pt idx="5827">
                  <c:v>-0.31976588584808563</c:v>
                </c:pt>
                <c:pt idx="5828">
                  <c:v>-0.32667047618997935</c:v>
                </c:pt>
                <c:pt idx="5829">
                  <c:v>-0.28063379421559731</c:v>
                </c:pt>
                <c:pt idx="5830">
                  <c:v>-0.31907070738659016</c:v>
                </c:pt>
                <c:pt idx="5831">
                  <c:v>-0.3095365331768456</c:v>
                </c:pt>
                <c:pt idx="5832">
                  <c:v>-0.50181577351852946</c:v>
                </c:pt>
                <c:pt idx="5833">
                  <c:v>-0.72606687456645458</c:v>
                </c:pt>
                <c:pt idx="5834">
                  <c:v>-0.79661888350378229</c:v>
                </c:pt>
                <c:pt idx="5835">
                  <c:v>-0.62257756126904085</c:v>
                </c:pt>
                <c:pt idx="5836">
                  <c:v>-0.46877871255192127</c:v>
                </c:pt>
                <c:pt idx="5837">
                  <c:v>-0.77908820345191721</c:v>
                </c:pt>
                <c:pt idx="5838">
                  <c:v>-1.078439885424411</c:v>
                </c:pt>
                <c:pt idx="5839">
                  <c:v>-1.2604503376029734</c:v>
                </c:pt>
                <c:pt idx="5840">
                  <c:v>-1.3628075259295378</c:v>
                </c:pt>
                <c:pt idx="5841">
                  <c:v>-1.6137642635895075</c:v>
                </c:pt>
                <c:pt idx="5842">
                  <c:v>-1.5726310791702729</c:v>
                </c:pt>
                <c:pt idx="5843">
                  <c:v>-1.7549985847666334</c:v>
                </c:pt>
                <c:pt idx="5844">
                  <c:v>-2.0183050728400276</c:v>
                </c:pt>
                <c:pt idx="5845">
                  <c:v>-2.1877362934281992</c:v>
                </c:pt>
                <c:pt idx="5846">
                  <c:v>-2.9477151319108836</c:v>
                </c:pt>
                <c:pt idx="5847">
                  <c:v>-2.9254735095493674</c:v>
                </c:pt>
                <c:pt idx="5848">
                  <c:v>-2.9056769330624101</c:v>
                </c:pt>
                <c:pt idx="5849">
                  <c:v>-2.8939567580813126</c:v>
                </c:pt>
                <c:pt idx="5850">
                  <c:v>-2.5154778262729778</c:v>
                </c:pt>
                <c:pt idx="5851">
                  <c:v>-1.5794692699174355</c:v>
                </c:pt>
                <c:pt idx="5852">
                  <c:v>-1.3073374796628485</c:v>
                </c:pt>
                <c:pt idx="5853">
                  <c:v>-0.33396735926157128</c:v>
                </c:pt>
                <c:pt idx="5854">
                  <c:v>-0.32525679960609888</c:v>
                </c:pt>
                <c:pt idx="5855">
                  <c:v>-0.40216162295999658</c:v>
                </c:pt>
                <c:pt idx="5856">
                  <c:v>-0.60577200115033103</c:v>
                </c:pt>
                <c:pt idx="5857">
                  <c:v>-1.1463804886068578</c:v>
                </c:pt>
                <c:pt idx="5858">
                  <c:v>-1.1522889172513195</c:v>
                </c:pt>
                <c:pt idx="5859">
                  <c:v>-1.5977234081451352</c:v>
                </c:pt>
                <c:pt idx="5860">
                  <c:v>-2.074113556555107</c:v>
                </c:pt>
                <c:pt idx="5861">
                  <c:v>-2.3324640801019765</c:v>
                </c:pt>
                <c:pt idx="5862">
                  <c:v>-2.7588769867977843</c:v>
                </c:pt>
                <c:pt idx="5863">
                  <c:v>-2.8696188109669314</c:v>
                </c:pt>
                <c:pt idx="5864">
                  <c:v>-2.8288417835385511</c:v>
                </c:pt>
                <c:pt idx="5865">
                  <c:v>-2.4443926528309921</c:v>
                </c:pt>
                <c:pt idx="5866">
                  <c:v>-2.4404853838495719</c:v>
                </c:pt>
                <c:pt idx="5867">
                  <c:v>-2.3125763258605856</c:v>
                </c:pt>
                <c:pt idx="5868">
                  <c:v>-2.1991635872745325</c:v>
                </c:pt>
                <c:pt idx="5869">
                  <c:v>-1.9052312972705621</c:v>
                </c:pt>
                <c:pt idx="5870">
                  <c:v>-1.7249550032570409</c:v>
                </c:pt>
                <c:pt idx="5871">
                  <c:v>-1.291591676576902</c:v>
                </c:pt>
                <c:pt idx="5872">
                  <c:v>-0.69792568862463211</c:v>
                </c:pt>
                <c:pt idx="5873">
                  <c:v>-0.46144599674291364</c:v>
                </c:pt>
                <c:pt idx="5874">
                  <c:v>-0.34920884893330828</c:v>
                </c:pt>
                <c:pt idx="5875">
                  <c:v>-0.48519257763878354</c:v>
                </c:pt>
                <c:pt idx="5876">
                  <c:v>-0.46126401063763944</c:v>
                </c:pt>
                <c:pt idx="5877">
                  <c:v>-0.54396830265209783</c:v>
                </c:pt>
                <c:pt idx="5878">
                  <c:v>-0.48450002454107655</c:v>
                </c:pt>
                <c:pt idx="5879">
                  <c:v>-0.64422606241753144</c:v>
                </c:pt>
                <c:pt idx="5880">
                  <c:v>-0.9972176560002014</c:v>
                </c:pt>
                <c:pt idx="5881">
                  <c:v>-1.0619275443359055</c:v>
                </c:pt>
                <c:pt idx="5882">
                  <c:v>-1.1314421641290078</c:v>
                </c:pt>
                <c:pt idx="5883">
                  <c:v>-0.6677974962768024</c:v>
                </c:pt>
                <c:pt idx="5884">
                  <c:v>-0.5627524454044015</c:v>
                </c:pt>
                <c:pt idx="5885">
                  <c:v>-0.3448336745667403</c:v>
                </c:pt>
                <c:pt idx="5886">
                  <c:v>-0.30556707731509958</c:v>
                </c:pt>
                <c:pt idx="5887">
                  <c:v>-0.69537969595071114</c:v>
                </c:pt>
                <c:pt idx="5888">
                  <c:v>-0.74011756990729927</c:v>
                </c:pt>
                <c:pt idx="5889">
                  <c:v>-0.86417953549041293</c:v>
                </c:pt>
                <c:pt idx="5890">
                  <c:v>-0.71459677328722582</c:v>
                </c:pt>
                <c:pt idx="5891">
                  <c:v>-0.76578984948674123</c:v>
                </c:pt>
                <c:pt idx="5892">
                  <c:v>-0.63837619803804879</c:v>
                </c:pt>
                <c:pt idx="5893">
                  <c:v>-0.53194887245752398</c:v>
                </c:pt>
                <c:pt idx="5894">
                  <c:v>-0.30540238577681666</c:v>
                </c:pt>
                <c:pt idx="5895">
                  <c:v>-0.31452621961621274</c:v>
                </c:pt>
                <c:pt idx="5896">
                  <c:v>-0.31396452654487961</c:v>
                </c:pt>
                <c:pt idx="5897">
                  <c:v>-0.3872674830078866</c:v>
                </c:pt>
                <c:pt idx="5898">
                  <c:v>-0.4444569196782443</c:v>
                </c:pt>
                <c:pt idx="5899">
                  <c:v>-0.43155972143754728</c:v>
                </c:pt>
                <c:pt idx="5900">
                  <c:v>-0.4795556544731947</c:v>
                </c:pt>
                <c:pt idx="5901">
                  <c:v>-0.7896885390872902</c:v>
                </c:pt>
                <c:pt idx="5902">
                  <c:v>-1.2651894139007367</c:v>
                </c:pt>
                <c:pt idx="5903">
                  <c:v>-2.0250847854195855</c:v>
                </c:pt>
                <c:pt idx="5904">
                  <c:v>-2.0294594640533559</c:v>
                </c:pt>
                <c:pt idx="5905">
                  <c:v>-2.3922831831357372</c:v>
                </c:pt>
                <c:pt idx="5906">
                  <c:v>-2.7583654668662398</c:v>
                </c:pt>
                <c:pt idx="5907">
                  <c:v>-2.9469852645347521</c:v>
                </c:pt>
                <c:pt idx="5908">
                  <c:v>-2.9313876908925893</c:v>
                </c:pt>
                <c:pt idx="5909">
                  <c:v>-2.9280937770025792</c:v>
                </c:pt>
                <c:pt idx="5910">
                  <c:v>-2.861593123237812</c:v>
                </c:pt>
                <c:pt idx="5911">
                  <c:v>-2.8553682542760144</c:v>
                </c:pt>
                <c:pt idx="5912">
                  <c:v>-2.856478856369546</c:v>
                </c:pt>
                <c:pt idx="5913">
                  <c:v>-2.9596740258488405</c:v>
                </c:pt>
                <c:pt idx="5914">
                  <c:v>-2.9726600441960325</c:v>
                </c:pt>
                <c:pt idx="5915">
                  <c:v>-2.8665622635945889</c:v>
                </c:pt>
                <c:pt idx="5916">
                  <c:v>-2.5678600181221167</c:v>
                </c:pt>
                <c:pt idx="5917">
                  <c:v>-2.3833255197388565</c:v>
                </c:pt>
                <c:pt idx="5918">
                  <c:v>-2.0911586068038952</c:v>
                </c:pt>
                <c:pt idx="5919">
                  <c:v>-1.9269548270552734</c:v>
                </c:pt>
                <c:pt idx="5920">
                  <c:v>-1.2686888400671743</c:v>
                </c:pt>
                <c:pt idx="5921">
                  <c:v>-1.2634670121560878</c:v>
                </c:pt>
                <c:pt idx="5922">
                  <c:v>-1.0345264436756785</c:v>
                </c:pt>
                <c:pt idx="5923">
                  <c:v>-1.0487498086656084</c:v>
                </c:pt>
                <c:pt idx="5924">
                  <c:v>-1.2110830033697402</c:v>
                </c:pt>
                <c:pt idx="5925">
                  <c:v>-1.2143144954476559</c:v>
                </c:pt>
                <c:pt idx="5926">
                  <c:v>-1.6765956151237207</c:v>
                </c:pt>
                <c:pt idx="5927">
                  <c:v>-1.7026696120400404</c:v>
                </c:pt>
                <c:pt idx="5928">
                  <c:v>-1.8468501307482976</c:v>
                </c:pt>
                <c:pt idx="5929">
                  <c:v>-2.2984180308726772</c:v>
                </c:pt>
                <c:pt idx="5930">
                  <c:v>-2.4074762717735232</c:v>
                </c:pt>
                <c:pt idx="5931">
                  <c:v>-2.9426283632833119</c:v>
                </c:pt>
                <c:pt idx="5932">
                  <c:v>-2.8782694712854004</c:v>
                </c:pt>
                <c:pt idx="5933">
                  <c:v>-2.8659707005008386</c:v>
                </c:pt>
                <c:pt idx="5934">
                  <c:v>-2.8537113428080194</c:v>
                </c:pt>
                <c:pt idx="5935">
                  <c:v>-2.9587895185169835</c:v>
                </c:pt>
                <c:pt idx="5936">
                  <c:v>-2.9433073803234118</c:v>
                </c:pt>
                <c:pt idx="5937">
                  <c:v>-2.9382725860561796</c:v>
                </c:pt>
                <c:pt idx="5938">
                  <c:v>-2.954816229587272</c:v>
                </c:pt>
                <c:pt idx="5939">
                  <c:v>-2.9607194562283365</c:v>
                </c:pt>
                <c:pt idx="5940">
                  <c:v>-2.9520442334662733</c:v>
                </c:pt>
                <c:pt idx="5941">
                  <c:v>-2.9579465325030765</c:v>
                </c:pt>
                <c:pt idx="5942">
                  <c:v>-2.9360754857157372</c:v>
                </c:pt>
                <c:pt idx="5943">
                  <c:v>-2.9517500314080012</c:v>
                </c:pt>
                <c:pt idx="5944">
                  <c:v>-2.9577762491801081</c:v>
                </c:pt>
                <c:pt idx="5945">
                  <c:v>-2.9499022468067033</c:v>
                </c:pt>
                <c:pt idx="5946">
                  <c:v>-2.976115142633164</c:v>
                </c:pt>
                <c:pt idx="5947">
                  <c:v>-2.94610852855135</c:v>
                </c:pt>
                <c:pt idx="5948">
                  <c:v>-2.9342988673228203</c:v>
                </c:pt>
                <c:pt idx="5949">
                  <c:v>-2.926046019677834</c:v>
                </c:pt>
                <c:pt idx="5950">
                  <c:v>-2.9131735796761018</c:v>
                </c:pt>
                <c:pt idx="5951">
                  <c:v>-2.6795817316436779</c:v>
                </c:pt>
                <c:pt idx="5952">
                  <c:v>-2.7046962820367759</c:v>
                </c:pt>
                <c:pt idx="5953">
                  <c:v>-2.5226147680914681</c:v>
                </c:pt>
                <c:pt idx="5954">
                  <c:v>-2.3207548343094366</c:v>
                </c:pt>
                <c:pt idx="5955">
                  <c:v>-1.6642040854270443</c:v>
                </c:pt>
                <c:pt idx="5956">
                  <c:v>-1.5464265141600242</c:v>
                </c:pt>
                <c:pt idx="5957">
                  <c:v>-1.0372681902712406</c:v>
                </c:pt>
                <c:pt idx="5958">
                  <c:v>-0.63058010869660552</c:v>
                </c:pt>
                <c:pt idx="5959">
                  <c:v>-0.42374060126966195</c:v>
                </c:pt>
                <c:pt idx="5960">
                  <c:v>-0.31377622787392656</c:v>
                </c:pt>
                <c:pt idx="5961">
                  <c:v>-0.41924378889187452</c:v>
                </c:pt>
                <c:pt idx="5962">
                  <c:v>-0.33927554645508784</c:v>
                </c:pt>
                <c:pt idx="5963">
                  <c:v>-0.33384618164990476</c:v>
                </c:pt>
                <c:pt idx="5964">
                  <c:v>-0.31197059256983528</c:v>
                </c:pt>
                <c:pt idx="5965">
                  <c:v>-0.32849729198434041</c:v>
                </c:pt>
                <c:pt idx="5966">
                  <c:v>-0.32914511217502185</c:v>
                </c:pt>
                <c:pt idx="5967">
                  <c:v>-0.40414553807429776</c:v>
                </c:pt>
                <c:pt idx="5968">
                  <c:v>-0.3472136186231094</c:v>
                </c:pt>
                <c:pt idx="5969">
                  <c:v>-0.32240881137666511</c:v>
                </c:pt>
                <c:pt idx="5970">
                  <c:v>-0.52353320287961369</c:v>
                </c:pt>
                <c:pt idx="5971">
                  <c:v>-0.56144801841456504</c:v>
                </c:pt>
                <c:pt idx="5972">
                  <c:v>-0.71230401278356548</c:v>
                </c:pt>
                <c:pt idx="5973">
                  <c:v>-0.71630318055726561</c:v>
                </c:pt>
                <c:pt idx="5974">
                  <c:v>-1.2576548901809517</c:v>
                </c:pt>
                <c:pt idx="5975">
                  <c:v>-1.5629911548387145</c:v>
                </c:pt>
                <c:pt idx="5976">
                  <c:v>-2.2081023260344406</c:v>
                </c:pt>
                <c:pt idx="5977">
                  <c:v>-2.771416932350705</c:v>
                </c:pt>
                <c:pt idx="5978">
                  <c:v>-2.9646136486248622</c:v>
                </c:pt>
                <c:pt idx="5979">
                  <c:v>-2.8352113201824629</c:v>
                </c:pt>
                <c:pt idx="5980">
                  <c:v>-2.7996085863712477</c:v>
                </c:pt>
                <c:pt idx="5981">
                  <c:v>-2.8700763111311591</c:v>
                </c:pt>
                <c:pt idx="5982">
                  <c:v>-2.8562294861129911</c:v>
                </c:pt>
                <c:pt idx="5983">
                  <c:v>-2.7634804390169414</c:v>
                </c:pt>
                <c:pt idx="5984">
                  <c:v>-2.3019665988628777</c:v>
                </c:pt>
                <c:pt idx="5985">
                  <c:v>-1.6100240631778098</c:v>
                </c:pt>
                <c:pt idx="5986">
                  <c:v>-1.3093215942456786</c:v>
                </c:pt>
                <c:pt idx="5987">
                  <c:v>-1.0670929714597537</c:v>
                </c:pt>
                <c:pt idx="5988">
                  <c:v>-0.89041976759248642</c:v>
                </c:pt>
                <c:pt idx="5989">
                  <c:v>-0.87612792089617186</c:v>
                </c:pt>
                <c:pt idx="5990">
                  <c:v>-0.9919533929279164</c:v>
                </c:pt>
                <c:pt idx="5991">
                  <c:v>-0.85918315014042679</c:v>
                </c:pt>
                <c:pt idx="5992">
                  <c:v>-0.83257195375763426</c:v>
                </c:pt>
                <c:pt idx="5993">
                  <c:v>-0.91354216287137446</c:v>
                </c:pt>
                <c:pt idx="5994">
                  <c:v>-1.1645606930675321</c:v>
                </c:pt>
                <c:pt idx="5995">
                  <c:v>-1.280565864967351</c:v>
                </c:pt>
                <c:pt idx="5996">
                  <c:v>-1.423684716559023</c:v>
                </c:pt>
                <c:pt idx="5997">
                  <c:v>-1.6229414779957367</c:v>
                </c:pt>
                <c:pt idx="5998">
                  <c:v>-1.8139158785486813</c:v>
                </c:pt>
                <c:pt idx="5999">
                  <c:v>-1.9028632962356373</c:v>
                </c:pt>
                <c:pt idx="6000">
                  <c:v>-2.6977475909386368</c:v>
                </c:pt>
                <c:pt idx="6001">
                  <c:v>-2.9308021276614675</c:v>
                </c:pt>
                <c:pt idx="6002">
                  <c:v>-2.9242029618959533</c:v>
                </c:pt>
                <c:pt idx="6003">
                  <c:v>-2.9525637282346571</c:v>
                </c:pt>
                <c:pt idx="6004">
                  <c:v>-2.9277867571902112</c:v>
                </c:pt>
                <c:pt idx="6005">
                  <c:v>-2.9508473640222372</c:v>
                </c:pt>
                <c:pt idx="6006">
                  <c:v>-2.9651789037052474</c:v>
                </c:pt>
                <c:pt idx="6007">
                  <c:v>-2.9097519471184303</c:v>
                </c:pt>
                <c:pt idx="6008">
                  <c:v>-2.9437017847270726</c:v>
                </c:pt>
                <c:pt idx="6009">
                  <c:v>-2.9421324601506029</c:v>
                </c:pt>
                <c:pt idx="6010">
                  <c:v>-2.8229688862782187</c:v>
                </c:pt>
                <c:pt idx="6011">
                  <c:v>-2.6734241283120843</c:v>
                </c:pt>
                <c:pt idx="6012">
                  <c:v>-2.2827898917872025</c:v>
                </c:pt>
                <c:pt idx="6013">
                  <c:v>-2.0109031439910234</c:v>
                </c:pt>
                <c:pt idx="6014">
                  <c:v>-1.9545201521475355</c:v>
                </c:pt>
                <c:pt idx="6015">
                  <c:v>-2.1522694858606322</c:v>
                </c:pt>
                <c:pt idx="6016">
                  <c:v>-1.5552833831984398</c:v>
                </c:pt>
                <c:pt idx="6017">
                  <c:v>-1.0168006180216538</c:v>
                </c:pt>
                <c:pt idx="6018">
                  <c:v>-0.30963559708700461</c:v>
                </c:pt>
                <c:pt idx="6019">
                  <c:v>-0.40357321112730182</c:v>
                </c:pt>
                <c:pt idx="6020">
                  <c:v>-0.65648115522377415</c:v>
                </c:pt>
                <c:pt idx="6021">
                  <c:v>-1.0771602053113143</c:v>
                </c:pt>
                <c:pt idx="6022">
                  <c:v>-1.6874995261699328</c:v>
                </c:pt>
                <c:pt idx="6023">
                  <c:v>-1.6944592432210694</c:v>
                </c:pt>
                <c:pt idx="6024">
                  <c:v>-1.9858265846416225</c:v>
                </c:pt>
                <c:pt idx="6025">
                  <c:v>-1.9703561632687761</c:v>
                </c:pt>
                <c:pt idx="6026">
                  <c:v>-2.2594594902948928</c:v>
                </c:pt>
                <c:pt idx="6027">
                  <c:v>-2.4401804570017651</c:v>
                </c:pt>
                <c:pt idx="6028">
                  <c:v>-2.2731270695612227</c:v>
                </c:pt>
                <c:pt idx="6029">
                  <c:v>-2.1464818704704514</c:v>
                </c:pt>
                <c:pt idx="6030">
                  <c:v>-2.1387443876781171</c:v>
                </c:pt>
                <c:pt idx="6031">
                  <c:v>-1.0231056358306918</c:v>
                </c:pt>
                <c:pt idx="6032">
                  <c:v>-0.72020406517132762</c:v>
                </c:pt>
                <c:pt idx="6033">
                  <c:v>-0.3317743339504714</c:v>
                </c:pt>
                <c:pt idx="6034">
                  <c:v>-0.31161484704479203</c:v>
                </c:pt>
                <c:pt idx="6035">
                  <c:v>-0.33926976775387629</c:v>
                </c:pt>
                <c:pt idx="6036">
                  <c:v>-0.315740105965574</c:v>
                </c:pt>
                <c:pt idx="6037">
                  <c:v>-0.31035390457397483</c:v>
                </c:pt>
                <c:pt idx="6038">
                  <c:v>-0.29956621542360162</c:v>
                </c:pt>
                <c:pt idx="6039">
                  <c:v>-0.3276622579812245</c:v>
                </c:pt>
                <c:pt idx="6040">
                  <c:v>-0.32892719120273783</c:v>
                </c:pt>
                <c:pt idx="6041">
                  <c:v>-0.32423491484112876</c:v>
                </c:pt>
                <c:pt idx="6042">
                  <c:v>-0.29875107566327952</c:v>
                </c:pt>
                <c:pt idx="6043">
                  <c:v>-0.31281206749550905</c:v>
                </c:pt>
                <c:pt idx="6044">
                  <c:v>-0.28692217412235455</c:v>
                </c:pt>
                <c:pt idx="6045">
                  <c:v>-0.31709591463133002</c:v>
                </c:pt>
                <c:pt idx="6046">
                  <c:v>-0.30740305862092132</c:v>
                </c:pt>
                <c:pt idx="6047">
                  <c:v>-0.30196303019693882</c:v>
                </c:pt>
                <c:pt idx="6048">
                  <c:v>-0.29673159592939868</c:v>
                </c:pt>
                <c:pt idx="6049">
                  <c:v>-0.28891326796685401</c:v>
                </c:pt>
                <c:pt idx="6050">
                  <c:v>-0.31522163513771484</c:v>
                </c:pt>
                <c:pt idx="6051">
                  <c:v>-0.31232118334230985</c:v>
                </c:pt>
                <c:pt idx="6052">
                  <c:v>-0.31115887804274212</c:v>
                </c:pt>
                <c:pt idx="6053">
                  <c:v>-0.3515582345308691</c:v>
                </c:pt>
                <c:pt idx="6054">
                  <c:v>-0.35564193081022089</c:v>
                </c:pt>
                <c:pt idx="6055">
                  <c:v>-0.43893351224506616</c:v>
                </c:pt>
                <c:pt idx="6056">
                  <c:v>-0.44106423196820277</c:v>
                </c:pt>
                <c:pt idx="6057">
                  <c:v>-0.59444248545094092</c:v>
                </c:pt>
                <c:pt idx="6058">
                  <c:v>-0.70824990706036706</c:v>
                </c:pt>
                <c:pt idx="6059">
                  <c:v>-1.1380055292420885</c:v>
                </c:pt>
                <c:pt idx="6060">
                  <c:v>-1.5269330239983234</c:v>
                </c:pt>
                <c:pt idx="6061">
                  <c:v>-1.6403342994794912</c:v>
                </c:pt>
                <c:pt idx="6062">
                  <c:v>-1.5750228216723623</c:v>
                </c:pt>
                <c:pt idx="6063">
                  <c:v>-1.3748229535108003</c:v>
                </c:pt>
                <c:pt idx="6064">
                  <c:v>-0.84077595020771534</c:v>
                </c:pt>
                <c:pt idx="6065">
                  <c:v>-0.60428964839633414</c:v>
                </c:pt>
                <c:pt idx="6066">
                  <c:v>-0.54623552686559351</c:v>
                </c:pt>
                <c:pt idx="6067">
                  <c:v>-0.64779773113624173</c:v>
                </c:pt>
                <c:pt idx="6068">
                  <c:v>-0.67881003945859508</c:v>
                </c:pt>
                <c:pt idx="6069">
                  <c:v>-0.60070469812451421</c:v>
                </c:pt>
                <c:pt idx="6070">
                  <c:v>-0.52854221149288449</c:v>
                </c:pt>
                <c:pt idx="6071">
                  <c:v>-0.61636341407151995</c:v>
                </c:pt>
                <c:pt idx="6072">
                  <c:v>-0.78603584258601111</c:v>
                </c:pt>
                <c:pt idx="6073">
                  <c:v>-0.73644175504786225</c:v>
                </c:pt>
                <c:pt idx="6074">
                  <c:v>-0.3179727099835008</c:v>
                </c:pt>
                <c:pt idx="6075">
                  <c:v>-0.35390363816020065</c:v>
                </c:pt>
                <c:pt idx="6076">
                  <c:v>-0.38007061608841342</c:v>
                </c:pt>
                <c:pt idx="6077">
                  <c:v>-0.41573413924494174</c:v>
                </c:pt>
                <c:pt idx="6078">
                  <c:v>-0.40940976967518516</c:v>
                </c:pt>
                <c:pt idx="6079">
                  <c:v>-0.45105181290910856</c:v>
                </c:pt>
                <c:pt idx="6080">
                  <c:v>-0.41660191767631694</c:v>
                </c:pt>
                <c:pt idx="6081">
                  <c:v>-0.45299348095782177</c:v>
                </c:pt>
                <c:pt idx="6082">
                  <c:v>-1.2149822173988338</c:v>
                </c:pt>
                <c:pt idx="6083">
                  <c:v>-2.4126301089125763</c:v>
                </c:pt>
                <c:pt idx="6084">
                  <c:v>-2.9394235548289229</c:v>
                </c:pt>
                <c:pt idx="6085">
                  <c:v>-2.945663750754882</c:v>
                </c:pt>
                <c:pt idx="6086">
                  <c:v>-2.9591117735393517</c:v>
                </c:pt>
                <c:pt idx="6087">
                  <c:v>-2.951112772387781</c:v>
                </c:pt>
                <c:pt idx="6088">
                  <c:v>-2.9671907482579996</c:v>
                </c:pt>
                <c:pt idx="6089">
                  <c:v>-2.9665094833456691</c:v>
                </c:pt>
                <c:pt idx="6090">
                  <c:v>-2.6134146508717802</c:v>
                </c:pt>
                <c:pt idx="6091">
                  <c:v>-2.3324942368953403</c:v>
                </c:pt>
                <c:pt idx="6092">
                  <c:v>-2.1581194873467142</c:v>
                </c:pt>
                <c:pt idx="6093">
                  <c:v>-1.6432443946745638</c:v>
                </c:pt>
                <c:pt idx="6094">
                  <c:v>-1.4617876088292454</c:v>
                </c:pt>
                <c:pt idx="6095">
                  <c:v>-1.4464337051523741</c:v>
                </c:pt>
                <c:pt idx="6096">
                  <c:v>-1.5466692086906377</c:v>
                </c:pt>
                <c:pt idx="6097">
                  <c:v>-1.642771329944543</c:v>
                </c:pt>
                <c:pt idx="6098">
                  <c:v>-1.8380384357409854</c:v>
                </c:pt>
                <c:pt idx="6099">
                  <c:v>-2.2621480510225092</c:v>
                </c:pt>
                <c:pt idx="6100">
                  <c:v>-2.4236437624860376</c:v>
                </c:pt>
                <c:pt idx="6101">
                  <c:v>-2.7122916774813239</c:v>
                </c:pt>
                <c:pt idx="6102">
                  <c:v>-2.7119199413333686</c:v>
                </c:pt>
                <c:pt idx="6103">
                  <c:v>-2.5307865394802365</c:v>
                </c:pt>
                <c:pt idx="6104">
                  <c:v>-2.6735471111381033</c:v>
                </c:pt>
                <c:pt idx="6105">
                  <c:v>-2.728312263735353</c:v>
                </c:pt>
                <c:pt idx="6106">
                  <c:v>-2.5269142047845872</c:v>
                </c:pt>
                <c:pt idx="6107">
                  <c:v>-2.4390536162394878</c:v>
                </c:pt>
                <c:pt idx="6108">
                  <c:v>-2.2315911349991939</c:v>
                </c:pt>
                <c:pt idx="6109">
                  <c:v>-1.4801684084045581</c:v>
                </c:pt>
                <c:pt idx="6110">
                  <c:v>-1.2878077408551021</c:v>
                </c:pt>
                <c:pt idx="6111">
                  <c:v>-0.96867422239014966</c:v>
                </c:pt>
                <c:pt idx="6112">
                  <c:v>-0.96705911945711132</c:v>
                </c:pt>
                <c:pt idx="6113">
                  <c:v>-0.75959476846015628</c:v>
                </c:pt>
                <c:pt idx="6114">
                  <c:v>-0.61620451456523295</c:v>
                </c:pt>
                <c:pt idx="6115">
                  <c:v>-0.64817149620899361</c:v>
                </c:pt>
                <c:pt idx="6116">
                  <c:v>-1.0072537207516883</c:v>
                </c:pt>
                <c:pt idx="6117">
                  <c:v>-1.1139384291560042</c:v>
                </c:pt>
                <c:pt idx="6118">
                  <c:v>-0.37122449493717036</c:v>
                </c:pt>
                <c:pt idx="6119">
                  <c:v>-0.37170369802395642</c:v>
                </c:pt>
                <c:pt idx="6120">
                  <c:v>-0.31339348954782709</c:v>
                </c:pt>
                <c:pt idx="6121">
                  <c:v>-0.3265285303857185</c:v>
                </c:pt>
                <c:pt idx="6122">
                  <c:v>-0.36103844336795565</c:v>
                </c:pt>
                <c:pt idx="6123">
                  <c:v>-0.29866749222610223</c:v>
                </c:pt>
                <c:pt idx="6124">
                  <c:v>-0.34176643191005607</c:v>
                </c:pt>
                <c:pt idx="6125">
                  <c:v>-0.46035294853685671</c:v>
                </c:pt>
                <c:pt idx="6126">
                  <c:v>-0.52130951652273516</c:v>
                </c:pt>
                <c:pt idx="6127">
                  <c:v>-0.72408820365427295</c:v>
                </c:pt>
                <c:pt idx="6128">
                  <c:v>-0.92607628193108271</c:v>
                </c:pt>
                <c:pt idx="6129">
                  <c:v>-0.90088468554169188</c:v>
                </c:pt>
                <c:pt idx="6130">
                  <c:v>-0.33730244216649363</c:v>
                </c:pt>
                <c:pt idx="6131">
                  <c:v>-0.31053368151453631</c:v>
                </c:pt>
                <c:pt idx="6132">
                  <c:v>-0.28481289382999331</c:v>
                </c:pt>
                <c:pt idx="6133">
                  <c:v>-0.33091742575578076</c:v>
                </c:pt>
                <c:pt idx="6134">
                  <c:v>-0.33142742297744965</c:v>
                </c:pt>
                <c:pt idx="6135">
                  <c:v>-0.4552028790726067</c:v>
                </c:pt>
                <c:pt idx="6136">
                  <c:v>-0.70223449388333303</c:v>
                </c:pt>
                <c:pt idx="6137">
                  <c:v>-0.70534289312412202</c:v>
                </c:pt>
                <c:pt idx="6138">
                  <c:v>-1.2284692192394551</c:v>
                </c:pt>
                <c:pt idx="6139">
                  <c:v>-1.2502997669992131</c:v>
                </c:pt>
                <c:pt idx="6140">
                  <c:v>-1.5831273354874917</c:v>
                </c:pt>
                <c:pt idx="6141">
                  <c:v>-1.5867915920393865</c:v>
                </c:pt>
                <c:pt idx="6142">
                  <c:v>-1.7454513448836915</c:v>
                </c:pt>
                <c:pt idx="6143">
                  <c:v>-1.6855671854022796</c:v>
                </c:pt>
                <c:pt idx="6144">
                  <c:v>-1.4242183297827318</c:v>
                </c:pt>
                <c:pt idx="6145">
                  <c:v>-0.78622620248734465</c:v>
                </c:pt>
                <c:pt idx="6146">
                  <c:v>-0.68296753381286701</c:v>
                </c:pt>
                <c:pt idx="6147">
                  <c:v>-0.6854643214240671</c:v>
                </c:pt>
                <c:pt idx="6148">
                  <c:v>-0.74181409017274225</c:v>
                </c:pt>
                <c:pt idx="6149">
                  <c:v>-1.6109879625243873</c:v>
                </c:pt>
                <c:pt idx="6150">
                  <c:v>-1.8902350174262108</c:v>
                </c:pt>
                <c:pt idx="6151">
                  <c:v>-2.295982384153787</c:v>
                </c:pt>
                <c:pt idx="6152">
                  <c:v>-2.4464008019833603</c:v>
                </c:pt>
                <c:pt idx="6153">
                  <c:v>-2.3610403141912268</c:v>
                </c:pt>
                <c:pt idx="6154">
                  <c:v>-2.4205982602104825</c:v>
                </c:pt>
                <c:pt idx="6155">
                  <c:v>-2.276364767628587</c:v>
                </c:pt>
                <c:pt idx="6156">
                  <c:v>-1.9110756253764789</c:v>
                </c:pt>
                <c:pt idx="6157">
                  <c:v>-1.7594085934020842</c:v>
                </c:pt>
                <c:pt idx="6158">
                  <c:v>-1.7579630169617739</c:v>
                </c:pt>
                <c:pt idx="6159">
                  <c:v>-1.6602631171228595</c:v>
                </c:pt>
                <c:pt idx="6160">
                  <c:v>-2.3276198869214939</c:v>
                </c:pt>
                <c:pt idx="6161">
                  <c:v>-2.9343604645068098</c:v>
                </c:pt>
                <c:pt idx="6162">
                  <c:v>-2.9580202607079049</c:v>
                </c:pt>
                <c:pt idx="6163">
                  <c:v>-2.9579250894370315</c:v>
                </c:pt>
                <c:pt idx="6164">
                  <c:v>-2.5306719774569575</c:v>
                </c:pt>
                <c:pt idx="6165">
                  <c:v>-2.1499825278824236</c:v>
                </c:pt>
                <c:pt idx="6166">
                  <c:v>-1.8729461914117249</c:v>
                </c:pt>
                <c:pt idx="6167">
                  <c:v>-1.864918344600039</c:v>
                </c:pt>
                <c:pt idx="6168">
                  <c:v>-1.351595984001805</c:v>
                </c:pt>
                <c:pt idx="6169">
                  <c:v>-0.93921006526172468</c:v>
                </c:pt>
                <c:pt idx="6170">
                  <c:v>-1.037440443270877</c:v>
                </c:pt>
                <c:pt idx="6171">
                  <c:v>-1.0445933956216689</c:v>
                </c:pt>
                <c:pt idx="6172">
                  <c:v>-1.2608642241594445</c:v>
                </c:pt>
                <c:pt idx="6173">
                  <c:v>-1.263827680122634</c:v>
                </c:pt>
                <c:pt idx="6174">
                  <c:v>-1.3348285175462926</c:v>
                </c:pt>
                <c:pt idx="6175">
                  <c:v>-1.6147700514427055</c:v>
                </c:pt>
                <c:pt idx="6176">
                  <c:v>-1.8015155363327595</c:v>
                </c:pt>
                <c:pt idx="6177">
                  <c:v>-1.7547056221857811</c:v>
                </c:pt>
                <c:pt idx="6178">
                  <c:v>-1.8131102401050716</c:v>
                </c:pt>
                <c:pt idx="6179">
                  <c:v>-2.4678019249684491</c:v>
                </c:pt>
                <c:pt idx="6180">
                  <c:v>-2.6342167323343295</c:v>
                </c:pt>
                <c:pt idx="6181">
                  <c:v>-2.6328425171184491</c:v>
                </c:pt>
                <c:pt idx="6182">
                  <c:v>-2.5758454100649697</c:v>
                </c:pt>
                <c:pt idx="6183">
                  <c:v>-2.6682012267119424</c:v>
                </c:pt>
                <c:pt idx="6184">
                  <c:v>-1.6660530229601382</c:v>
                </c:pt>
                <c:pt idx="6185">
                  <c:v>-1.226500200598968</c:v>
                </c:pt>
                <c:pt idx="6186">
                  <c:v>-1.0143929382082795</c:v>
                </c:pt>
                <c:pt idx="6187">
                  <c:v>-0.55392771724100798</c:v>
                </c:pt>
                <c:pt idx="6188">
                  <c:v>-0.43222351253297298</c:v>
                </c:pt>
                <c:pt idx="6189">
                  <c:v>-0.28020526238726118</c:v>
                </c:pt>
                <c:pt idx="6190">
                  <c:v>-1.1522571281998435</c:v>
                </c:pt>
                <c:pt idx="6191">
                  <c:v>-1.1679322952701774</c:v>
                </c:pt>
                <c:pt idx="6192">
                  <c:v>-1.5804045992447382</c:v>
                </c:pt>
                <c:pt idx="6193">
                  <c:v>-2.5396176229161385</c:v>
                </c:pt>
                <c:pt idx="6194">
                  <c:v>-2.9264310321039648</c:v>
                </c:pt>
                <c:pt idx="6195">
                  <c:v>-2.7064767621608516</c:v>
                </c:pt>
                <c:pt idx="6196">
                  <c:v>-2.6327422053645488</c:v>
                </c:pt>
                <c:pt idx="6197">
                  <c:v>-2.566251923032961</c:v>
                </c:pt>
                <c:pt idx="6198">
                  <c:v>-1.9904580528833105</c:v>
                </c:pt>
                <c:pt idx="6199">
                  <c:v>-0.42789775329538848</c:v>
                </c:pt>
                <c:pt idx="6200">
                  <c:v>-0.42292580278398995</c:v>
                </c:pt>
                <c:pt idx="6201">
                  <c:v>-0.31432518595504177</c:v>
                </c:pt>
                <c:pt idx="6202">
                  <c:v>-0.39656672658444092</c:v>
                </c:pt>
                <c:pt idx="6203">
                  <c:v>-0.42083695434313628</c:v>
                </c:pt>
                <c:pt idx="6204">
                  <c:v>-0.77079600323659847</c:v>
                </c:pt>
                <c:pt idx="6205">
                  <c:v>-0.9846201811171168</c:v>
                </c:pt>
                <c:pt idx="6206">
                  <c:v>-1.7858668722674833</c:v>
                </c:pt>
                <c:pt idx="6207">
                  <c:v>-2.1657874873417402</c:v>
                </c:pt>
                <c:pt idx="6208">
                  <c:v>-2.3508472223788131</c:v>
                </c:pt>
                <c:pt idx="6209">
                  <c:v>-1.2874208521541757</c:v>
                </c:pt>
                <c:pt idx="6210">
                  <c:v>-1.2707138186175964</c:v>
                </c:pt>
                <c:pt idx="6211">
                  <c:v>-0.85980074395155681</c:v>
                </c:pt>
                <c:pt idx="6212">
                  <c:v>-0.30797965043387576</c:v>
                </c:pt>
                <c:pt idx="6213">
                  <c:v>-0.58510631005439184</c:v>
                </c:pt>
                <c:pt idx="6214">
                  <c:v>-0.80174823395717953</c:v>
                </c:pt>
                <c:pt idx="6215">
                  <c:v>-1.2570786318547205</c:v>
                </c:pt>
                <c:pt idx="6216">
                  <c:v>-2.2692408836844886</c:v>
                </c:pt>
                <c:pt idx="6217">
                  <c:v>-2.6754843835994349</c:v>
                </c:pt>
                <c:pt idx="6218">
                  <c:v>-2.9609458011612166</c:v>
                </c:pt>
                <c:pt idx="6219">
                  <c:v>-2.5143744599522346</c:v>
                </c:pt>
                <c:pt idx="6220">
                  <c:v>-2.0291080355235178</c:v>
                </c:pt>
                <c:pt idx="6221">
                  <c:v>-2.0171603120643415</c:v>
                </c:pt>
                <c:pt idx="6222">
                  <c:v>-1.7214038934894083</c:v>
                </c:pt>
                <c:pt idx="6223">
                  <c:v>-0.82050423305930176</c:v>
                </c:pt>
                <c:pt idx="6224">
                  <c:v>-0.3242920725227918</c:v>
                </c:pt>
                <c:pt idx="6225">
                  <c:v>-0.30945482844104244</c:v>
                </c:pt>
                <c:pt idx="6226">
                  <c:v>-0.32292090425567199</c:v>
                </c:pt>
                <c:pt idx="6227">
                  <c:v>-0.32567104310635975</c:v>
                </c:pt>
                <c:pt idx="6228">
                  <c:v>-0.39761182858807276</c:v>
                </c:pt>
                <c:pt idx="6229">
                  <c:v>-0.38811084575566257</c:v>
                </c:pt>
                <c:pt idx="6230">
                  <c:v>-0.71543034625180979</c:v>
                </c:pt>
                <c:pt idx="6231">
                  <c:v>-1.4604426978567531</c:v>
                </c:pt>
                <c:pt idx="6232">
                  <c:v>-2.3639546656197981</c:v>
                </c:pt>
                <c:pt idx="6233">
                  <c:v>-0.49115877442971545</c:v>
                </c:pt>
                <c:pt idx="6234">
                  <c:v>-0.49209452508364326</c:v>
                </c:pt>
                <c:pt idx="6235">
                  <c:v>-0.36905504924749866</c:v>
                </c:pt>
                <c:pt idx="6236">
                  <c:v>-0.30258638984655661</c:v>
                </c:pt>
                <c:pt idx="6237">
                  <c:v>-0.31189145175380606</c:v>
                </c:pt>
                <c:pt idx="6238">
                  <c:v>-0.9392335924938443</c:v>
                </c:pt>
                <c:pt idx="6239">
                  <c:v>-0.2510038382542864</c:v>
                </c:pt>
                <c:pt idx="6240">
                  <c:v>-0.32118178746885651</c:v>
                </c:pt>
                <c:pt idx="6241">
                  <c:v>-0.25228298761357232</c:v>
                </c:pt>
                <c:pt idx="6242">
                  <c:v>-0.6965770847138405</c:v>
                </c:pt>
                <c:pt idx="6243">
                  <c:v>-0.4605295157755892</c:v>
                </c:pt>
                <c:pt idx="6244">
                  <c:v>-0.25097876981786826</c:v>
                </c:pt>
                <c:pt idx="6245">
                  <c:v>-0.26685268223506076</c:v>
                </c:pt>
                <c:pt idx="6246">
                  <c:v>-0.39761688801838835</c:v>
                </c:pt>
                <c:pt idx="6247">
                  <c:v>-0.25108747775941098</c:v>
                </c:pt>
                <c:pt idx="6248">
                  <c:v>-0.82941486041018309</c:v>
                </c:pt>
                <c:pt idx="6249">
                  <c:v>-0.25075661560281248</c:v>
                </c:pt>
                <c:pt idx="6250">
                  <c:v>-0.29002387921796091</c:v>
                </c:pt>
                <c:pt idx="6251">
                  <c:v>-0.58548121093981342</c:v>
                </c:pt>
                <c:pt idx="6252">
                  <c:v>-1.1016367488120991</c:v>
                </c:pt>
                <c:pt idx="6253">
                  <c:v>-1.3193114333178269</c:v>
                </c:pt>
                <c:pt idx="6254">
                  <c:v>-2.416163832944938</c:v>
                </c:pt>
                <c:pt idx="6255">
                  <c:v>-2.9041846470461636</c:v>
                </c:pt>
                <c:pt idx="6256">
                  <c:v>-2.8829703428499087</c:v>
                </c:pt>
                <c:pt idx="6257">
                  <c:v>-1.0181693418148847</c:v>
                </c:pt>
                <c:pt idx="6258">
                  <c:v>-0.70675443865564447</c:v>
                </c:pt>
                <c:pt idx="6259">
                  <c:v>-0.71187703344120079</c:v>
                </c:pt>
                <c:pt idx="6260">
                  <c:v>-0.59399378902004862</c:v>
                </c:pt>
                <c:pt idx="6261">
                  <c:v>-0.94418620398414477</c:v>
                </c:pt>
                <c:pt idx="6262">
                  <c:v>-0.48785037103780804</c:v>
                </c:pt>
                <c:pt idx="6263">
                  <c:v>-0.40448574307575924</c:v>
                </c:pt>
                <c:pt idx="6264">
                  <c:v>-0.25065200003606414</c:v>
                </c:pt>
                <c:pt idx="6265">
                  <c:v>-0.66326747844788059</c:v>
                </c:pt>
                <c:pt idx="6266">
                  <c:v>-0.50628255071184192</c:v>
                </c:pt>
                <c:pt idx="6267">
                  <c:v>-0.82940443133240394</c:v>
                </c:pt>
                <c:pt idx="6268">
                  <c:v>-0.46201481436621938</c:v>
                </c:pt>
                <c:pt idx="6269">
                  <c:v>-0.3406889100528232</c:v>
                </c:pt>
                <c:pt idx="6270">
                  <c:v>-0.47746847240322965</c:v>
                </c:pt>
                <c:pt idx="6271">
                  <c:v>-0.4218905981429959</c:v>
                </c:pt>
                <c:pt idx="6272">
                  <c:v>-0.63601401389577472</c:v>
                </c:pt>
                <c:pt idx="6273">
                  <c:v>-0.25057749002961832</c:v>
                </c:pt>
                <c:pt idx="6274">
                  <c:v>-0.29124481299089888</c:v>
                </c:pt>
                <c:pt idx="6275">
                  <c:v>-0.25056257269927196</c:v>
                </c:pt>
                <c:pt idx="6276">
                  <c:v>-0.25743287654711144</c:v>
                </c:pt>
                <c:pt idx="6277">
                  <c:v>-0.857990533564568</c:v>
                </c:pt>
                <c:pt idx="6278">
                  <c:v>-0.79568051140915497</c:v>
                </c:pt>
                <c:pt idx="6279">
                  <c:v>-0.34736608232862254</c:v>
                </c:pt>
                <c:pt idx="6280">
                  <c:v>-0.25053804560915233</c:v>
                </c:pt>
                <c:pt idx="6281">
                  <c:v>-0.34634391013838073</c:v>
                </c:pt>
                <c:pt idx="6282">
                  <c:v>-0.71730399750388008</c:v>
                </c:pt>
                <c:pt idx="6283">
                  <c:v>-0.38572188640879523</c:v>
                </c:pt>
                <c:pt idx="6284">
                  <c:v>-0.25065143639306664</c:v>
                </c:pt>
                <c:pt idx="6285">
                  <c:v>-0.26467773995865729</c:v>
                </c:pt>
                <c:pt idx="6286">
                  <c:v>-0.25049329347185018</c:v>
                </c:pt>
                <c:pt idx="6287">
                  <c:v>-0.8052171395127784</c:v>
                </c:pt>
                <c:pt idx="6288">
                  <c:v>-0.62144843839182351</c:v>
                </c:pt>
                <c:pt idx="6289">
                  <c:v>-0.60912597270126934</c:v>
                </c:pt>
                <c:pt idx="6290">
                  <c:v>-0.52905523720072412</c:v>
                </c:pt>
                <c:pt idx="6291">
                  <c:v>-0.25046818525230957</c:v>
                </c:pt>
                <c:pt idx="6292">
                  <c:v>-0.27681778932249568</c:v>
                </c:pt>
                <c:pt idx="6293">
                  <c:v>-0.35616217938275374</c:v>
                </c:pt>
                <c:pt idx="6294">
                  <c:v>-0.34355271852700575</c:v>
                </c:pt>
                <c:pt idx="6295">
                  <c:v>-0.46357437512976696</c:v>
                </c:pt>
                <c:pt idx="6296">
                  <c:v>-0.25058684652669816</c:v>
                </c:pt>
                <c:pt idx="6297">
                  <c:v>-0.40856399424405498</c:v>
                </c:pt>
                <c:pt idx="6298">
                  <c:v>-0.45625462794893945</c:v>
                </c:pt>
                <c:pt idx="6299">
                  <c:v>-0.79384257999724561</c:v>
                </c:pt>
                <c:pt idx="6300">
                  <c:v>-0.55163619640618722</c:v>
                </c:pt>
                <c:pt idx="6301">
                  <c:v>-0.47729461490988101</c:v>
                </c:pt>
                <c:pt idx="6302">
                  <c:v>-0.26000995408666661</c:v>
                </c:pt>
                <c:pt idx="6303">
                  <c:v>-0.25055209139705581</c:v>
                </c:pt>
                <c:pt idx="6304">
                  <c:v>-0.40050855205459934</c:v>
                </c:pt>
                <c:pt idx="6305">
                  <c:v>-1.2190625094360912</c:v>
                </c:pt>
                <c:pt idx="6306">
                  <c:v>-0.54430160627485102</c:v>
                </c:pt>
                <c:pt idx="6307">
                  <c:v>-0.48270731526314059</c:v>
                </c:pt>
                <c:pt idx="6308">
                  <c:v>-0.25037879754814696</c:v>
                </c:pt>
                <c:pt idx="6309">
                  <c:v>-0.3785598346227439</c:v>
                </c:pt>
                <c:pt idx="6310">
                  <c:v>-0.25035331652768311</c:v>
                </c:pt>
                <c:pt idx="6311">
                  <c:v>-0.36234485481705603</c:v>
                </c:pt>
                <c:pt idx="6312">
                  <c:v>-0.6085429158160961</c:v>
                </c:pt>
                <c:pt idx="6313">
                  <c:v>-0.46429675796511316</c:v>
                </c:pt>
                <c:pt idx="6314">
                  <c:v>-0.5721335020784345</c:v>
                </c:pt>
                <c:pt idx="6315">
                  <c:v>-0.51582974708122864</c:v>
                </c:pt>
                <c:pt idx="6316">
                  <c:v>-0.32847062627234858</c:v>
                </c:pt>
                <c:pt idx="6317">
                  <c:v>-0.25025335777954161</c:v>
                </c:pt>
                <c:pt idx="6318">
                  <c:v>-0.4212120890280856</c:v>
                </c:pt>
                <c:pt idx="6319">
                  <c:v>-0.34514176892822279</c:v>
                </c:pt>
                <c:pt idx="6320">
                  <c:v>-0.74559870726743183</c:v>
                </c:pt>
                <c:pt idx="6321">
                  <c:v>-0.48504835705712768</c:v>
                </c:pt>
                <c:pt idx="6322">
                  <c:v>-0.69858964618936337</c:v>
                </c:pt>
                <c:pt idx="6323">
                  <c:v>-0.25026639542667445</c:v>
                </c:pt>
                <c:pt idx="6324">
                  <c:v>-0.33733503374156437</c:v>
                </c:pt>
                <c:pt idx="6325">
                  <c:v>-0.25023672312392381</c:v>
                </c:pt>
                <c:pt idx="6326">
                  <c:v>-0.28259313990383317</c:v>
                </c:pt>
                <c:pt idx="6327">
                  <c:v>-0.40475285369694003</c:v>
                </c:pt>
                <c:pt idx="6328">
                  <c:v>-1.4175167977788075</c:v>
                </c:pt>
                <c:pt idx="6329">
                  <c:v>-1.4341176327199592</c:v>
                </c:pt>
                <c:pt idx="6330">
                  <c:v>-1.1058196110193645</c:v>
                </c:pt>
                <c:pt idx="6331">
                  <c:v>-1.0334740293254026</c:v>
                </c:pt>
                <c:pt idx="6332">
                  <c:v>-1.0828749064324688</c:v>
                </c:pt>
                <c:pt idx="6333">
                  <c:v>-0.92373195710264688</c:v>
                </c:pt>
                <c:pt idx="6334">
                  <c:v>-0.49517294344367591</c:v>
                </c:pt>
                <c:pt idx="6335">
                  <c:v>-0.47725546086420301</c:v>
                </c:pt>
                <c:pt idx="6336">
                  <c:v>-0.52837330487739376</c:v>
                </c:pt>
                <c:pt idx="6337">
                  <c:v>-0.49899670415297592</c:v>
                </c:pt>
                <c:pt idx="6338">
                  <c:v>-0.56701711833180757</c:v>
                </c:pt>
                <c:pt idx="6339">
                  <c:v>-0.68387758562605805</c:v>
                </c:pt>
                <c:pt idx="6340">
                  <c:v>-0.26076201330094984</c:v>
                </c:pt>
                <c:pt idx="6341">
                  <c:v>-0.40182988674805264</c:v>
                </c:pt>
                <c:pt idx="6342">
                  <c:v>-0.43846672086634897</c:v>
                </c:pt>
                <c:pt idx="6343">
                  <c:v>-0.25411646800581122</c:v>
                </c:pt>
                <c:pt idx="6344">
                  <c:v>-0.33789059573650548</c:v>
                </c:pt>
                <c:pt idx="6345">
                  <c:v>-0.3496073576242269</c:v>
                </c:pt>
                <c:pt idx="6346">
                  <c:v>-0.24976169981280477</c:v>
                </c:pt>
                <c:pt idx="6347">
                  <c:v>-0.31759399231545771</c:v>
                </c:pt>
                <c:pt idx="6348">
                  <c:v>-0.52825624281569028</c:v>
                </c:pt>
                <c:pt idx="6349">
                  <c:v>-0.5914060552633621</c:v>
                </c:pt>
                <c:pt idx="6350">
                  <c:v>-0.44642853187566645</c:v>
                </c:pt>
                <c:pt idx="6351">
                  <c:v>-0.38910760816249867</c:v>
                </c:pt>
                <c:pt idx="6352">
                  <c:v>-0.42518800112209298</c:v>
                </c:pt>
                <c:pt idx="6353">
                  <c:v>-0.254729111023001</c:v>
                </c:pt>
                <c:pt idx="6354">
                  <c:v>-0.39686963900494121</c:v>
                </c:pt>
                <c:pt idx="6355">
                  <c:v>-0.38496678108157945</c:v>
                </c:pt>
                <c:pt idx="6356">
                  <c:v>-0.30845425911119151</c:v>
                </c:pt>
                <c:pt idx="6357">
                  <c:v>-0.31615888131377279</c:v>
                </c:pt>
                <c:pt idx="6358">
                  <c:v>-0.24938567932267916</c:v>
                </c:pt>
                <c:pt idx="6359">
                  <c:v>-0.30139036562285704</c:v>
                </c:pt>
                <c:pt idx="6360">
                  <c:v>-1.1525907512303171</c:v>
                </c:pt>
                <c:pt idx="6361">
                  <c:v>-1.0594778559731237</c:v>
                </c:pt>
                <c:pt idx="6362">
                  <c:v>-0.79434411745463274</c:v>
                </c:pt>
                <c:pt idx="6363">
                  <c:v>-0.60426367123031133</c:v>
                </c:pt>
                <c:pt idx="6364">
                  <c:v>-0.35372563044361238</c:v>
                </c:pt>
                <c:pt idx="6365">
                  <c:v>-0.44996167322717817</c:v>
                </c:pt>
                <c:pt idx="6366">
                  <c:v>-0.4426432738976861</c:v>
                </c:pt>
                <c:pt idx="6367">
                  <c:v>-0.3829004932426936</c:v>
                </c:pt>
                <c:pt idx="6368">
                  <c:v>-0.3995021963018105</c:v>
                </c:pt>
                <c:pt idx="6369">
                  <c:v>-0.32555137833253922</c:v>
                </c:pt>
                <c:pt idx="6370">
                  <c:v>-0.31880456739703789</c:v>
                </c:pt>
                <c:pt idx="6371">
                  <c:v>-0.48937745920423326</c:v>
                </c:pt>
                <c:pt idx="6372">
                  <c:v>-0.36675814597553846</c:v>
                </c:pt>
                <c:pt idx="6373">
                  <c:v>-0.35163984459740238</c:v>
                </c:pt>
                <c:pt idx="6374">
                  <c:v>-0.33453036170450434</c:v>
                </c:pt>
                <c:pt idx="6375">
                  <c:v>-0.63046677419412811</c:v>
                </c:pt>
                <c:pt idx="6376">
                  <c:v>-0.38098389575640734</c:v>
                </c:pt>
                <c:pt idx="6377">
                  <c:v>-0.41279267015890919</c:v>
                </c:pt>
                <c:pt idx="6378">
                  <c:v>-0.24896053504367738</c:v>
                </c:pt>
                <c:pt idx="6379">
                  <c:v>-0.30385352799274767</c:v>
                </c:pt>
                <c:pt idx="6380">
                  <c:v>-0.52071465068423495</c:v>
                </c:pt>
                <c:pt idx="6381">
                  <c:v>-0.35744516588602993</c:v>
                </c:pt>
                <c:pt idx="6382">
                  <c:v>-0.24918613403171613</c:v>
                </c:pt>
                <c:pt idx="6383">
                  <c:v>-0.32728172089236329</c:v>
                </c:pt>
                <c:pt idx="6384">
                  <c:v>-0.73178697920692548</c:v>
                </c:pt>
                <c:pt idx="6385">
                  <c:v>-0.48114579359745113</c:v>
                </c:pt>
                <c:pt idx="6386">
                  <c:v>-0.36757747154595311</c:v>
                </c:pt>
                <c:pt idx="6387">
                  <c:v>-0.30711148909663355</c:v>
                </c:pt>
                <c:pt idx="6388">
                  <c:v>-0.3651389141447885</c:v>
                </c:pt>
                <c:pt idx="6389">
                  <c:v>-0.59017740411927144</c:v>
                </c:pt>
                <c:pt idx="6390">
                  <c:v>-1.3517643739854319</c:v>
                </c:pt>
                <c:pt idx="6391">
                  <c:v>-1.5305358177596782</c:v>
                </c:pt>
                <c:pt idx="6392">
                  <c:v>-1.5519852183751111</c:v>
                </c:pt>
                <c:pt idx="6393">
                  <c:v>-2.3812067590618486</c:v>
                </c:pt>
                <c:pt idx="6394">
                  <c:v>-2.4267278382123836</c:v>
                </c:pt>
                <c:pt idx="6395">
                  <c:v>-2.5765831814410847</c:v>
                </c:pt>
                <c:pt idx="6396">
                  <c:v>-2.5838608250351447</c:v>
                </c:pt>
                <c:pt idx="6397">
                  <c:v>-2.9718167611067066</c:v>
                </c:pt>
                <c:pt idx="6398">
                  <c:v>-2.9807837079796373</c:v>
                </c:pt>
                <c:pt idx="6399">
                  <c:v>-2.9572535362149948</c:v>
                </c:pt>
                <c:pt idx="6400">
                  <c:v>-2.9334826968887837</c:v>
                </c:pt>
                <c:pt idx="6401">
                  <c:v>-2.8877717447506854</c:v>
                </c:pt>
                <c:pt idx="6402">
                  <c:v>-3.017588133426834</c:v>
                </c:pt>
                <c:pt idx="6403">
                  <c:v>-2.9753769145688724</c:v>
                </c:pt>
                <c:pt idx="6404">
                  <c:v>-1.8915025211167138</c:v>
                </c:pt>
                <c:pt idx="6405">
                  <c:v>-0.38719501996609262</c:v>
                </c:pt>
                <c:pt idx="6406">
                  <c:v>-0.38723196005683902</c:v>
                </c:pt>
                <c:pt idx="6407">
                  <c:v>-0.31332781258602838</c:v>
                </c:pt>
                <c:pt idx="6408">
                  <c:v>-0.58417654647767059</c:v>
                </c:pt>
                <c:pt idx="6409">
                  <c:v>-0.24973514949001782</c:v>
                </c:pt>
                <c:pt idx="6410">
                  <c:v>-0.58331890712768197</c:v>
                </c:pt>
                <c:pt idx="6411">
                  <c:v>-0.60566308632945076</c:v>
                </c:pt>
                <c:pt idx="6412">
                  <c:v>-0.43636607629418844</c:v>
                </c:pt>
                <c:pt idx="6413">
                  <c:v>-0.36016851895180491</c:v>
                </c:pt>
                <c:pt idx="6414">
                  <c:v>-0.32909042309530134</c:v>
                </c:pt>
                <c:pt idx="6415">
                  <c:v>-0.25647322622945901</c:v>
                </c:pt>
                <c:pt idx="6416">
                  <c:v>-0.28836022643881964</c:v>
                </c:pt>
                <c:pt idx="6417">
                  <c:v>-0.32826945016211495</c:v>
                </c:pt>
                <c:pt idx="6418">
                  <c:v>-0.34991601211589696</c:v>
                </c:pt>
                <c:pt idx="6419">
                  <c:v>-0.29810452637016938</c:v>
                </c:pt>
                <c:pt idx="6420">
                  <c:v>-0.37418567995646224</c:v>
                </c:pt>
                <c:pt idx="6421">
                  <c:v>-0.4080121079359984</c:v>
                </c:pt>
                <c:pt idx="6422">
                  <c:v>-0.38123073961642906</c:v>
                </c:pt>
                <c:pt idx="6423">
                  <c:v>-0.4077393438526874</c:v>
                </c:pt>
                <c:pt idx="6424">
                  <c:v>-1.0829635534896136</c:v>
                </c:pt>
                <c:pt idx="6425">
                  <c:v>-1.8722008315759386</c:v>
                </c:pt>
                <c:pt idx="6426">
                  <c:v>-2.0550659541149949</c:v>
                </c:pt>
                <c:pt idx="6427">
                  <c:v>-2.5193975431019142</c:v>
                </c:pt>
                <c:pt idx="6428">
                  <c:v>-1.7479470719379939</c:v>
                </c:pt>
                <c:pt idx="6429">
                  <c:v>-1.496938504942054</c:v>
                </c:pt>
                <c:pt idx="6430">
                  <c:v>-1.4525632520354801</c:v>
                </c:pt>
                <c:pt idx="6431">
                  <c:v>-1.70006036121173</c:v>
                </c:pt>
                <c:pt idx="6432">
                  <c:v>-1.860309713392382</c:v>
                </c:pt>
                <c:pt idx="6433">
                  <c:v>-2.1153340120294057</c:v>
                </c:pt>
                <c:pt idx="6434">
                  <c:v>-2.2263114775306674</c:v>
                </c:pt>
                <c:pt idx="6435">
                  <c:v>-2.6924194865802824</c:v>
                </c:pt>
                <c:pt idx="6436">
                  <c:v>-2.5938291772599955</c:v>
                </c:pt>
                <c:pt idx="6437">
                  <c:v>-1.6611365630897836</c:v>
                </c:pt>
                <c:pt idx="6438">
                  <c:v>-1.6426913252522897</c:v>
                </c:pt>
                <c:pt idx="6439">
                  <c:v>-0.67509318692145048</c:v>
                </c:pt>
                <c:pt idx="6440">
                  <c:v>-0.67411767036183168</c:v>
                </c:pt>
                <c:pt idx="6441">
                  <c:v>-0.6284769338538686</c:v>
                </c:pt>
                <c:pt idx="6442">
                  <c:v>-0.42090984421537259</c:v>
                </c:pt>
                <c:pt idx="6443">
                  <c:v>-0.29430583899225871</c:v>
                </c:pt>
                <c:pt idx="6444">
                  <c:v>-0.9733337193911864</c:v>
                </c:pt>
                <c:pt idx="6445">
                  <c:v>-1.2465258510917592</c:v>
                </c:pt>
                <c:pt idx="6446">
                  <c:v>-1.2474937301017779</c:v>
                </c:pt>
                <c:pt idx="6447">
                  <c:v>-1.4853305472688285</c:v>
                </c:pt>
                <c:pt idx="6448">
                  <c:v>-1.6360141030105302</c:v>
                </c:pt>
                <c:pt idx="6449">
                  <c:v>-1.7424343965402365</c:v>
                </c:pt>
                <c:pt idx="6450">
                  <c:v>-1.875142760781809</c:v>
                </c:pt>
                <c:pt idx="6451">
                  <c:v>-1.8485214674917863</c:v>
                </c:pt>
                <c:pt idx="6452">
                  <c:v>-1.7009345055979526</c:v>
                </c:pt>
                <c:pt idx="6453">
                  <c:v>-1.6400281859830046</c:v>
                </c:pt>
                <c:pt idx="6454">
                  <c:v>-1.6628461088655249</c:v>
                </c:pt>
                <c:pt idx="6455">
                  <c:v>-1.897990609274457</c:v>
                </c:pt>
                <c:pt idx="6456">
                  <c:v>-1.9021084631447707</c:v>
                </c:pt>
                <c:pt idx="6457">
                  <c:v>-2.3878373777287498</c:v>
                </c:pt>
                <c:pt idx="6458">
                  <c:v>-2.7065707871999436</c:v>
                </c:pt>
                <c:pt idx="6459">
                  <c:v>-2.9319294517713663</c:v>
                </c:pt>
                <c:pt idx="6460">
                  <c:v>-2.9345096975781941</c:v>
                </c:pt>
                <c:pt idx="6461">
                  <c:v>-2.839392480623844</c:v>
                </c:pt>
                <c:pt idx="6462">
                  <c:v>-2.9372813686321826</c:v>
                </c:pt>
                <c:pt idx="6463">
                  <c:v>-2.7597266792646478</c:v>
                </c:pt>
                <c:pt idx="6464">
                  <c:v>-2.7775965363267683</c:v>
                </c:pt>
                <c:pt idx="6465">
                  <c:v>-2.7438538040167684</c:v>
                </c:pt>
                <c:pt idx="6466">
                  <c:v>-2.7205588792317923</c:v>
                </c:pt>
                <c:pt idx="6467">
                  <c:v>-2.6438655350394136</c:v>
                </c:pt>
                <c:pt idx="6468">
                  <c:v>-0.92506027621026499</c:v>
                </c:pt>
                <c:pt idx="6469">
                  <c:v>-1.1251459835831321</c:v>
                </c:pt>
                <c:pt idx="6470">
                  <c:v>-0.9476783126924152</c:v>
                </c:pt>
                <c:pt idx="6471">
                  <c:v>-0.69888157695728614</c:v>
                </c:pt>
                <c:pt idx="6472">
                  <c:v>-0.79312070085173902</c:v>
                </c:pt>
                <c:pt idx="6473">
                  <c:v>-0.73166922936585077</c:v>
                </c:pt>
                <c:pt idx="6474">
                  <c:v>-0.78766563785553967</c:v>
                </c:pt>
                <c:pt idx="6475">
                  <c:v>-0.25054746643542092</c:v>
                </c:pt>
                <c:pt idx="6476">
                  <c:v>-0.75880871869658839</c:v>
                </c:pt>
                <c:pt idx="6477">
                  <c:v>-0.43710866689068884</c:v>
                </c:pt>
                <c:pt idx="6478">
                  <c:v>-0.30604684058024434</c:v>
                </c:pt>
                <c:pt idx="6479">
                  <c:v>-0.25762895123365592</c:v>
                </c:pt>
                <c:pt idx="6480">
                  <c:v>-0.28621953849653836</c:v>
                </c:pt>
                <c:pt idx="6481">
                  <c:v>-0.28407531958820165</c:v>
                </c:pt>
                <c:pt idx="6482">
                  <c:v>-2.4695722125826878</c:v>
                </c:pt>
                <c:pt idx="6483">
                  <c:v>-2.9428428598455154</c:v>
                </c:pt>
                <c:pt idx="6484">
                  <c:v>-2.8828419818454272</c:v>
                </c:pt>
                <c:pt idx="6485">
                  <c:v>-2.5090176691082067</c:v>
                </c:pt>
                <c:pt idx="6486">
                  <c:v>-1.7402205354042841</c:v>
                </c:pt>
                <c:pt idx="6487">
                  <c:v>-1.7262033988484453</c:v>
                </c:pt>
                <c:pt idx="6488">
                  <c:v>-1.3443354481510885</c:v>
                </c:pt>
                <c:pt idx="6489">
                  <c:v>-0.39989874987139207</c:v>
                </c:pt>
                <c:pt idx="6490">
                  <c:v>-0.46347295059985438</c:v>
                </c:pt>
                <c:pt idx="6491">
                  <c:v>-3.0017691097583308</c:v>
                </c:pt>
                <c:pt idx="6492">
                  <c:v>-2.8742085475228238</c:v>
                </c:pt>
                <c:pt idx="6493">
                  <c:v>-2.2743989917531562</c:v>
                </c:pt>
                <c:pt idx="6494">
                  <c:v>-1.4606057010039737</c:v>
                </c:pt>
                <c:pt idx="6495">
                  <c:v>-1.4495834531266782</c:v>
                </c:pt>
                <c:pt idx="6496">
                  <c:v>-1.102532704639356</c:v>
                </c:pt>
                <c:pt idx="6497">
                  <c:v>-1.1049761598877781</c:v>
                </c:pt>
                <c:pt idx="6498">
                  <c:v>-1.8109206095693009</c:v>
                </c:pt>
                <c:pt idx="6499">
                  <c:v>-2.4467263781148878</c:v>
                </c:pt>
                <c:pt idx="6500">
                  <c:v>-1.3981808979989159</c:v>
                </c:pt>
                <c:pt idx="6501">
                  <c:v>-1.7946689577098311</c:v>
                </c:pt>
                <c:pt idx="6502">
                  <c:v>-1.5031907279655849</c:v>
                </c:pt>
                <c:pt idx="6503">
                  <c:v>-1.0908253090616609</c:v>
                </c:pt>
                <c:pt idx="6504">
                  <c:v>-0.79418992176606606</c:v>
                </c:pt>
                <c:pt idx="6505">
                  <c:v>-0.54868160800984256</c:v>
                </c:pt>
                <c:pt idx="6506">
                  <c:v>-0.43222343692194576</c:v>
                </c:pt>
                <c:pt idx="6507">
                  <c:v>-0.35557070420817727</c:v>
                </c:pt>
                <c:pt idx="6508">
                  <c:v>-0.3258976430121584</c:v>
                </c:pt>
                <c:pt idx="6509">
                  <c:v>-0.3285947273615647</c:v>
                </c:pt>
                <c:pt idx="6510">
                  <c:v>-0.48355070679547885</c:v>
                </c:pt>
                <c:pt idx="6511">
                  <c:v>-0.2497933911047909</c:v>
                </c:pt>
                <c:pt idx="6512">
                  <c:v>-0.38925619496642572</c:v>
                </c:pt>
                <c:pt idx="6513">
                  <c:v>-0.73858804524330413</c:v>
                </c:pt>
                <c:pt idx="6514">
                  <c:v>-0.71437604937696664</c:v>
                </c:pt>
                <c:pt idx="6515">
                  <c:v>-0.58044960108574895</c:v>
                </c:pt>
                <c:pt idx="6516">
                  <c:v>-0.32291612972564487</c:v>
                </c:pt>
                <c:pt idx="6517">
                  <c:v>-0.39939509726306233</c:v>
                </c:pt>
                <c:pt idx="6518">
                  <c:v>-0.2913932762583884</c:v>
                </c:pt>
                <c:pt idx="6519">
                  <c:v>-0.41356221170986596</c:v>
                </c:pt>
                <c:pt idx="6520">
                  <c:v>-0.2498446176611212</c:v>
                </c:pt>
                <c:pt idx="6521">
                  <c:v>-0.33061978344911758</c:v>
                </c:pt>
                <c:pt idx="6522">
                  <c:v>-0.35639535034712977</c:v>
                </c:pt>
                <c:pt idx="6523">
                  <c:v>-0.46023055338179397</c:v>
                </c:pt>
                <c:pt idx="6524">
                  <c:v>-0.24981356246112776</c:v>
                </c:pt>
                <c:pt idx="6525">
                  <c:v>-0.45419242812894034</c:v>
                </c:pt>
                <c:pt idx="6526">
                  <c:v>-0.64600055740675855</c:v>
                </c:pt>
                <c:pt idx="6527">
                  <c:v>-1.2528860412337388</c:v>
                </c:pt>
                <c:pt idx="6528">
                  <c:v>-0.96788012423408276</c:v>
                </c:pt>
                <c:pt idx="6529">
                  <c:v>-0.81249644370339358</c:v>
                </c:pt>
                <c:pt idx="6530">
                  <c:v>-0.45315316219383306</c:v>
                </c:pt>
                <c:pt idx="6531">
                  <c:v>-0.25007371975406933</c:v>
                </c:pt>
                <c:pt idx="6532">
                  <c:v>-0.38372652512316796</c:v>
                </c:pt>
                <c:pt idx="6533">
                  <c:v>-0.4598032607528334</c:v>
                </c:pt>
                <c:pt idx="6534">
                  <c:v>-0.47242812358817965</c:v>
                </c:pt>
                <c:pt idx="6535">
                  <c:v>-0.43850200738925071</c:v>
                </c:pt>
                <c:pt idx="6536">
                  <c:v>-0.30002033505675751</c:v>
                </c:pt>
                <c:pt idx="6537">
                  <c:v>-0.25005408806184115</c:v>
                </c:pt>
                <c:pt idx="6538">
                  <c:v>-0.25568059162374046</c:v>
                </c:pt>
                <c:pt idx="6539">
                  <c:v>-2.0065512535380985</c:v>
                </c:pt>
                <c:pt idx="6540">
                  <c:v>-2.9546109443562441</c:v>
                </c:pt>
                <c:pt idx="6541">
                  <c:v>-2.9302273805306269</c:v>
                </c:pt>
                <c:pt idx="6542">
                  <c:v>-2.8351775086097435</c:v>
                </c:pt>
                <c:pt idx="6543">
                  <c:v>-2.8602661993758627</c:v>
                </c:pt>
                <c:pt idx="6544">
                  <c:v>-2.8087320542447962</c:v>
                </c:pt>
                <c:pt idx="6545">
                  <c:v>-2.466961071406085</c:v>
                </c:pt>
                <c:pt idx="6546">
                  <c:v>-1.8955362277571277</c:v>
                </c:pt>
                <c:pt idx="6547">
                  <c:v>-1.8178299083700837</c:v>
                </c:pt>
                <c:pt idx="6548">
                  <c:v>-1.8547674466266633</c:v>
                </c:pt>
                <c:pt idx="6549">
                  <c:v>-2.5152918459172269</c:v>
                </c:pt>
                <c:pt idx="6550">
                  <c:v>-2.7533925074696097</c:v>
                </c:pt>
                <c:pt idx="6551">
                  <c:v>-2.7549463324375401</c:v>
                </c:pt>
                <c:pt idx="6552">
                  <c:v>-2.9261869801716447</c:v>
                </c:pt>
                <c:pt idx="6553">
                  <c:v>-2.9030953773287811</c:v>
                </c:pt>
                <c:pt idx="6554">
                  <c:v>-2.9110735875250495</c:v>
                </c:pt>
                <c:pt idx="6555">
                  <c:v>-2.917461406300581</c:v>
                </c:pt>
                <c:pt idx="6556">
                  <c:v>-2.9455226434472963</c:v>
                </c:pt>
                <c:pt idx="6557">
                  <c:v>-3.0185144448334134</c:v>
                </c:pt>
                <c:pt idx="6558">
                  <c:v>-2.9497769809450776</c:v>
                </c:pt>
                <c:pt idx="6559">
                  <c:v>-2.9697995899445511</c:v>
                </c:pt>
                <c:pt idx="6560">
                  <c:v>-2.8943973946793271</c:v>
                </c:pt>
                <c:pt idx="6561">
                  <c:v>-2.9368245425592945</c:v>
                </c:pt>
                <c:pt idx="6562">
                  <c:v>-2.8890838160779495</c:v>
                </c:pt>
                <c:pt idx="6563">
                  <c:v>-2.9172959048046181</c:v>
                </c:pt>
                <c:pt idx="6564">
                  <c:v>-2.9245778747867499</c:v>
                </c:pt>
                <c:pt idx="6565">
                  <c:v>-2.9276037724811625</c:v>
                </c:pt>
                <c:pt idx="6566">
                  <c:v>-2.8835870156593781</c:v>
                </c:pt>
                <c:pt idx="6567">
                  <c:v>-2.9243857729833964</c:v>
                </c:pt>
                <c:pt idx="6568">
                  <c:v>-2.9106382429790223</c:v>
                </c:pt>
                <c:pt idx="6569">
                  <c:v>-2.9404186730669832</c:v>
                </c:pt>
                <c:pt idx="6570">
                  <c:v>-2.9193690742175002</c:v>
                </c:pt>
                <c:pt idx="6571">
                  <c:v>-2.8733290037587147</c:v>
                </c:pt>
                <c:pt idx="6572">
                  <c:v>-2.8821188902965744</c:v>
                </c:pt>
                <c:pt idx="6573">
                  <c:v>-2.9427581564402563</c:v>
                </c:pt>
                <c:pt idx="6574">
                  <c:v>-2.9171702198445315</c:v>
                </c:pt>
                <c:pt idx="6575">
                  <c:v>-2.9312064443611656</c:v>
                </c:pt>
                <c:pt idx="6576">
                  <c:v>-2.748989671841656</c:v>
                </c:pt>
                <c:pt idx="6577">
                  <c:v>-2.5907313510585155</c:v>
                </c:pt>
                <c:pt idx="6578">
                  <c:v>-2.5501914161267609</c:v>
                </c:pt>
                <c:pt idx="6579">
                  <c:v>-2.2336288928615966</c:v>
                </c:pt>
                <c:pt idx="6580">
                  <c:v>-1.1452877549562428</c:v>
                </c:pt>
                <c:pt idx="6581">
                  <c:v>-1.1335026518086664</c:v>
                </c:pt>
                <c:pt idx="6582">
                  <c:v>-0.36333934681049296</c:v>
                </c:pt>
                <c:pt idx="6583">
                  <c:v>-0.4496940532072945</c:v>
                </c:pt>
                <c:pt idx="6584">
                  <c:v>-0.6903293809865908</c:v>
                </c:pt>
                <c:pt idx="6585">
                  <c:v>-0.66334944813177654</c:v>
                </c:pt>
                <c:pt idx="6586">
                  <c:v>-0.76516300729569042</c:v>
                </c:pt>
                <c:pt idx="6587">
                  <c:v>-2.1443379177549122</c:v>
                </c:pt>
                <c:pt idx="6588">
                  <c:v>-2.8113853441515673</c:v>
                </c:pt>
                <c:pt idx="6589">
                  <c:v>-2.9264875842032305</c:v>
                </c:pt>
                <c:pt idx="6590">
                  <c:v>-2.9504686645962268</c:v>
                </c:pt>
                <c:pt idx="6591">
                  <c:v>-2.9699538579244589</c:v>
                </c:pt>
                <c:pt idx="6592">
                  <c:v>-2.902637567034636</c:v>
                </c:pt>
                <c:pt idx="6593">
                  <c:v>-2.9319690149331619</c:v>
                </c:pt>
                <c:pt idx="6594">
                  <c:v>-2.9564958374124508</c:v>
                </c:pt>
                <c:pt idx="6595">
                  <c:v>-2.9586477692953981</c:v>
                </c:pt>
                <c:pt idx="6596">
                  <c:v>-2.9026476855173207</c:v>
                </c:pt>
                <c:pt idx="6597">
                  <c:v>-2.9055467413891747</c:v>
                </c:pt>
                <c:pt idx="6598">
                  <c:v>-2.1515326770870349</c:v>
                </c:pt>
                <c:pt idx="6599">
                  <c:v>-2.4193139757235524</c:v>
                </c:pt>
                <c:pt idx="6600">
                  <c:v>-2.0544889425867288</c:v>
                </c:pt>
                <c:pt idx="6601">
                  <c:v>-0.26619645806886283</c:v>
                </c:pt>
                <c:pt idx="6602">
                  <c:v>-0.25004794027774657</c:v>
                </c:pt>
                <c:pt idx="6603">
                  <c:v>-0.33254940059554972</c:v>
                </c:pt>
                <c:pt idx="6604">
                  <c:v>-0.34587011836791226</c:v>
                </c:pt>
                <c:pt idx="6605">
                  <c:v>-0.24990645922547086</c:v>
                </c:pt>
                <c:pt idx="6606">
                  <c:v>-0.31822815414282413</c:v>
                </c:pt>
                <c:pt idx="6607">
                  <c:v>-0.30533955667944668</c:v>
                </c:pt>
                <c:pt idx="6608">
                  <c:v>-0.40646021229375218</c:v>
                </c:pt>
                <c:pt idx="6609">
                  <c:v>-0.33226781992411281</c:v>
                </c:pt>
                <c:pt idx="6610">
                  <c:v>-0.32195806051868092</c:v>
                </c:pt>
                <c:pt idx="6611">
                  <c:v>-0.67072313595203381</c:v>
                </c:pt>
                <c:pt idx="6612">
                  <c:v>-0.2805653256204339</c:v>
                </c:pt>
                <c:pt idx="6613">
                  <c:v>-0.24991448496133919</c:v>
                </c:pt>
                <c:pt idx="6614">
                  <c:v>-0.37022792139768279</c:v>
                </c:pt>
                <c:pt idx="6615">
                  <c:v>-0.32293853397204175</c:v>
                </c:pt>
                <c:pt idx="6616">
                  <c:v>-0.3285083212080061</c:v>
                </c:pt>
                <c:pt idx="6617">
                  <c:v>-0.41238033821640374</c:v>
                </c:pt>
                <c:pt idx="6618">
                  <c:v>-0.75660682910581967</c:v>
                </c:pt>
                <c:pt idx="6619">
                  <c:v>-1.5423382023221324</c:v>
                </c:pt>
                <c:pt idx="6620">
                  <c:v>-2.0521058869130289</c:v>
                </c:pt>
                <c:pt idx="6621">
                  <c:v>-2.2026059362090562</c:v>
                </c:pt>
                <c:pt idx="6622">
                  <c:v>-2.7854888431855582</c:v>
                </c:pt>
                <c:pt idx="6623">
                  <c:v>-2.7867708442323829</c:v>
                </c:pt>
                <c:pt idx="6624">
                  <c:v>-2.9527183407362783</c:v>
                </c:pt>
                <c:pt idx="6625">
                  <c:v>-2.9625366225234187</c:v>
                </c:pt>
                <c:pt idx="6626">
                  <c:v>-2.9559501276206892</c:v>
                </c:pt>
                <c:pt idx="6627">
                  <c:v>-2.9926180211064044</c:v>
                </c:pt>
                <c:pt idx="6628">
                  <c:v>-2.902670015394893</c:v>
                </c:pt>
                <c:pt idx="6629">
                  <c:v>-2.9593932102081673</c:v>
                </c:pt>
                <c:pt idx="6630">
                  <c:v>-2.9595671359541584</c:v>
                </c:pt>
                <c:pt idx="6631">
                  <c:v>-2.8943429237909961</c:v>
                </c:pt>
                <c:pt idx="6632">
                  <c:v>-2.8204172916730483</c:v>
                </c:pt>
                <c:pt idx="6633">
                  <c:v>-2.8464340152136338</c:v>
                </c:pt>
                <c:pt idx="6634">
                  <c:v>-2.7376892792977081</c:v>
                </c:pt>
                <c:pt idx="6635">
                  <c:v>-2.6935888043100107</c:v>
                </c:pt>
                <c:pt idx="6636">
                  <c:v>-1.6390228746373272</c:v>
                </c:pt>
                <c:pt idx="6637">
                  <c:v>-0.4194408810386312</c:v>
                </c:pt>
                <c:pt idx="6638">
                  <c:v>-0.3250903141830942</c:v>
                </c:pt>
                <c:pt idx="6639">
                  <c:v>-0.34174737223152962</c:v>
                </c:pt>
                <c:pt idx="6640">
                  <c:v>-0.6811936237368218</c:v>
                </c:pt>
                <c:pt idx="6641">
                  <c:v>-1.3979934980060043</c:v>
                </c:pt>
                <c:pt idx="6642">
                  <c:v>-2.3179002324723244</c:v>
                </c:pt>
                <c:pt idx="6643">
                  <c:v>-2.929929452227106</c:v>
                </c:pt>
                <c:pt idx="6644">
                  <c:v>-2.8805234453542252</c:v>
                </c:pt>
                <c:pt idx="6645">
                  <c:v>-2.8465684962852125</c:v>
                </c:pt>
                <c:pt idx="6646">
                  <c:v>-2.7936568614782464</c:v>
                </c:pt>
                <c:pt idx="6647">
                  <c:v>-2.7111986243958293</c:v>
                </c:pt>
                <c:pt idx="6648">
                  <c:v>-2.5977334797925664</c:v>
                </c:pt>
                <c:pt idx="6649">
                  <c:v>-2.7741020521644209</c:v>
                </c:pt>
                <c:pt idx="6650">
                  <c:v>-2.5335612651238408</c:v>
                </c:pt>
                <c:pt idx="6651">
                  <c:v>-2.6851932539108621</c:v>
                </c:pt>
                <c:pt idx="6652">
                  <c:v>-3.0301468672400786</c:v>
                </c:pt>
                <c:pt idx="6653">
                  <c:v>-3.0049587622792893</c:v>
                </c:pt>
                <c:pt idx="6654">
                  <c:v>-0.86574963826946971</c:v>
                </c:pt>
                <c:pt idx="6655">
                  <c:v>-0.86510792003332393</c:v>
                </c:pt>
                <c:pt idx="6656">
                  <c:v>-0.55844115820646312</c:v>
                </c:pt>
                <c:pt idx="6657">
                  <c:v>-0.43725686419744392</c:v>
                </c:pt>
                <c:pt idx="6658">
                  <c:v>-0.33352880058850809</c:v>
                </c:pt>
                <c:pt idx="6659">
                  <c:v>-0.24958994998661596</c:v>
                </c:pt>
                <c:pt idx="6660">
                  <c:v>-0.26513146666999599</c:v>
                </c:pt>
                <c:pt idx="6661">
                  <c:v>-0.34431346756060599</c:v>
                </c:pt>
                <c:pt idx="6662">
                  <c:v>-0.31750241886203945</c:v>
                </c:pt>
                <c:pt idx="6663">
                  <c:v>-0.89076606471408148</c:v>
                </c:pt>
                <c:pt idx="6664">
                  <c:v>-1.3770772085743106</c:v>
                </c:pt>
                <c:pt idx="6665">
                  <c:v>-1.9368584356862208</c:v>
                </c:pt>
                <c:pt idx="6666">
                  <c:v>-2.9068196913272466</c:v>
                </c:pt>
                <c:pt idx="6667">
                  <c:v>-2.6415303544335518</c:v>
                </c:pt>
                <c:pt idx="6668">
                  <c:v>-2.4949354770140806</c:v>
                </c:pt>
                <c:pt idx="6669">
                  <c:v>-2.3670359297614931</c:v>
                </c:pt>
                <c:pt idx="6670">
                  <c:v>-2.3419801666193356</c:v>
                </c:pt>
                <c:pt idx="6671">
                  <c:v>-2.290610177834385</c:v>
                </c:pt>
                <c:pt idx="6672">
                  <c:v>-1.824901151275411</c:v>
                </c:pt>
                <c:pt idx="6673">
                  <c:v>-1.7988924443160776</c:v>
                </c:pt>
                <c:pt idx="6674">
                  <c:v>-0.71299408655402363</c:v>
                </c:pt>
                <c:pt idx="6675">
                  <c:v>-0.31365531830159354</c:v>
                </c:pt>
                <c:pt idx="6676">
                  <c:v>-0.30332456399305074</c:v>
                </c:pt>
                <c:pt idx="6677">
                  <c:v>-0.30456678398242942</c:v>
                </c:pt>
                <c:pt idx="6678">
                  <c:v>-0.30767886459315696</c:v>
                </c:pt>
                <c:pt idx="6679">
                  <c:v>-0.292929780881935</c:v>
                </c:pt>
                <c:pt idx="6680">
                  <c:v>-0.25052210341942427</c:v>
                </c:pt>
                <c:pt idx="6681">
                  <c:v>-0.38242471731830208</c:v>
                </c:pt>
                <c:pt idx="6682">
                  <c:v>-0.59152888048130092</c:v>
                </c:pt>
                <c:pt idx="6683">
                  <c:v>-0.55485067009702482</c:v>
                </c:pt>
                <c:pt idx="6684">
                  <c:v>-0.40916253948840953</c:v>
                </c:pt>
                <c:pt idx="6685">
                  <c:v>-0.60909956457766001</c:v>
                </c:pt>
                <c:pt idx="6686">
                  <c:v>-1.1307316798637961</c:v>
                </c:pt>
                <c:pt idx="6687">
                  <c:v>-0.96385690000226154</c:v>
                </c:pt>
                <c:pt idx="6688">
                  <c:v>-0.75100559367528319</c:v>
                </c:pt>
                <c:pt idx="6689">
                  <c:v>-0.59100617889371942</c:v>
                </c:pt>
                <c:pt idx="6690">
                  <c:v>-0.48686697554734382</c:v>
                </c:pt>
                <c:pt idx="6691">
                  <c:v>-0.39889993694432269</c:v>
                </c:pt>
                <c:pt idx="6692">
                  <c:v>-0.31241575948838318</c:v>
                </c:pt>
                <c:pt idx="6693">
                  <c:v>-0.31485407255867504</c:v>
                </c:pt>
                <c:pt idx="6694">
                  <c:v>-0.3088882965309897</c:v>
                </c:pt>
                <c:pt idx="6695">
                  <c:v>-0.47456698270181896</c:v>
                </c:pt>
                <c:pt idx="6696">
                  <c:v>-0.54378313135940759</c:v>
                </c:pt>
                <c:pt idx="6697">
                  <c:v>-0.93737467030760813</c:v>
                </c:pt>
                <c:pt idx="6698">
                  <c:v>-1.242620427847682</c:v>
                </c:pt>
                <c:pt idx="6699">
                  <c:v>-1.7772313984432691</c:v>
                </c:pt>
                <c:pt idx="6700">
                  <c:v>-2.1454360211663603</c:v>
                </c:pt>
                <c:pt idx="6701">
                  <c:v>-2.8003539297133888</c:v>
                </c:pt>
                <c:pt idx="6702">
                  <c:v>-2.9328863044535902</c:v>
                </c:pt>
                <c:pt idx="6703">
                  <c:v>-1.2480055256356415</c:v>
                </c:pt>
                <c:pt idx="6704">
                  <c:v>-0.94490680108096958</c:v>
                </c:pt>
                <c:pt idx="6705">
                  <c:v>-0.71929071122284205</c:v>
                </c:pt>
                <c:pt idx="6706">
                  <c:v>-0.72008772491138517</c:v>
                </c:pt>
                <c:pt idx="6707">
                  <c:v>-0.62669041127637992</c:v>
                </c:pt>
                <c:pt idx="6708">
                  <c:v>-0.47285002815240851</c:v>
                </c:pt>
                <c:pt idx="6709">
                  <c:v>-0.5960161139098421</c:v>
                </c:pt>
                <c:pt idx="6710">
                  <c:v>-0.58282729726744931</c:v>
                </c:pt>
                <c:pt idx="6711">
                  <c:v>-0.50274955903821794</c:v>
                </c:pt>
                <c:pt idx="6712">
                  <c:v>-0.56418417304096513</c:v>
                </c:pt>
                <c:pt idx="6713">
                  <c:v>-0.47107301063011719</c:v>
                </c:pt>
                <c:pt idx="6714">
                  <c:v>-0.32779652387824443</c:v>
                </c:pt>
                <c:pt idx="6715">
                  <c:v>-0.28274078591727658</c:v>
                </c:pt>
                <c:pt idx="6716">
                  <c:v>-0.28486853196922457</c:v>
                </c:pt>
                <c:pt idx="6717">
                  <c:v>-0.28541587462675577</c:v>
                </c:pt>
                <c:pt idx="6718">
                  <c:v>-0.42893321826688502</c:v>
                </c:pt>
                <c:pt idx="6719">
                  <c:v>-0.24932334352568911</c:v>
                </c:pt>
                <c:pt idx="6720">
                  <c:v>-0.25503956135676914</c:v>
                </c:pt>
                <c:pt idx="6721">
                  <c:v>-2.9191437489650474</c:v>
                </c:pt>
                <c:pt idx="6722">
                  <c:v>-2.6965526958530943</c:v>
                </c:pt>
                <c:pt idx="6723">
                  <c:v>-2.6239515469261625</c:v>
                </c:pt>
                <c:pt idx="6724">
                  <c:v>-1.9416952026123933</c:v>
                </c:pt>
                <c:pt idx="6725">
                  <c:v>-0.77200013641166665</c:v>
                </c:pt>
                <c:pt idx="6726">
                  <c:v>-0.80025801710765043</c:v>
                </c:pt>
                <c:pt idx="6727">
                  <c:v>-1.1965420195024348</c:v>
                </c:pt>
                <c:pt idx="6728">
                  <c:v>-1.2006675111934775</c:v>
                </c:pt>
                <c:pt idx="6729">
                  <c:v>-1.054143243919236</c:v>
                </c:pt>
                <c:pt idx="6730">
                  <c:v>-0.81380410950493332</c:v>
                </c:pt>
                <c:pt idx="6731">
                  <c:v>-0.62846498408758367</c:v>
                </c:pt>
                <c:pt idx="6732">
                  <c:v>-0.52290496917047957</c:v>
                </c:pt>
                <c:pt idx="6733">
                  <c:v>-0.41734527269016841</c:v>
                </c:pt>
                <c:pt idx="6734">
                  <c:v>-0.31708608589825271</c:v>
                </c:pt>
                <c:pt idx="6735">
                  <c:v>-0.31594162850276719</c:v>
                </c:pt>
                <c:pt idx="6736">
                  <c:v>-0.56387291292119401</c:v>
                </c:pt>
                <c:pt idx="6737">
                  <c:v>-0.63018868593254429</c:v>
                </c:pt>
                <c:pt idx="6738">
                  <c:v>-0.4111912710554213</c:v>
                </c:pt>
                <c:pt idx="6739">
                  <c:v>-0.33642664125535082</c:v>
                </c:pt>
                <c:pt idx="6740">
                  <c:v>-0.25032623908635854</c:v>
                </c:pt>
                <c:pt idx="6741">
                  <c:v>-0.33482249673892617</c:v>
                </c:pt>
                <c:pt idx="6742">
                  <c:v>-0.30881258036165238</c:v>
                </c:pt>
                <c:pt idx="6743">
                  <c:v>-0.2492195892044505</c:v>
                </c:pt>
                <c:pt idx="6744">
                  <c:v>-0.85091918267944278</c:v>
                </c:pt>
                <c:pt idx="6745">
                  <c:v>-1.3126829949376686</c:v>
                </c:pt>
                <c:pt idx="6746">
                  <c:v>-1.2072563559045368</c:v>
                </c:pt>
                <c:pt idx="6747">
                  <c:v>-0.92050050398536176</c:v>
                </c:pt>
                <c:pt idx="6748">
                  <c:v>-0.56184348175375776</c:v>
                </c:pt>
                <c:pt idx="6749">
                  <c:v>-0.41072654635281491</c:v>
                </c:pt>
                <c:pt idx="6750">
                  <c:v>-0.3117358277033826</c:v>
                </c:pt>
                <c:pt idx="6751">
                  <c:v>-0.30446637745381</c:v>
                </c:pt>
                <c:pt idx="6752">
                  <c:v>-0.57055487268935445</c:v>
                </c:pt>
                <c:pt idx="6753">
                  <c:v>-0.72698067881921979</c:v>
                </c:pt>
                <c:pt idx="6754">
                  <c:v>-0.77268574273183599</c:v>
                </c:pt>
                <c:pt idx="6755">
                  <c:v>-0.90434229592143689</c:v>
                </c:pt>
                <c:pt idx="6756">
                  <c:v>-1.2169465143003544</c:v>
                </c:pt>
                <c:pt idx="6757">
                  <c:v>-1.3069111250914269</c:v>
                </c:pt>
                <c:pt idx="6758">
                  <c:v>-1.3818848104441956</c:v>
                </c:pt>
                <c:pt idx="6759">
                  <c:v>-1.4545720164380986</c:v>
                </c:pt>
                <c:pt idx="6760">
                  <c:v>-2.0610070782500451</c:v>
                </c:pt>
                <c:pt idx="6761">
                  <c:v>-2.2788051802147065</c:v>
                </c:pt>
                <c:pt idx="6762">
                  <c:v>-2.5652045765744411</c:v>
                </c:pt>
                <c:pt idx="6763">
                  <c:v>-2.4928419183152499</c:v>
                </c:pt>
                <c:pt idx="6764">
                  <c:v>-2.9453776641368101</c:v>
                </c:pt>
                <c:pt idx="6765">
                  <c:v>-2.8483196223174825</c:v>
                </c:pt>
                <c:pt idx="6766">
                  <c:v>-2.8472585139216999</c:v>
                </c:pt>
                <c:pt idx="6767">
                  <c:v>-2.7180427879566462</c:v>
                </c:pt>
                <c:pt idx="6768">
                  <c:v>-2.9472561495612144</c:v>
                </c:pt>
                <c:pt idx="6769">
                  <c:v>-2.9471935427217675</c:v>
                </c:pt>
                <c:pt idx="6770">
                  <c:v>-2.9295373188726823</c:v>
                </c:pt>
                <c:pt idx="6771">
                  <c:v>-2.8785221112598838</c:v>
                </c:pt>
                <c:pt idx="6772">
                  <c:v>-2.8774274388526995</c:v>
                </c:pt>
                <c:pt idx="6773">
                  <c:v>-2.8532024902868951</c:v>
                </c:pt>
                <c:pt idx="6774">
                  <c:v>-3.0970111009879417</c:v>
                </c:pt>
                <c:pt idx="6775">
                  <c:v>-0.78504033238251059</c:v>
                </c:pt>
                <c:pt idx="6776">
                  <c:v>-0.78886593936994209</c:v>
                </c:pt>
                <c:pt idx="6777">
                  <c:v>-0.52305307175727267</c:v>
                </c:pt>
                <c:pt idx="6778">
                  <c:v>-0.46350516429167721</c:v>
                </c:pt>
                <c:pt idx="6779">
                  <c:v>-0.40569543452903689</c:v>
                </c:pt>
                <c:pt idx="6780">
                  <c:v>-0.31508650278447881</c:v>
                </c:pt>
                <c:pt idx="6781">
                  <c:v>-0.32510779197480444</c:v>
                </c:pt>
                <c:pt idx="6782">
                  <c:v>-0.30275935462918491</c:v>
                </c:pt>
                <c:pt idx="6783">
                  <c:v>-0.34975269834097666</c:v>
                </c:pt>
                <c:pt idx="6784">
                  <c:v>-0.32704959618664287</c:v>
                </c:pt>
                <c:pt idx="6785">
                  <c:v>-0.32520150455508201</c:v>
                </c:pt>
                <c:pt idx="6786">
                  <c:v>-0.35272839907910303</c:v>
                </c:pt>
                <c:pt idx="6787">
                  <c:v>-0.57124156788869174</c:v>
                </c:pt>
                <c:pt idx="6788">
                  <c:v>-0.45893181130078109</c:v>
                </c:pt>
                <c:pt idx="6789">
                  <c:v>-0.42136064133760098</c:v>
                </c:pt>
                <c:pt idx="6790">
                  <c:v>-0.58970374943454573</c:v>
                </c:pt>
                <c:pt idx="6791">
                  <c:v>-0.62317459499622163</c:v>
                </c:pt>
                <c:pt idx="6792">
                  <c:v>-0.58990032575083706</c:v>
                </c:pt>
                <c:pt idx="6793">
                  <c:v>-0.7122665633252675</c:v>
                </c:pt>
                <c:pt idx="6794">
                  <c:v>-2.7726892019681149</c:v>
                </c:pt>
                <c:pt idx="6795">
                  <c:v>-2.9314392730546905</c:v>
                </c:pt>
                <c:pt idx="6796">
                  <c:v>-2.9610911544539258</c:v>
                </c:pt>
                <c:pt idx="6797">
                  <c:v>-2.9487703216982251</c:v>
                </c:pt>
                <c:pt idx="6798">
                  <c:v>-2.9769160800596834</c:v>
                </c:pt>
                <c:pt idx="6799">
                  <c:v>-2.937453545923721</c:v>
                </c:pt>
                <c:pt idx="6800">
                  <c:v>-2.8859576092242238</c:v>
                </c:pt>
                <c:pt idx="6801">
                  <c:v>-2.9398723966923472</c:v>
                </c:pt>
                <c:pt idx="6802">
                  <c:v>-2.91803713580014</c:v>
                </c:pt>
                <c:pt idx="6803">
                  <c:v>-2.9451593902898221</c:v>
                </c:pt>
                <c:pt idx="6804">
                  <c:v>-2.9325897403090053</c:v>
                </c:pt>
                <c:pt idx="6805">
                  <c:v>-2.8483793324181379</c:v>
                </c:pt>
                <c:pt idx="6806">
                  <c:v>-2.6037290535860182</c:v>
                </c:pt>
                <c:pt idx="6807">
                  <c:v>-2.1455232925438574</c:v>
                </c:pt>
                <c:pt idx="6808">
                  <c:v>-1.8301776778819416</c:v>
                </c:pt>
                <c:pt idx="6809">
                  <c:v>-1.4464955530827244</c:v>
                </c:pt>
                <c:pt idx="6810">
                  <c:v>-0.36124696141124224</c:v>
                </c:pt>
                <c:pt idx="6811">
                  <c:v>-0.31953927427570816</c:v>
                </c:pt>
                <c:pt idx="6812">
                  <c:v>-0.48330093672556329</c:v>
                </c:pt>
                <c:pt idx="6813">
                  <c:v>-0.55524703136879994</c:v>
                </c:pt>
                <c:pt idx="6814">
                  <c:v>-0.66500714357643764</c:v>
                </c:pt>
                <c:pt idx="6815">
                  <c:v>-0.76129857191983186</c:v>
                </c:pt>
                <c:pt idx="6816">
                  <c:v>-1.1289945241975359</c:v>
                </c:pt>
                <c:pt idx="6817">
                  <c:v>-1.3948693987281415</c:v>
                </c:pt>
                <c:pt idx="6818">
                  <c:v>-1.8819239552822264</c:v>
                </c:pt>
                <c:pt idx="6819">
                  <c:v>-2.0488926351979866</c:v>
                </c:pt>
                <c:pt idx="6820">
                  <c:v>-2.9388337780852685</c:v>
                </c:pt>
                <c:pt idx="6821">
                  <c:v>-2.7686810099929287</c:v>
                </c:pt>
                <c:pt idx="6822">
                  <c:v>-2.2888624046134356</c:v>
                </c:pt>
                <c:pt idx="6823">
                  <c:v>-1.963020097405904</c:v>
                </c:pt>
                <c:pt idx="6824">
                  <c:v>-2.0363265772806685</c:v>
                </c:pt>
                <c:pt idx="6825">
                  <c:v>-1.9924381565065246</c:v>
                </c:pt>
                <c:pt idx="6826">
                  <c:v>-1.8737374582511346</c:v>
                </c:pt>
                <c:pt idx="6827">
                  <c:v>-0.93798373826856607</c:v>
                </c:pt>
                <c:pt idx="6828">
                  <c:v>-0.70391792184182933</c:v>
                </c:pt>
                <c:pt idx="6829">
                  <c:v>-0.48599669524681466</c:v>
                </c:pt>
                <c:pt idx="6830">
                  <c:v>-0.34704358043214178</c:v>
                </c:pt>
                <c:pt idx="6831">
                  <c:v>-0.33390021583352891</c:v>
                </c:pt>
                <c:pt idx="6832">
                  <c:v>-0.5141772538998437</c:v>
                </c:pt>
                <c:pt idx="6833">
                  <c:v>-0.70028937197835706</c:v>
                </c:pt>
                <c:pt idx="6834">
                  <c:v>-0.26315646984090069</c:v>
                </c:pt>
                <c:pt idx="6835">
                  <c:v>-0.30017140636574113</c:v>
                </c:pt>
                <c:pt idx="6836">
                  <c:v>-0.24896196952706165</c:v>
                </c:pt>
                <c:pt idx="6837">
                  <c:v>-0.31634688990476245</c:v>
                </c:pt>
                <c:pt idx="6838">
                  <c:v>-0.33036190332479853</c:v>
                </c:pt>
                <c:pt idx="6839">
                  <c:v>-0.36347231432373617</c:v>
                </c:pt>
                <c:pt idx="6840">
                  <c:v>-0.64365421605439999</c:v>
                </c:pt>
                <c:pt idx="6841">
                  <c:v>-0.62692309407715074</c:v>
                </c:pt>
                <c:pt idx="6842">
                  <c:v>-0.41057343571758387</c:v>
                </c:pt>
                <c:pt idx="6843">
                  <c:v>-0.32828974956452572</c:v>
                </c:pt>
                <c:pt idx="6844">
                  <c:v>-0.30727416210285408</c:v>
                </c:pt>
                <c:pt idx="6845">
                  <c:v>-0.30769075857263239</c:v>
                </c:pt>
                <c:pt idx="6846">
                  <c:v>-0.46388441271704994</c:v>
                </c:pt>
                <c:pt idx="6847">
                  <c:v>-0.35175972782405063</c:v>
                </c:pt>
                <c:pt idx="6848">
                  <c:v>-0.57371064807202854</c:v>
                </c:pt>
                <c:pt idx="6849">
                  <c:v>-0.71059148324504318</c:v>
                </c:pt>
                <c:pt idx="6850">
                  <c:v>-1.1193758970431695</c:v>
                </c:pt>
                <c:pt idx="6851">
                  <c:v>-2.0852613467285024</c:v>
                </c:pt>
                <c:pt idx="6852">
                  <c:v>-2.6525781795948324</c:v>
                </c:pt>
                <c:pt idx="6853">
                  <c:v>-2.9564400558803126</c:v>
                </c:pt>
                <c:pt idx="6854">
                  <c:v>-2.5812303274132531</c:v>
                </c:pt>
                <c:pt idx="6855">
                  <c:v>-2.278703757751833</c:v>
                </c:pt>
                <c:pt idx="6856">
                  <c:v>-1.8635652896822943</c:v>
                </c:pt>
                <c:pt idx="6857">
                  <c:v>-1.5370309126796728</c:v>
                </c:pt>
                <c:pt idx="6858">
                  <c:v>-1.3947344726479145</c:v>
                </c:pt>
                <c:pt idx="6859">
                  <c:v>-1.315684315031548</c:v>
                </c:pt>
                <c:pt idx="6860">
                  <c:v>-1.930642103305944</c:v>
                </c:pt>
                <c:pt idx="6861">
                  <c:v>-2.0711728007932311</c:v>
                </c:pt>
                <c:pt idx="6862">
                  <c:v>-2.0116469748718733</c:v>
                </c:pt>
                <c:pt idx="6863">
                  <c:v>-2.1717572588970291</c:v>
                </c:pt>
                <c:pt idx="6864">
                  <c:v>-2.2925349956191248</c:v>
                </c:pt>
                <c:pt idx="6865">
                  <c:v>-2.9045006876458697</c:v>
                </c:pt>
                <c:pt idx="6866">
                  <c:v>-2.9663935846621103</c:v>
                </c:pt>
                <c:pt idx="6867">
                  <c:v>-2.9188967019418808</c:v>
                </c:pt>
                <c:pt idx="6868">
                  <c:v>-2.940017382826404</c:v>
                </c:pt>
                <c:pt idx="6869">
                  <c:v>-3.0590615838658275</c:v>
                </c:pt>
                <c:pt idx="6870">
                  <c:v>-3.1195228045162429</c:v>
                </c:pt>
                <c:pt idx="6871">
                  <c:v>-2.8844080961234959</c:v>
                </c:pt>
                <c:pt idx="6872">
                  <c:v>-2.9132045198358361</c:v>
                </c:pt>
                <c:pt idx="6873">
                  <c:v>-2.9245185372718985</c:v>
                </c:pt>
                <c:pt idx="6874">
                  <c:v>-2.9301975031712071</c:v>
                </c:pt>
                <c:pt idx="6875">
                  <c:v>-2.89649923287794</c:v>
                </c:pt>
                <c:pt idx="6876">
                  <c:v>-2.9279379359717246</c:v>
                </c:pt>
                <c:pt idx="6877">
                  <c:v>-2.9127834057993232</c:v>
                </c:pt>
                <c:pt idx="6878">
                  <c:v>-2.2223435773634828</c:v>
                </c:pt>
                <c:pt idx="6879">
                  <c:v>-1.9759549544957191</c:v>
                </c:pt>
                <c:pt idx="6880">
                  <c:v>-2.4382189140752337</c:v>
                </c:pt>
                <c:pt idx="6881">
                  <c:v>-2.9185458997916953</c:v>
                </c:pt>
                <c:pt idx="6882">
                  <c:v>-2.9198817479686765</c:v>
                </c:pt>
                <c:pt idx="6883">
                  <c:v>-2.9238174957374632</c:v>
                </c:pt>
                <c:pt idx="6884">
                  <c:v>-2.8016116634493651</c:v>
                </c:pt>
                <c:pt idx="6885">
                  <c:v>-2.7302042307665566</c:v>
                </c:pt>
                <c:pt idx="6886">
                  <c:v>-2.9259889036925717</c:v>
                </c:pt>
                <c:pt idx="6887">
                  <c:v>-2.8899179570160163</c:v>
                </c:pt>
                <c:pt idx="6888">
                  <c:v>-2.8497593988032066</c:v>
                </c:pt>
                <c:pt idx="6889">
                  <c:v>-2.8277839838319228</c:v>
                </c:pt>
                <c:pt idx="6890">
                  <c:v>-2.3930108325229345</c:v>
                </c:pt>
                <c:pt idx="6891">
                  <c:v>-2.4115248518131747</c:v>
                </c:pt>
                <c:pt idx="6892">
                  <c:v>-2.4285915081643163</c:v>
                </c:pt>
                <c:pt idx="6893">
                  <c:v>-2.8605078781507229</c:v>
                </c:pt>
                <c:pt idx="6894">
                  <c:v>-2.752666234314578</c:v>
                </c:pt>
                <c:pt idx="6895">
                  <c:v>-2.8829991152885714</c:v>
                </c:pt>
                <c:pt idx="6896">
                  <c:v>-2.9092675180763994</c:v>
                </c:pt>
                <c:pt idx="6897">
                  <c:v>-2.9059707112632696</c:v>
                </c:pt>
                <c:pt idx="6898">
                  <c:v>-2.7434031156596843</c:v>
                </c:pt>
                <c:pt idx="6899">
                  <c:v>-2.5568914101970686</c:v>
                </c:pt>
                <c:pt idx="6900">
                  <c:v>-2.2275080711598898</c:v>
                </c:pt>
                <c:pt idx="6901">
                  <c:v>-1.5328855933803236</c:v>
                </c:pt>
                <c:pt idx="6902">
                  <c:v>-0.63590350936615325</c:v>
                </c:pt>
                <c:pt idx="6903">
                  <c:v>-0.63348349883313526</c:v>
                </c:pt>
                <c:pt idx="6904">
                  <c:v>-0.53062113650271281</c:v>
                </c:pt>
                <c:pt idx="6905">
                  <c:v>-0.73391135383904949</c:v>
                </c:pt>
                <c:pt idx="6906">
                  <c:v>-1.1565829152783227</c:v>
                </c:pt>
                <c:pt idx="6907">
                  <c:v>-1.0438612297165561</c:v>
                </c:pt>
                <c:pt idx="6908">
                  <c:v>-0.57363850711583841</c:v>
                </c:pt>
                <c:pt idx="6909">
                  <c:v>-0.81970778806839362</c:v>
                </c:pt>
                <c:pt idx="6910">
                  <c:v>-0.65241565255081491</c:v>
                </c:pt>
                <c:pt idx="6911">
                  <c:v>-0.47022794808374879</c:v>
                </c:pt>
                <c:pt idx="6912">
                  <c:v>-0.36151820623256259</c:v>
                </c:pt>
                <c:pt idx="6913">
                  <c:v>-0.33931970022180058</c:v>
                </c:pt>
                <c:pt idx="6914">
                  <c:v>-0.24951523980135751</c:v>
                </c:pt>
                <c:pt idx="6915">
                  <c:v>-0.30050647321880763</c:v>
                </c:pt>
                <c:pt idx="6916">
                  <c:v>-0.24951698982773984</c:v>
                </c:pt>
                <c:pt idx="6917">
                  <c:v>-0.26140604025324088</c:v>
                </c:pt>
                <c:pt idx="6918">
                  <c:v>-0.7423966945371151</c:v>
                </c:pt>
                <c:pt idx="6919">
                  <c:v>-2.7733993219859516</c:v>
                </c:pt>
                <c:pt idx="6920">
                  <c:v>-2.9573474824688812</c:v>
                </c:pt>
                <c:pt idx="6921">
                  <c:v>-2.9523122897378786</c:v>
                </c:pt>
                <c:pt idx="6922">
                  <c:v>-2.8335718333364652</c:v>
                </c:pt>
                <c:pt idx="6923">
                  <c:v>-2.7873067755994518</c:v>
                </c:pt>
                <c:pt idx="6924">
                  <c:v>-2.7794379908162288</c:v>
                </c:pt>
                <c:pt idx="6925">
                  <c:v>-1.7549506067911307</c:v>
                </c:pt>
                <c:pt idx="6926">
                  <c:v>-0.92158946190100799</c:v>
                </c:pt>
                <c:pt idx="6927">
                  <c:v>-0.32557036086262703</c:v>
                </c:pt>
                <c:pt idx="6928">
                  <c:v>-0.32787802761887308</c:v>
                </c:pt>
                <c:pt idx="6929">
                  <c:v>-0.29106900235424393</c:v>
                </c:pt>
                <c:pt idx="6930">
                  <c:v>-0.58597962377716251</c:v>
                </c:pt>
                <c:pt idx="6931">
                  <c:v>-0.68810291367292775</c:v>
                </c:pt>
                <c:pt idx="6932">
                  <c:v>-0.2515386018252746</c:v>
                </c:pt>
                <c:pt idx="6933">
                  <c:v>-0.61161886123611475</c:v>
                </c:pt>
                <c:pt idx="6934">
                  <c:v>-0.88418561273012974</c:v>
                </c:pt>
                <c:pt idx="6935">
                  <c:v>-0.79151622414548528</c:v>
                </c:pt>
                <c:pt idx="6936">
                  <c:v>-0.43129345049029844</c:v>
                </c:pt>
                <c:pt idx="6937">
                  <c:v>-0.45091668163938758</c:v>
                </c:pt>
                <c:pt idx="6938">
                  <c:v>-0.27159322550341058</c:v>
                </c:pt>
                <c:pt idx="6939">
                  <c:v>-0.26457530483464897</c:v>
                </c:pt>
                <c:pt idx="6940">
                  <c:v>-0.40823524157022562</c:v>
                </c:pt>
                <c:pt idx="6941">
                  <c:v>-0.63869242319567665</c:v>
                </c:pt>
                <c:pt idx="6942">
                  <c:v>-0.45091878268126684</c:v>
                </c:pt>
                <c:pt idx="6943">
                  <c:v>-0.39577564634554363</c:v>
                </c:pt>
                <c:pt idx="6944">
                  <c:v>-0.24953826738100995</c:v>
                </c:pt>
                <c:pt idx="6945">
                  <c:v>-0.34378491729318439</c:v>
                </c:pt>
                <c:pt idx="6946">
                  <c:v>-0.24954001199688899</c:v>
                </c:pt>
                <c:pt idx="6947">
                  <c:v>-0.29224185101444922</c:v>
                </c:pt>
                <c:pt idx="6948">
                  <c:v>-0.44400910377909641</c:v>
                </c:pt>
                <c:pt idx="6949">
                  <c:v>-0.53139407821025453</c:v>
                </c:pt>
                <c:pt idx="6950">
                  <c:v>-0.59954251520758339</c:v>
                </c:pt>
                <c:pt idx="6951">
                  <c:v>-0.64692004384658075</c:v>
                </c:pt>
                <c:pt idx="6952">
                  <c:v>-1.9557136175260599</c:v>
                </c:pt>
                <c:pt idx="6953">
                  <c:v>-1.9066677476615008</c:v>
                </c:pt>
                <c:pt idx="6954">
                  <c:v>-0.46242919148915662</c:v>
                </c:pt>
                <c:pt idx="6955">
                  <c:v>-0.46358013351866945</c:v>
                </c:pt>
                <c:pt idx="6956">
                  <c:v>-0.36739053344477091</c:v>
                </c:pt>
                <c:pt idx="6957">
                  <c:v>-0.3264941976904997</c:v>
                </c:pt>
                <c:pt idx="6958">
                  <c:v>-0.41825066712683823</c:v>
                </c:pt>
                <c:pt idx="6959">
                  <c:v>-0.38475715901898344</c:v>
                </c:pt>
                <c:pt idx="6960">
                  <c:v>-0.41276751939607381</c:v>
                </c:pt>
                <c:pt idx="6961">
                  <c:v>-2.8394622678462547</c:v>
                </c:pt>
                <c:pt idx="6962">
                  <c:v>-2.9254907207484893</c:v>
                </c:pt>
                <c:pt idx="6963">
                  <c:v>-2.9418374586365683</c:v>
                </c:pt>
                <c:pt idx="6964">
                  <c:v>-3.0753287569476022</c:v>
                </c:pt>
                <c:pt idx="6965">
                  <c:v>-2.9023074065095718</c:v>
                </c:pt>
                <c:pt idx="6966">
                  <c:v>-2.9349919655661818</c:v>
                </c:pt>
                <c:pt idx="6967">
                  <c:v>-2.944707982888406</c:v>
                </c:pt>
                <c:pt idx="6968">
                  <c:v>-2.9882509103133663</c:v>
                </c:pt>
                <c:pt idx="6969">
                  <c:v>-2.9525873696698253</c:v>
                </c:pt>
                <c:pt idx="6970">
                  <c:v>-3.0835001415851031</c:v>
                </c:pt>
                <c:pt idx="6971">
                  <c:v>-2.9656803048206748</c:v>
                </c:pt>
                <c:pt idx="6972">
                  <c:v>-2.9617871089523575</c:v>
                </c:pt>
                <c:pt idx="6973">
                  <c:v>-2.821656742194961</c:v>
                </c:pt>
                <c:pt idx="6974">
                  <c:v>-2.6927611859197818</c:v>
                </c:pt>
                <c:pt idx="6975">
                  <c:v>-2.5179485826182981</c:v>
                </c:pt>
                <c:pt idx="6976">
                  <c:v>-2.1854295351608499</c:v>
                </c:pt>
                <c:pt idx="6977">
                  <c:v>-2.1880156410247338</c:v>
                </c:pt>
                <c:pt idx="6978">
                  <c:v>-2.2133275193626529</c:v>
                </c:pt>
                <c:pt idx="6979">
                  <c:v>-2.4843139812178836</c:v>
                </c:pt>
                <c:pt idx="6980">
                  <c:v>-2.332153961895155</c:v>
                </c:pt>
                <c:pt idx="6981">
                  <c:v>-1.4630601187507073</c:v>
                </c:pt>
                <c:pt idx="6982">
                  <c:v>-1.4812062782270641</c:v>
                </c:pt>
                <c:pt idx="6983">
                  <c:v>-1.977612649834966</c:v>
                </c:pt>
                <c:pt idx="6984">
                  <c:v>-1.984291302227196</c:v>
                </c:pt>
                <c:pt idx="6985">
                  <c:v>-2.8721926970574594</c:v>
                </c:pt>
                <c:pt idx="6986">
                  <c:v>-2.8722580410566372</c:v>
                </c:pt>
                <c:pt idx="6987">
                  <c:v>-2.9101720784704321</c:v>
                </c:pt>
                <c:pt idx="6988">
                  <c:v>-2.876357758863529</c:v>
                </c:pt>
                <c:pt idx="6989">
                  <c:v>-2.9188131617045077</c:v>
                </c:pt>
                <c:pt idx="6990">
                  <c:v>-2.9068435258433416</c:v>
                </c:pt>
                <c:pt idx="6991">
                  <c:v>-2.9436706987431402</c:v>
                </c:pt>
                <c:pt idx="6992">
                  <c:v>-2.9400291154734171</c:v>
                </c:pt>
                <c:pt idx="6993">
                  <c:v>-2.9703655204319319</c:v>
                </c:pt>
                <c:pt idx="6994">
                  <c:v>-3.0658835746364979</c:v>
                </c:pt>
                <c:pt idx="6995">
                  <c:v>-2.9760622060816075</c:v>
                </c:pt>
                <c:pt idx="6996">
                  <c:v>-2.9270330022331525</c:v>
                </c:pt>
                <c:pt idx="6997">
                  <c:v>-2.9437418551149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2CA-43D1-9B5E-DB9227CD4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1228464"/>
        <c:axId val="791226832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Q6&amp;Q7'!$D$3</c15:sqref>
                        </c15:formulaRef>
                      </c:ext>
                    </c:extLst>
                    <c:strCache>
                      <c:ptCount val="1"/>
                      <c:pt idx="0">
                        <c:v>SURJEK_PUMP_TORQU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Q6&amp;Q7'!$D$4:$D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-2.4360849999999998</c:v>
                      </c:pt>
                      <c:pt idx="414">
                        <c:v>-2.4359830659999999</c:v>
                      </c:pt>
                      <c:pt idx="415">
                        <c:v>-2.4358230170000001</c:v>
                      </c:pt>
                      <c:pt idx="416">
                        <c:v>-2.4357496940000001</c:v>
                      </c:pt>
                      <c:pt idx="417">
                        <c:v>-2.4357357309999998</c:v>
                      </c:pt>
                      <c:pt idx="418">
                        <c:v>-2.4352991679999998</c:v>
                      </c:pt>
                      <c:pt idx="419">
                        <c:v>-2.4349787279999999</c:v>
                      </c:pt>
                      <c:pt idx="420">
                        <c:v>-2.4348721370000002</c:v>
                      </c:pt>
                      <c:pt idx="421">
                        <c:v>-2.434629793</c:v>
                      </c:pt>
                      <c:pt idx="422">
                        <c:v>-2.43461492</c:v>
                      </c:pt>
                      <c:pt idx="423">
                        <c:v>-2.434556921</c:v>
                      </c:pt>
                      <c:pt idx="424">
                        <c:v>-2.4344841580000001</c:v>
                      </c:pt>
                      <c:pt idx="425">
                        <c:v>-2.4343095780000001</c:v>
                      </c:pt>
                      <c:pt idx="426">
                        <c:v>-2.4342805240000001</c:v>
                      </c:pt>
                      <c:pt idx="427">
                        <c:v>-2.4340912970000002</c:v>
                      </c:pt>
                      <c:pt idx="428">
                        <c:v>-2.433945553</c:v>
                      </c:pt>
                      <c:pt idx="429">
                        <c:v>-2.4338292049999999</c:v>
                      </c:pt>
                      <c:pt idx="430">
                        <c:v>-2.4338002599999999</c:v>
                      </c:pt>
                      <c:pt idx="431">
                        <c:v>-2.433290934</c:v>
                      </c:pt>
                      <c:pt idx="432">
                        <c:v>-2.4331599389999998</c:v>
                      </c:pt>
                      <c:pt idx="433">
                        <c:v>-2.4331017070000001</c:v>
                      </c:pt>
                      <c:pt idx="434">
                        <c:v>-2.4330144210000002</c:v>
                      </c:pt>
                      <c:pt idx="435">
                        <c:v>-2.4329851339999999</c:v>
                      </c:pt>
                      <c:pt idx="436">
                        <c:v>-2.4329126040000002</c:v>
                      </c:pt>
                      <c:pt idx="437">
                        <c:v>-2.4327523210000002</c:v>
                      </c:pt>
                      <c:pt idx="438">
                        <c:v>-2.4326796750000002</c:v>
                      </c:pt>
                      <c:pt idx="439">
                        <c:v>-2.4325050949999998</c:v>
                      </c:pt>
                      <c:pt idx="440">
                        <c:v>-2.4324178089999999</c:v>
                      </c:pt>
                      <c:pt idx="441">
                        <c:v>-2.4323738819999998</c:v>
                      </c:pt>
                      <c:pt idx="442">
                        <c:v>-2.432272057</c:v>
                      </c:pt>
                      <c:pt idx="443">
                        <c:v>-2.4322576429999998</c:v>
                      </c:pt>
                      <c:pt idx="444">
                        <c:v>-2.432228356</c:v>
                      </c:pt>
                      <c:pt idx="445">
                        <c:v>-2.4318210800000002</c:v>
                      </c:pt>
                      <c:pt idx="446">
                        <c:v>-2.4317920260000001</c:v>
                      </c:pt>
                      <c:pt idx="447">
                        <c:v>-2.4317629639999998</c:v>
                      </c:pt>
                      <c:pt idx="448">
                        <c:v>-2.431690202</c:v>
                      </c:pt>
                      <c:pt idx="449">
                        <c:v>-2.4316319690000001</c:v>
                      </c:pt>
                      <c:pt idx="450">
                        <c:v>-2.4316174460000002</c:v>
                      </c:pt>
                      <c:pt idx="451">
                        <c:v>-2.4316027990000002</c:v>
                      </c:pt>
                      <c:pt idx="452">
                        <c:v>-2.43144275</c:v>
                      </c:pt>
                      <c:pt idx="453">
                        <c:v>-2.4313991650000002</c:v>
                      </c:pt>
                      <c:pt idx="454">
                        <c:v>-2.4311371820000001</c:v>
                      </c:pt>
                      <c:pt idx="455">
                        <c:v>-2.4310644190000001</c:v>
                      </c:pt>
                      <c:pt idx="456">
                        <c:v>-2.4309043699999999</c:v>
                      </c:pt>
                      <c:pt idx="457">
                        <c:v>-2.4308898390000002</c:v>
                      </c:pt>
                      <c:pt idx="458">
                        <c:v>-2.43029311</c:v>
                      </c:pt>
                      <c:pt idx="459">
                        <c:v>-2.43027858</c:v>
                      </c:pt>
                      <c:pt idx="460">
                        <c:v>-2.430264056</c:v>
                      </c:pt>
                      <c:pt idx="461">
                        <c:v>-2.4301473659999999</c:v>
                      </c:pt>
                      <c:pt idx="462">
                        <c:v>-2.4301185300000001</c:v>
                      </c:pt>
                      <c:pt idx="463">
                        <c:v>-2.429972786</c:v>
                      </c:pt>
                      <c:pt idx="464">
                        <c:v>-2.4299584809999999</c:v>
                      </c:pt>
                      <c:pt idx="465">
                        <c:v>-2.4298710780000001</c:v>
                      </c:pt>
                      <c:pt idx="466">
                        <c:v>-2.4297692610000001</c:v>
                      </c:pt>
                      <c:pt idx="467">
                        <c:v>-2.4296819680000001</c:v>
                      </c:pt>
                      <c:pt idx="468">
                        <c:v>-2.4296237359999999</c:v>
                      </c:pt>
                      <c:pt idx="469">
                        <c:v>-2.4295946810000002</c:v>
                      </c:pt>
                      <c:pt idx="470">
                        <c:v>-2.4295652780000001</c:v>
                      </c:pt>
                      <c:pt idx="471">
                        <c:v>-2.4292454050000001</c:v>
                      </c:pt>
                      <c:pt idx="472">
                        <c:v>-2.4292307649999998</c:v>
                      </c:pt>
                      <c:pt idx="473">
                        <c:v>-2.4290416540000002</c:v>
                      </c:pt>
                      <c:pt idx="474">
                        <c:v>-2.4289979530000001</c:v>
                      </c:pt>
                      <c:pt idx="475">
                        <c:v>-2.428342883</c:v>
                      </c:pt>
                      <c:pt idx="476">
                        <c:v>-2.4282848769999998</c:v>
                      </c:pt>
                      <c:pt idx="477">
                        <c:v>-2.4282267609999999</c:v>
                      </c:pt>
                      <c:pt idx="478">
                        <c:v>-2.4282117790000002</c:v>
                      </c:pt>
                      <c:pt idx="479">
                        <c:v>-2.427775558</c:v>
                      </c:pt>
                      <c:pt idx="480">
                        <c:v>-2.4276446800000002</c:v>
                      </c:pt>
                      <c:pt idx="481">
                        <c:v>-2.42739722</c:v>
                      </c:pt>
                      <c:pt idx="482">
                        <c:v>-2.4272368360000001</c:v>
                      </c:pt>
                      <c:pt idx="483">
                        <c:v>-2.427207884</c:v>
                      </c:pt>
                      <c:pt idx="484">
                        <c:v>-2.4271641829999999</c:v>
                      </c:pt>
                      <c:pt idx="485">
                        <c:v>-2.4270910849999998</c:v>
                      </c:pt>
                      <c:pt idx="486">
                        <c:v>-2.4270186640000002</c:v>
                      </c:pt>
                      <c:pt idx="487">
                        <c:v>-2.426960657</c:v>
                      </c:pt>
                      <c:pt idx="488">
                        <c:v>-2.4269455660000001</c:v>
                      </c:pt>
                      <c:pt idx="489">
                        <c:v>-2.4269167299999999</c:v>
                      </c:pt>
                      <c:pt idx="490">
                        <c:v>-2.426902433</c:v>
                      </c:pt>
                      <c:pt idx="491">
                        <c:v>-2.4266839180000002</c:v>
                      </c:pt>
                      <c:pt idx="492">
                        <c:v>-2.4266255769999998</c:v>
                      </c:pt>
                      <c:pt idx="493">
                        <c:v>-2.4265530470000001</c:v>
                      </c:pt>
                      <c:pt idx="494">
                        <c:v>-2.4254322369999999</c:v>
                      </c:pt>
                      <c:pt idx="495">
                        <c:v>-2.424893966</c:v>
                      </c:pt>
                      <c:pt idx="496">
                        <c:v>-2.4248651369999998</c:v>
                      </c:pt>
                      <c:pt idx="497">
                        <c:v>-2.4248501550000001</c:v>
                      </c:pt>
                      <c:pt idx="498">
                        <c:v>-2.42483585</c:v>
                      </c:pt>
                      <c:pt idx="499">
                        <c:v>-2.424661161</c:v>
                      </c:pt>
                      <c:pt idx="500">
                        <c:v>-2.4246323250000001</c:v>
                      </c:pt>
                      <c:pt idx="501">
                        <c:v>-2.4245595689999999</c:v>
                      </c:pt>
                      <c:pt idx="502">
                        <c:v>-2.4242970189999999</c:v>
                      </c:pt>
                      <c:pt idx="503">
                        <c:v>-2.424195653</c:v>
                      </c:pt>
                      <c:pt idx="504">
                        <c:v>-2.4240645490000001</c:v>
                      </c:pt>
                      <c:pt idx="505">
                        <c:v>-2.4238753220000002</c:v>
                      </c:pt>
                      <c:pt idx="506">
                        <c:v>-2.4237882609999999</c:v>
                      </c:pt>
                      <c:pt idx="507">
                        <c:v>-2.4237732790000002</c:v>
                      </c:pt>
                      <c:pt idx="508">
                        <c:v>-2.423715273</c:v>
                      </c:pt>
                      <c:pt idx="509">
                        <c:v>-2.4236715709999999</c:v>
                      </c:pt>
                      <c:pt idx="510">
                        <c:v>-2.4234389850000002</c:v>
                      </c:pt>
                      <c:pt idx="511">
                        <c:v>-2.4233954</c:v>
                      </c:pt>
                      <c:pt idx="512">
                        <c:v>-2.4232931240000002</c:v>
                      </c:pt>
                      <c:pt idx="513">
                        <c:v>-2.4232207030000001</c:v>
                      </c:pt>
                      <c:pt idx="514">
                        <c:v>-2.4228859649999999</c:v>
                      </c:pt>
                      <c:pt idx="515">
                        <c:v>-2.4220565409999999</c:v>
                      </c:pt>
                      <c:pt idx="516">
                        <c:v>-2.4220272540000001</c:v>
                      </c:pt>
                      <c:pt idx="517">
                        <c:v>-2.4220128390000002</c:v>
                      </c:pt>
                      <c:pt idx="518">
                        <c:v>-2.421939509</c:v>
                      </c:pt>
                      <c:pt idx="519">
                        <c:v>-2.4218815020000002</c:v>
                      </c:pt>
                      <c:pt idx="520">
                        <c:v>-2.421837692</c:v>
                      </c:pt>
                      <c:pt idx="521">
                        <c:v>-2.421546647</c:v>
                      </c:pt>
                      <c:pt idx="522">
                        <c:v>-2.4214884149999998</c:v>
                      </c:pt>
                      <c:pt idx="523">
                        <c:v>-2.4214447140000002</c:v>
                      </c:pt>
                      <c:pt idx="524">
                        <c:v>-2.4213867150000001</c:v>
                      </c:pt>
                      <c:pt idx="525">
                        <c:v>-2.4213579950000002</c:v>
                      </c:pt>
                      <c:pt idx="526">
                        <c:v>-2.4213427799999998</c:v>
                      </c:pt>
                      <c:pt idx="527">
                        <c:v>-2.421226774</c:v>
                      </c:pt>
                      <c:pt idx="528">
                        <c:v>-2.421197378</c:v>
                      </c:pt>
                      <c:pt idx="529">
                        <c:v>-2.420979097</c:v>
                      </c:pt>
                      <c:pt idx="530">
                        <c:v>-2.4209062179999998</c:v>
                      </c:pt>
                      <c:pt idx="531">
                        <c:v>-2.4206736379999998</c:v>
                      </c:pt>
                      <c:pt idx="532">
                        <c:v>-2.4205280029999998</c:v>
                      </c:pt>
                      <c:pt idx="533">
                        <c:v>-2.4199022129999999</c:v>
                      </c:pt>
                      <c:pt idx="534">
                        <c:v>-2.4198005130000002</c:v>
                      </c:pt>
                      <c:pt idx="535">
                        <c:v>-2.419102418</c:v>
                      </c:pt>
                      <c:pt idx="536">
                        <c:v>-2.4190004850000002</c:v>
                      </c:pt>
                      <c:pt idx="537">
                        <c:v>-2.4189569</c:v>
                      </c:pt>
                      <c:pt idx="538">
                        <c:v>-2.4188113740000001</c:v>
                      </c:pt>
                      <c:pt idx="539">
                        <c:v>-2.4187238619999998</c:v>
                      </c:pt>
                      <c:pt idx="540">
                        <c:v>-2.418709448</c:v>
                      </c:pt>
                      <c:pt idx="541">
                        <c:v>-2.4178945469999999</c:v>
                      </c:pt>
                      <c:pt idx="542">
                        <c:v>-2.4171812450000001</c:v>
                      </c:pt>
                      <c:pt idx="543">
                        <c:v>-2.4170796540000001</c:v>
                      </c:pt>
                      <c:pt idx="544">
                        <c:v>-2.416934135</c:v>
                      </c:pt>
                      <c:pt idx="545">
                        <c:v>-2.4166721519999999</c:v>
                      </c:pt>
                      <c:pt idx="546">
                        <c:v>-2.4165988220000001</c:v>
                      </c:pt>
                      <c:pt idx="547">
                        <c:v>-2.4165846329999998</c:v>
                      </c:pt>
                      <c:pt idx="548">
                        <c:v>-2.4165703349999998</c:v>
                      </c:pt>
                      <c:pt idx="549">
                        <c:v>-2.4165552369999999</c:v>
                      </c:pt>
                      <c:pt idx="550">
                        <c:v>-2.4164971209999999</c:v>
                      </c:pt>
                      <c:pt idx="551">
                        <c:v>-2.4163811079999999</c:v>
                      </c:pt>
                      <c:pt idx="552">
                        <c:v>-2.4161767900000002</c:v>
                      </c:pt>
                      <c:pt idx="553">
                        <c:v>-2.4161626009999999</c:v>
                      </c:pt>
                      <c:pt idx="554">
                        <c:v>-2.4160607839999999</c:v>
                      </c:pt>
                      <c:pt idx="555">
                        <c:v>-2.4158714479999999</c:v>
                      </c:pt>
                      <c:pt idx="556">
                        <c:v>-2.415857033</c:v>
                      </c:pt>
                      <c:pt idx="557">
                        <c:v>-2.4158277460000002</c:v>
                      </c:pt>
                      <c:pt idx="558">
                        <c:v>-2.4156680389999998</c:v>
                      </c:pt>
                      <c:pt idx="559">
                        <c:v>-2.4156384100000001</c:v>
                      </c:pt>
                      <c:pt idx="560">
                        <c:v>-2.4156096900000001</c:v>
                      </c:pt>
                      <c:pt idx="561">
                        <c:v>-2.415551684</c:v>
                      </c:pt>
                      <c:pt idx="562">
                        <c:v>-2.4154491899999999</c:v>
                      </c:pt>
                      <c:pt idx="563">
                        <c:v>-2.415420245</c:v>
                      </c:pt>
                      <c:pt idx="564">
                        <c:v>-2.4152454319999999</c:v>
                      </c:pt>
                      <c:pt idx="565">
                        <c:v>-2.415230792</c:v>
                      </c:pt>
                      <c:pt idx="566">
                        <c:v>-2.4149689259999998</c:v>
                      </c:pt>
                      <c:pt idx="567">
                        <c:v>-2.414910919</c:v>
                      </c:pt>
                      <c:pt idx="568">
                        <c:v>-2.4148966139999999</c:v>
                      </c:pt>
                      <c:pt idx="569">
                        <c:v>-2.413746749</c:v>
                      </c:pt>
                      <c:pt idx="570">
                        <c:v>-2.4136010049999999</c:v>
                      </c:pt>
                      <c:pt idx="571">
                        <c:v>-2.4135867000000002</c:v>
                      </c:pt>
                      <c:pt idx="572">
                        <c:v>-2.4133251690000002</c:v>
                      </c:pt>
                      <c:pt idx="573">
                        <c:v>-2.4133099609999999</c:v>
                      </c:pt>
                      <c:pt idx="574">
                        <c:v>-2.4132519549999998</c:v>
                      </c:pt>
                      <c:pt idx="575">
                        <c:v>-2.4131357229999999</c:v>
                      </c:pt>
                      <c:pt idx="576">
                        <c:v>-2.4131064360000001</c:v>
                      </c:pt>
                      <c:pt idx="577">
                        <c:v>-2.4130047280000002</c:v>
                      </c:pt>
                      <c:pt idx="578">
                        <c:v>-2.4125536420000002</c:v>
                      </c:pt>
                      <c:pt idx="579">
                        <c:v>-2.4123931340000002</c:v>
                      </c:pt>
                      <c:pt idx="580">
                        <c:v>-2.4123786030000001</c:v>
                      </c:pt>
                      <c:pt idx="581">
                        <c:v>-2.4120445419999998</c:v>
                      </c:pt>
                      <c:pt idx="582">
                        <c:v>-2.411986084</c:v>
                      </c:pt>
                      <c:pt idx="583">
                        <c:v>-2.4119278519999998</c:v>
                      </c:pt>
                      <c:pt idx="584">
                        <c:v>-2.4119128700000001</c:v>
                      </c:pt>
                      <c:pt idx="585">
                        <c:v>-2.4117531630000002</c:v>
                      </c:pt>
                      <c:pt idx="586">
                        <c:v>-2.4117382900000002</c:v>
                      </c:pt>
                      <c:pt idx="587">
                        <c:v>-2.41166576</c:v>
                      </c:pt>
                      <c:pt idx="588">
                        <c:v>-2.4116514549999999</c:v>
                      </c:pt>
                      <c:pt idx="589">
                        <c:v>-2.411621942</c:v>
                      </c:pt>
                      <c:pt idx="590">
                        <c:v>-2.411578124</c:v>
                      </c:pt>
                      <c:pt idx="591">
                        <c:v>-2.4115200090000002</c:v>
                      </c:pt>
                      <c:pt idx="592">
                        <c:v>-2.4112439530000001</c:v>
                      </c:pt>
                      <c:pt idx="593">
                        <c:v>-2.4109238479999999</c:v>
                      </c:pt>
                      <c:pt idx="594">
                        <c:v>-2.4108943350000001</c:v>
                      </c:pt>
                      <c:pt idx="595">
                        <c:v>-2.410196022</c:v>
                      </c:pt>
                      <c:pt idx="596">
                        <c:v>-2.4098901050000001</c:v>
                      </c:pt>
                      <c:pt idx="597">
                        <c:v>-2.4098467459999999</c:v>
                      </c:pt>
                      <c:pt idx="598">
                        <c:v>-2.409424714</c:v>
                      </c:pt>
                      <c:pt idx="599">
                        <c:v>-2.4089733949999999</c:v>
                      </c:pt>
                      <c:pt idx="600">
                        <c:v>-2.408944333</c:v>
                      </c:pt>
                      <c:pt idx="601">
                        <c:v>-2.4089157299999999</c:v>
                      </c:pt>
                      <c:pt idx="602">
                        <c:v>-2.4087553389999998</c:v>
                      </c:pt>
                      <c:pt idx="603">
                        <c:v>-2.4087408080000001</c:v>
                      </c:pt>
                      <c:pt idx="604">
                        <c:v>-2.4086822410000002</c:v>
                      </c:pt>
                      <c:pt idx="605">
                        <c:v>-2.4085371740000001</c:v>
                      </c:pt>
                      <c:pt idx="606">
                        <c:v>-2.408522869</c:v>
                      </c:pt>
                      <c:pt idx="607">
                        <c:v>-2.408260319</c:v>
                      </c:pt>
                      <c:pt idx="608">
                        <c:v>-2.4081732580000001</c:v>
                      </c:pt>
                      <c:pt idx="609">
                        <c:v>-2.408158501</c:v>
                      </c:pt>
                      <c:pt idx="610">
                        <c:v>-2.4079110419999998</c:v>
                      </c:pt>
                      <c:pt idx="611">
                        <c:v>-2.4064123589999999</c:v>
                      </c:pt>
                      <c:pt idx="612">
                        <c:v>-2.4059616080000001</c:v>
                      </c:pt>
                      <c:pt idx="613">
                        <c:v>-2.4059465169999998</c:v>
                      </c:pt>
                      <c:pt idx="614">
                        <c:v>-2.4051319580000001</c:v>
                      </c:pt>
                      <c:pt idx="615">
                        <c:v>-2.405117202</c:v>
                      </c:pt>
                      <c:pt idx="616">
                        <c:v>-2.4046368290000002</c:v>
                      </c:pt>
                      <c:pt idx="617">
                        <c:v>-2.404592327</c:v>
                      </c:pt>
                      <c:pt idx="618">
                        <c:v>-2.4045785959999999</c:v>
                      </c:pt>
                      <c:pt idx="619">
                        <c:v>-2.404549877</c:v>
                      </c:pt>
                      <c:pt idx="620">
                        <c:v>-2.4045061749999999</c:v>
                      </c:pt>
                      <c:pt idx="621">
                        <c:v>-2.4044474920000001</c:v>
                      </c:pt>
                      <c:pt idx="622">
                        <c:v>-2.4036617690000002</c:v>
                      </c:pt>
                      <c:pt idx="623">
                        <c:v>-2.4036330499999998</c:v>
                      </c:pt>
                      <c:pt idx="624">
                        <c:v>-2.4036180680000001</c:v>
                      </c:pt>
                      <c:pt idx="625">
                        <c:v>-2.4035164760000001</c:v>
                      </c:pt>
                      <c:pt idx="626">
                        <c:v>-2.4033709509999999</c:v>
                      </c:pt>
                      <c:pt idx="627">
                        <c:v>-2.4033564200000002</c:v>
                      </c:pt>
                      <c:pt idx="628">
                        <c:v>-2.4033270240000002</c:v>
                      </c:pt>
                      <c:pt idx="629">
                        <c:v>-2.4032980789999998</c:v>
                      </c:pt>
                      <c:pt idx="630">
                        <c:v>-2.4032837730000001</c:v>
                      </c:pt>
                      <c:pt idx="631">
                        <c:v>-2.4032543770000001</c:v>
                      </c:pt>
                      <c:pt idx="632">
                        <c:v>-2.4032252070000002</c:v>
                      </c:pt>
                      <c:pt idx="633">
                        <c:v>-2.4029778639999999</c:v>
                      </c:pt>
                      <c:pt idx="634">
                        <c:v>-2.4029479</c:v>
                      </c:pt>
                      <c:pt idx="635">
                        <c:v>-2.4028904610000001</c:v>
                      </c:pt>
                      <c:pt idx="636">
                        <c:v>-2.4028178140000001</c:v>
                      </c:pt>
                      <c:pt idx="637">
                        <c:v>-2.4027886440000001</c:v>
                      </c:pt>
                      <c:pt idx="638">
                        <c:v>-2.4027599240000002</c:v>
                      </c:pt>
                      <c:pt idx="639">
                        <c:v>-2.4026568560000001</c:v>
                      </c:pt>
                      <c:pt idx="640">
                        <c:v>-2.4025703620000001</c:v>
                      </c:pt>
                      <c:pt idx="641">
                        <c:v>-2.4024676359999999</c:v>
                      </c:pt>
                      <c:pt idx="642">
                        <c:v>-2.4023670629999998</c:v>
                      </c:pt>
                      <c:pt idx="643">
                        <c:v>-2.4023375499999999</c:v>
                      </c:pt>
                      <c:pt idx="644">
                        <c:v>-2.4023233620000002</c:v>
                      </c:pt>
                      <c:pt idx="645">
                        <c:v>-2.4023082630000001</c:v>
                      </c:pt>
                      <c:pt idx="646">
                        <c:v>-2.401653987</c:v>
                      </c:pt>
                      <c:pt idx="647">
                        <c:v>-2.4014788390000001</c:v>
                      </c:pt>
                      <c:pt idx="648">
                        <c:v>-2.4014496680000001</c:v>
                      </c:pt>
                      <c:pt idx="649">
                        <c:v>-2.4013471669999999</c:v>
                      </c:pt>
                      <c:pt idx="650">
                        <c:v>-2.4012023259999999</c:v>
                      </c:pt>
                      <c:pt idx="651">
                        <c:v>-2.3999076260000001</c:v>
                      </c:pt>
                      <c:pt idx="652">
                        <c:v>-2.399703868</c:v>
                      </c:pt>
                      <c:pt idx="653">
                        <c:v>-2.3996882099999999</c:v>
                      </c:pt>
                      <c:pt idx="654">
                        <c:v>-2.399528954</c:v>
                      </c:pt>
                      <c:pt idx="655">
                        <c:v>-2.3994710640000001</c:v>
                      </c:pt>
                      <c:pt idx="656">
                        <c:v>-2.399441886</c:v>
                      </c:pt>
                      <c:pt idx="657">
                        <c:v>-2.3984228999999999</c:v>
                      </c:pt>
                      <c:pt idx="658">
                        <c:v>-2.3981755640000002</c:v>
                      </c:pt>
                      <c:pt idx="659">
                        <c:v>-2.398015515</c:v>
                      </c:pt>
                      <c:pt idx="660">
                        <c:v>-2.3980013260000002</c:v>
                      </c:pt>
                      <c:pt idx="661">
                        <c:v>-2.3977975680000001</c:v>
                      </c:pt>
                      <c:pt idx="662">
                        <c:v>-2.3977680549999998</c:v>
                      </c:pt>
                      <c:pt idx="663">
                        <c:v>-2.3975344500000002</c:v>
                      </c:pt>
                      <c:pt idx="664">
                        <c:v>-2.3974325169999999</c:v>
                      </c:pt>
                      <c:pt idx="665">
                        <c:v>-2.3973750850000002</c:v>
                      </c:pt>
                      <c:pt idx="666">
                        <c:v>-2.3972444319999999</c:v>
                      </c:pt>
                      <c:pt idx="667">
                        <c:v>-2.3971568040000002</c:v>
                      </c:pt>
                      <c:pt idx="668">
                        <c:v>-2.3970978870000001</c:v>
                      </c:pt>
                      <c:pt idx="669">
                        <c:v>-2.397069852</c:v>
                      </c:pt>
                      <c:pt idx="670">
                        <c:v>-2.3967352229999999</c:v>
                      </c:pt>
                      <c:pt idx="671">
                        <c:v>-2.3966478200000001</c:v>
                      </c:pt>
                      <c:pt idx="672">
                        <c:v>-2.3965885689999999</c:v>
                      </c:pt>
                      <c:pt idx="673">
                        <c:v>-2.3958183960000001</c:v>
                      </c:pt>
                      <c:pt idx="674">
                        <c:v>-2.3958035230000001</c:v>
                      </c:pt>
                      <c:pt idx="675">
                        <c:v>-2.3957889990000001</c:v>
                      </c:pt>
                      <c:pt idx="676">
                        <c:v>-2.3956434739999999</c:v>
                      </c:pt>
                      <c:pt idx="677">
                        <c:v>-2.3956141870000001</c:v>
                      </c:pt>
                      <c:pt idx="678">
                        <c:v>-2.3955698089999999</c:v>
                      </c:pt>
                      <c:pt idx="679">
                        <c:v>-2.3955127119999999</c:v>
                      </c:pt>
                      <c:pt idx="680">
                        <c:v>-2.3952351790000002</c:v>
                      </c:pt>
                      <c:pt idx="681">
                        <c:v>-2.3951485699999999</c:v>
                      </c:pt>
                      <c:pt idx="682">
                        <c:v>-2.395119625</c:v>
                      </c:pt>
                      <c:pt idx="683">
                        <c:v>-2.395089654</c:v>
                      </c:pt>
                      <c:pt idx="684">
                        <c:v>-2.3950613920000001</c:v>
                      </c:pt>
                      <c:pt idx="685">
                        <c:v>-2.394930397</c:v>
                      </c:pt>
                      <c:pt idx="686">
                        <c:v>-2.3947403839999999</c:v>
                      </c:pt>
                      <c:pt idx="687">
                        <c:v>-2.3945668229999999</c:v>
                      </c:pt>
                      <c:pt idx="688">
                        <c:v>-2.394508707</c:v>
                      </c:pt>
                      <c:pt idx="689">
                        <c:v>-2.3944784019999998</c:v>
                      </c:pt>
                      <c:pt idx="690">
                        <c:v>-2.3942601200000002</c:v>
                      </c:pt>
                      <c:pt idx="691">
                        <c:v>-2.3942319680000002</c:v>
                      </c:pt>
                      <c:pt idx="692">
                        <c:v>-2.394173962</c:v>
                      </c:pt>
                      <c:pt idx="693">
                        <c:v>-2.3941583030000002</c:v>
                      </c:pt>
                      <c:pt idx="694">
                        <c:v>-2.3941007480000001</c:v>
                      </c:pt>
                      <c:pt idx="695">
                        <c:v>-2.3940864500000001</c:v>
                      </c:pt>
                      <c:pt idx="696">
                        <c:v>-2.394072145</c:v>
                      </c:pt>
                      <c:pt idx="697">
                        <c:v>-2.3940418389999998</c:v>
                      </c:pt>
                      <c:pt idx="698">
                        <c:v>-2.3939847420000002</c:v>
                      </c:pt>
                      <c:pt idx="699">
                        <c:v>-2.3939545450000002</c:v>
                      </c:pt>
                      <c:pt idx="700">
                        <c:v>-2.3939408150000001</c:v>
                      </c:pt>
                      <c:pt idx="701">
                        <c:v>-2.39392651</c:v>
                      </c:pt>
                      <c:pt idx="702">
                        <c:v>-2.393897113</c:v>
                      </c:pt>
                      <c:pt idx="703">
                        <c:v>-2.3938235570000002</c:v>
                      </c:pt>
                      <c:pt idx="704">
                        <c:v>-2.3937664600000002</c:v>
                      </c:pt>
                      <c:pt idx="705">
                        <c:v>-2.3937082279999999</c:v>
                      </c:pt>
                      <c:pt idx="706">
                        <c:v>-2.3936936969999998</c:v>
                      </c:pt>
                      <c:pt idx="707">
                        <c:v>-2.3936059529999998</c:v>
                      </c:pt>
                      <c:pt idx="708">
                        <c:v>-2.3935615750000001</c:v>
                      </c:pt>
                      <c:pt idx="709">
                        <c:v>-2.3935481790000002</c:v>
                      </c:pt>
                      <c:pt idx="710">
                        <c:v>-2.3933587260000002</c:v>
                      </c:pt>
                      <c:pt idx="711">
                        <c:v>-2.3932426109999998</c:v>
                      </c:pt>
                      <c:pt idx="712">
                        <c:v>-2.3932132080000001</c:v>
                      </c:pt>
                      <c:pt idx="713">
                        <c:v>-2.3931258049999999</c:v>
                      </c:pt>
                      <c:pt idx="714">
                        <c:v>-2.393067689</c:v>
                      </c:pt>
                      <c:pt idx="715">
                        <c:v>-2.3929504320000001</c:v>
                      </c:pt>
                      <c:pt idx="716">
                        <c:v>-2.392587534</c:v>
                      </c:pt>
                      <c:pt idx="717">
                        <c:v>-2.3925001309999998</c:v>
                      </c:pt>
                      <c:pt idx="718">
                        <c:v>-2.3924420159999999</c:v>
                      </c:pt>
                      <c:pt idx="719">
                        <c:v>-2.3919472210000001</c:v>
                      </c:pt>
                      <c:pt idx="720">
                        <c:v>-2.3919329230000002</c:v>
                      </c:pt>
                      <c:pt idx="721">
                        <c:v>-2.3919172569999998</c:v>
                      </c:pt>
                      <c:pt idx="722">
                        <c:v>-2.3917142999999998</c:v>
                      </c:pt>
                      <c:pt idx="723">
                        <c:v>-2.3916999940000001</c:v>
                      </c:pt>
                      <c:pt idx="724">
                        <c:v>-2.3916843280000002</c:v>
                      </c:pt>
                      <c:pt idx="725">
                        <c:v>-2.3915388100000001</c:v>
                      </c:pt>
                      <c:pt idx="726">
                        <c:v>-2.3915107739999999</c:v>
                      </c:pt>
                      <c:pt idx="727">
                        <c:v>-2.391422462</c:v>
                      </c:pt>
                      <c:pt idx="728">
                        <c:v>-2.3910885099999999</c:v>
                      </c:pt>
                      <c:pt idx="729">
                        <c:v>-2.391001223</c:v>
                      </c:pt>
                      <c:pt idx="730">
                        <c:v>-2.3909421979999999</c:v>
                      </c:pt>
                      <c:pt idx="731">
                        <c:v>-2.3908984969999998</c:v>
                      </c:pt>
                      <c:pt idx="732">
                        <c:v>-2.390884759</c:v>
                      </c:pt>
                      <c:pt idx="733">
                        <c:v>-2.3908410579999999</c:v>
                      </c:pt>
                      <c:pt idx="734">
                        <c:v>-2.390782942</c:v>
                      </c:pt>
                      <c:pt idx="735">
                        <c:v>-2.3907538800000001</c:v>
                      </c:pt>
                      <c:pt idx="736">
                        <c:v>-2.3907239169999999</c:v>
                      </c:pt>
                      <c:pt idx="737">
                        <c:v>-2.3906958810000001</c:v>
                      </c:pt>
                      <c:pt idx="738">
                        <c:v>-2.390258292</c:v>
                      </c:pt>
                      <c:pt idx="739">
                        <c:v>-2.3900554509999998</c:v>
                      </c:pt>
                      <c:pt idx="740">
                        <c:v>-2.390041037</c:v>
                      </c:pt>
                      <c:pt idx="741">
                        <c:v>-2.3900253710000001</c:v>
                      </c:pt>
                      <c:pt idx="742">
                        <c:v>-2.389953518</c:v>
                      </c:pt>
                      <c:pt idx="743">
                        <c:v>-2.3898798530000001</c:v>
                      </c:pt>
                      <c:pt idx="744">
                        <c:v>-2.389662473</c:v>
                      </c:pt>
                      <c:pt idx="745">
                        <c:v>-2.389633194</c:v>
                      </c:pt>
                      <c:pt idx="746">
                        <c:v>-2.3895888080000001</c:v>
                      </c:pt>
                      <c:pt idx="747">
                        <c:v>-2.3895452229999998</c:v>
                      </c:pt>
                      <c:pt idx="748">
                        <c:v>-2.3895171799999999</c:v>
                      </c:pt>
                      <c:pt idx="749">
                        <c:v>-2.3894007230000001</c:v>
                      </c:pt>
                      <c:pt idx="750">
                        <c:v>-2.3893859669999999</c:v>
                      </c:pt>
                      <c:pt idx="751">
                        <c:v>-2.3893705270000001</c:v>
                      </c:pt>
                      <c:pt idx="752">
                        <c:v>-2.3888612010000001</c:v>
                      </c:pt>
                      <c:pt idx="753">
                        <c:v>-2.3888037689999999</c:v>
                      </c:pt>
                      <c:pt idx="754">
                        <c:v>-2.3887739149999998</c:v>
                      </c:pt>
                      <c:pt idx="755">
                        <c:v>-2.3886582440000002</c:v>
                      </c:pt>
                      <c:pt idx="756">
                        <c:v>-2.3885846879999999</c:v>
                      </c:pt>
                      <c:pt idx="757">
                        <c:v>-2.3885701639999999</c:v>
                      </c:pt>
                      <c:pt idx="758">
                        <c:v>-2.3885411030000001</c:v>
                      </c:pt>
                      <c:pt idx="759">
                        <c:v>-2.3885128419999999</c:v>
                      </c:pt>
                      <c:pt idx="760">
                        <c:v>-2.3884828709999999</c:v>
                      </c:pt>
                      <c:pt idx="761">
                        <c:v>-2.3884691400000002</c:v>
                      </c:pt>
                      <c:pt idx="762">
                        <c:v>-2.3884548350000001</c:v>
                      </c:pt>
                      <c:pt idx="763">
                        <c:v>-2.387872754</c:v>
                      </c:pt>
                      <c:pt idx="764">
                        <c:v>-2.3878425569999999</c:v>
                      </c:pt>
                      <c:pt idx="765">
                        <c:v>-2.3877552710000001</c:v>
                      </c:pt>
                      <c:pt idx="766">
                        <c:v>-2.387741417</c:v>
                      </c:pt>
                      <c:pt idx="767">
                        <c:v>-2.387638806</c:v>
                      </c:pt>
                      <c:pt idx="768">
                        <c:v>-2.3873779590000002</c:v>
                      </c:pt>
                      <c:pt idx="769">
                        <c:v>-2.3873622929999998</c:v>
                      </c:pt>
                      <c:pt idx="770">
                        <c:v>-2.387043104</c:v>
                      </c:pt>
                      <c:pt idx="771">
                        <c:v>-2.3866201619999998</c:v>
                      </c:pt>
                      <c:pt idx="772">
                        <c:v>-2.386591101</c:v>
                      </c:pt>
                      <c:pt idx="773">
                        <c:v>-2.3863737290000002</c:v>
                      </c:pt>
                      <c:pt idx="774">
                        <c:v>-2.3862418239999998</c:v>
                      </c:pt>
                      <c:pt idx="775">
                        <c:v>-2.3861989229999998</c:v>
                      </c:pt>
                      <c:pt idx="776">
                        <c:v>-2.3861842759999998</c:v>
                      </c:pt>
                      <c:pt idx="777">
                        <c:v>-2.386154538</c:v>
                      </c:pt>
                      <c:pt idx="778">
                        <c:v>-2.3856742739999999</c:v>
                      </c:pt>
                      <c:pt idx="779">
                        <c:v>-2.38539776</c:v>
                      </c:pt>
                      <c:pt idx="780">
                        <c:v>-2.3853404380000001</c:v>
                      </c:pt>
                      <c:pt idx="781">
                        <c:v>-2.3852968529999998</c:v>
                      </c:pt>
                      <c:pt idx="782">
                        <c:v>-2.3851940100000002</c:v>
                      </c:pt>
                      <c:pt idx="783">
                        <c:v>-2.3851656320000001</c:v>
                      </c:pt>
                      <c:pt idx="784">
                        <c:v>-2.3851075169999998</c:v>
                      </c:pt>
                      <c:pt idx="785">
                        <c:v>-2.3848602900000002</c:v>
                      </c:pt>
                      <c:pt idx="786">
                        <c:v>-2.3847574470000001</c:v>
                      </c:pt>
                      <c:pt idx="787">
                        <c:v>-2.3845101039999999</c:v>
                      </c:pt>
                      <c:pt idx="788">
                        <c:v>-2.384393647</c:v>
                      </c:pt>
                      <c:pt idx="789">
                        <c:v>-2.3843799090000002</c:v>
                      </c:pt>
                      <c:pt idx="790">
                        <c:v>-2.3842343910000001</c:v>
                      </c:pt>
                      <c:pt idx="791">
                        <c:v>-2.3842190670000001</c:v>
                      </c:pt>
                      <c:pt idx="792">
                        <c:v>-2.3842045359999999</c:v>
                      </c:pt>
                      <c:pt idx="793">
                        <c:v>-2.3840889820000002</c:v>
                      </c:pt>
                      <c:pt idx="794">
                        <c:v>-2.383971608</c:v>
                      </c:pt>
                      <c:pt idx="795">
                        <c:v>-2.383695211</c:v>
                      </c:pt>
                      <c:pt idx="796">
                        <c:v>-2.3834049670000002</c:v>
                      </c:pt>
                      <c:pt idx="797">
                        <c:v>-2.3833175639999999</c:v>
                      </c:pt>
                      <c:pt idx="798">
                        <c:v>-2.3832440080000001</c:v>
                      </c:pt>
                      <c:pt idx="799">
                        <c:v>-2.3832157399999998</c:v>
                      </c:pt>
                      <c:pt idx="800">
                        <c:v>-2.3831712450000002</c:v>
                      </c:pt>
                      <c:pt idx="801">
                        <c:v>-2.3830411599999999</c:v>
                      </c:pt>
                      <c:pt idx="802">
                        <c:v>-2.3829384330000001</c:v>
                      </c:pt>
                      <c:pt idx="803">
                        <c:v>-2.3828366160000001</c:v>
                      </c:pt>
                      <c:pt idx="804">
                        <c:v>-2.3827929139999999</c:v>
                      </c:pt>
                      <c:pt idx="805">
                        <c:v>-2.3827346820000002</c:v>
                      </c:pt>
                      <c:pt idx="806">
                        <c:v>-2.3827210609999998</c:v>
                      </c:pt>
                      <c:pt idx="807">
                        <c:v>-2.3825164010000002</c:v>
                      </c:pt>
                      <c:pt idx="808">
                        <c:v>-2.3822407970000001</c:v>
                      </c:pt>
                      <c:pt idx="809">
                        <c:v>-2.3822108329999998</c:v>
                      </c:pt>
                      <c:pt idx="810">
                        <c:v>-2.3820798380000001</c:v>
                      </c:pt>
                      <c:pt idx="811">
                        <c:v>-2.382065307</c:v>
                      </c:pt>
                      <c:pt idx="812">
                        <c:v>-2.3820078759999999</c:v>
                      </c:pt>
                      <c:pt idx="813">
                        <c:v>-2.3819204730000001</c:v>
                      </c:pt>
                      <c:pt idx="814">
                        <c:v>-2.3818479360000002</c:v>
                      </c:pt>
                      <c:pt idx="815">
                        <c:v>-2.3816294290000002</c:v>
                      </c:pt>
                      <c:pt idx="816">
                        <c:v>-2.381614898</c:v>
                      </c:pt>
                      <c:pt idx="817">
                        <c:v>-2.3812365670000002</c:v>
                      </c:pt>
                      <c:pt idx="818">
                        <c:v>-2.3806828630000001</c:v>
                      </c:pt>
                      <c:pt idx="819">
                        <c:v>-2.3805236070000002</c:v>
                      </c:pt>
                      <c:pt idx="820">
                        <c:v>-2.3804499350000001</c:v>
                      </c:pt>
                      <c:pt idx="821">
                        <c:v>-2.3804063499999999</c:v>
                      </c:pt>
                      <c:pt idx="822">
                        <c:v>-2.3802316540000001</c:v>
                      </c:pt>
                      <c:pt idx="823">
                        <c:v>-2.3802180320000002</c:v>
                      </c:pt>
                      <c:pt idx="824">
                        <c:v>-2.3801159900000002</c:v>
                      </c:pt>
                      <c:pt idx="825">
                        <c:v>-2.3800577569999999</c:v>
                      </c:pt>
                      <c:pt idx="826">
                        <c:v>-2.3800280190000001</c:v>
                      </c:pt>
                      <c:pt idx="827">
                        <c:v>-2.3800133720000001</c:v>
                      </c:pt>
                      <c:pt idx="828">
                        <c:v>-2.3799997510000002</c:v>
                      </c:pt>
                      <c:pt idx="829">
                        <c:v>-2.3799697869999998</c:v>
                      </c:pt>
                      <c:pt idx="830">
                        <c:v>-2.3799260860000002</c:v>
                      </c:pt>
                      <c:pt idx="831">
                        <c:v>-2.3797805670000001</c:v>
                      </c:pt>
                      <c:pt idx="832">
                        <c:v>-2.3794759019999998</c:v>
                      </c:pt>
                      <c:pt idx="833">
                        <c:v>-2.379256711</c:v>
                      </c:pt>
                      <c:pt idx="834">
                        <c:v>-2.3790820140000002</c:v>
                      </c:pt>
                      <c:pt idx="835">
                        <c:v>-2.3789656670000001</c:v>
                      </c:pt>
                      <c:pt idx="836">
                        <c:v>-2.378951936</c:v>
                      </c:pt>
                      <c:pt idx="837">
                        <c:v>-2.3786746299999999</c:v>
                      </c:pt>
                      <c:pt idx="838">
                        <c:v>-2.3786607829999999</c:v>
                      </c:pt>
                      <c:pt idx="839">
                        <c:v>-2.3786309280000002</c:v>
                      </c:pt>
                      <c:pt idx="840">
                        <c:v>-2.377961553</c:v>
                      </c:pt>
                      <c:pt idx="841">
                        <c:v>-2.377743272</c:v>
                      </c:pt>
                      <c:pt idx="842">
                        <c:v>-2.3777294250000001</c:v>
                      </c:pt>
                      <c:pt idx="843">
                        <c:v>-2.377714101</c:v>
                      </c:pt>
                      <c:pt idx="844">
                        <c:v>-2.377641455</c:v>
                      </c:pt>
                      <c:pt idx="845">
                        <c:v>-2.3775832229999998</c:v>
                      </c:pt>
                      <c:pt idx="846">
                        <c:v>-2.3775685750000002</c:v>
                      </c:pt>
                      <c:pt idx="847">
                        <c:v>-2.3773502940000002</c:v>
                      </c:pt>
                      <c:pt idx="848">
                        <c:v>-2.3770738969999998</c:v>
                      </c:pt>
                      <c:pt idx="849">
                        <c:v>-2.3770011339999999</c:v>
                      </c:pt>
                      <c:pt idx="850">
                        <c:v>-2.376840976</c:v>
                      </c:pt>
                      <c:pt idx="851">
                        <c:v>-2.3765208699999998</c:v>
                      </c:pt>
                      <c:pt idx="852">
                        <c:v>-2.376419737</c:v>
                      </c:pt>
                      <c:pt idx="853">
                        <c:v>-2.3763898819999998</c:v>
                      </c:pt>
                      <c:pt idx="854">
                        <c:v>-2.3760697839999998</c:v>
                      </c:pt>
                      <c:pt idx="855">
                        <c:v>-2.3760260820000001</c:v>
                      </c:pt>
                      <c:pt idx="856">
                        <c:v>-2.3759977050000001</c:v>
                      </c:pt>
                      <c:pt idx="857">
                        <c:v>-2.37569213</c:v>
                      </c:pt>
                      <c:pt idx="858">
                        <c:v>-2.375255567</c:v>
                      </c:pt>
                      <c:pt idx="859">
                        <c:v>-2.3752402429999999</c:v>
                      </c:pt>
                      <c:pt idx="860">
                        <c:v>-2.3752118659999999</c:v>
                      </c:pt>
                      <c:pt idx="861">
                        <c:v>-2.3751820110000001</c:v>
                      </c:pt>
                      <c:pt idx="862">
                        <c:v>-2.3751092549999999</c:v>
                      </c:pt>
                      <c:pt idx="863">
                        <c:v>-2.3750801940000001</c:v>
                      </c:pt>
                      <c:pt idx="864">
                        <c:v>-2.375065663</c:v>
                      </c:pt>
                      <c:pt idx="865">
                        <c:v>-2.3746872159999999</c:v>
                      </c:pt>
                      <c:pt idx="866">
                        <c:v>-2.374498789</c:v>
                      </c:pt>
                      <c:pt idx="867">
                        <c:v>-2.3744835819999999</c:v>
                      </c:pt>
                      <c:pt idx="868">
                        <c:v>-2.3744689349999999</c:v>
                      </c:pt>
                      <c:pt idx="869">
                        <c:v>-2.3739305549999998</c:v>
                      </c:pt>
                      <c:pt idx="870">
                        <c:v>-2.3738577919999999</c:v>
                      </c:pt>
                      <c:pt idx="871">
                        <c:v>-2.3738432679999999</c:v>
                      </c:pt>
                      <c:pt idx="872">
                        <c:v>-2.3736832190000001</c:v>
                      </c:pt>
                      <c:pt idx="873">
                        <c:v>-2.3736685720000001</c:v>
                      </c:pt>
                      <c:pt idx="874">
                        <c:v>-2.3733484730000001</c:v>
                      </c:pt>
                      <c:pt idx="875">
                        <c:v>-2.3732611800000001</c:v>
                      </c:pt>
                      <c:pt idx="876">
                        <c:v>-2.3732465399999998</c:v>
                      </c:pt>
                      <c:pt idx="877">
                        <c:v>-2.3731737769999999</c:v>
                      </c:pt>
                      <c:pt idx="878">
                        <c:v>-2.3729701429999999</c:v>
                      </c:pt>
                      <c:pt idx="879">
                        <c:v>-2.3729264410000002</c:v>
                      </c:pt>
                      <c:pt idx="880">
                        <c:v>-2.372912704</c:v>
                      </c:pt>
                      <c:pt idx="881">
                        <c:v>-2.3728099770000002</c:v>
                      </c:pt>
                      <c:pt idx="882">
                        <c:v>-2.3727226830000001</c:v>
                      </c:pt>
                      <c:pt idx="883">
                        <c:v>-2.372548111</c:v>
                      </c:pt>
                      <c:pt idx="884">
                        <c:v>-2.3725044089999998</c:v>
                      </c:pt>
                      <c:pt idx="885">
                        <c:v>-2.372475348</c:v>
                      </c:pt>
                      <c:pt idx="886">
                        <c:v>-2.3724025850000001</c:v>
                      </c:pt>
                      <c:pt idx="887">
                        <c:v>-2.3723443529999999</c:v>
                      </c:pt>
                      <c:pt idx="888">
                        <c:v>-2.372140602</c:v>
                      </c:pt>
                      <c:pt idx="889">
                        <c:v>-2.3721115479999999</c:v>
                      </c:pt>
                      <c:pt idx="890">
                        <c:v>-2.3720970170000002</c:v>
                      </c:pt>
                      <c:pt idx="891">
                        <c:v>-2.372024138</c:v>
                      </c:pt>
                      <c:pt idx="892">
                        <c:v>-2.372009614</c:v>
                      </c:pt>
                      <c:pt idx="893">
                        <c:v>-2.3718786189999999</c:v>
                      </c:pt>
                      <c:pt idx="894">
                        <c:v>-2.3718640889999998</c:v>
                      </c:pt>
                      <c:pt idx="895">
                        <c:v>-2.3713555629999998</c:v>
                      </c:pt>
                      <c:pt idx="896">
                        <c:v>-2.3708599750000001</c:v>
                      </c:pt>
                      <c:pt idx="897">
                        <c:v>-2.3707872120000002</c:v>
                      </c:pt>
                      <c:pt idx="898">
                        <c:v>-2.3707144570000001</c:v>
                      </c:pt>
                      <c:pt idx="899">
                        <c:v>-2.3706999259999999</c:v>
                      </c:pt>
                      <c:pt idx="900">
                        <c:v>-2.3706416940000001</c:v>
                      </c:pt>
                      <c:pt idx="901">
                        <c:v>-2.3704379430000002</c:v>
                      </c:pt>
                      <c:pt idx="902">
                        <c:v>-2.3701905999999999</c:v>
                      </c:pt>
                      <c:pt idx="903">
                        <c:v>-2.3701033140000001</c:v>
                      </c:pt>
                      <c:pt idx="904">
                        <c:v>-2.3699868500000001</c:v>
                      </c:pt>
                      <c:pt idx="905">
                        <c:v>-2.3699723189999999</c:v>
                      </c:pt>
                      <c:pt idx="906">
                        <c:v>-2.3699577879999998</c:v>
                      </c:pt>
                      <c:pt idx="907">
                        <c:v>-2.3694346159999999</c:v>
                      </c:pt>
                      <c:pt idx="908">
                        <c:v>-2.3694192919999999</c:v>
                      </c:pt>
                      <c:pt idx="909">
                        <c:v>-2.3693902379999998</c:v>
                      </c:pt>
                      <c:pt idx="910">
                        <c:v>-2.369244712</c:v>
                      </c:pt>
                      <c:pt idx="911">
                        <c:v>-2.369113724</c:v>
                      </c:pt>
                      <c:pt idx="912">
                        <c:v>-2.3690700229999999</c:v>
                      </c:pt>
                      <c:pt idx="913">
                        <c:v>-2.368778979</c:v>
                      </c:pt>
                      <c:pt idx="914">
                        <c:v>-2.3687644479999999</c:v>
                      </c:pt>
                      <c:pt idx="915">
                        <c:v>-2.3687506009999999</c:v>
                      </c:pt>
                      <c:pt idx="916">
                        <c:v>-2.3687208630000001</c:v>
                      </c:pt>
                      <c:pt idx="917">
                        <c:v>-2.3680223169999999</c:v>
                      </c:pt>
                      <c:pt idx="918">
                        <c:v>-2.3677603340000002</c:v>
                      </c:pt>
                      <c:pt idx="919">
                        <c:v>-2.3676730410000002</c:v>
                      </c:pt>
                      <c:pt idx="920">
                        <c:v>-2.3676293390000001</c:v>
                      </c:pt>
                      <c:pt idx="921">
                        <c:v>-2.3674837050000002</c:v>
                      </c:pt>
                      <c:pt idx="922">
                        <c:v>-2.3672947099999999</c:v>
                      </c:pt>
                      <c:pt idx="923">
                        <c:v>-2.3672800700000001</c:v>
                      </c:pt>
                      <c:pt idx="924">
                        <c:v>-2.3672219550000002</c:v>
                      </c:pt>
                      <c:pt idx="925">
                        <c:v>-2.3672074240000001</c:v>
                      </c:pt>
                      <c:pt idx="926">
                        <c:v>-2.3670043500000002</c:v>
                      </c:pt>
                      <c:pt idx="927">
                        <c:v>-2.3669599720000001</c:v>
                      </c:pt>
                      <c:pt idx="928">
                        <c:v>-2.3669309100000002</c:v>
                      </c:pt>
                      <c:pt idx="929">
                        <c:v>-2.366872678</c:v>
                      </c:pt>
                      <c:pt idx="930">
                        <c:v>-2.3668144459999998</c:v>
                      </c:pt>
                      <c:pt idx="931">
                        <c:v>-2.366770861</c:v>
                      </c:pt>
                      <c:pt idx="932">
                        <c:v>-2.3667126289999998</c:v>
                      </c:pt>
                      <c:pt idx="933">
                        <c:v>-2.3666106949999999</c:v>
                      </c:pt>
                      <c:pt idx="934">
                        <c:v>-2.3665961649999998</c:v>
                      </c:pt>
                      <c:pt idx="935">
                        <c:v>-2.3664943479999998</c:v>
                      </c:pt>
                      <c:pt idx="936">
                        <c:v>-2.3663488290000001</c:v>
                      </c:pt>
                      <c:pt idx="937">
                        <c:v>-2.3662905969999999</c:v>
                      </c:pt>
                      <c:pt idx="938">
                        <c:v>-2.3662760660000002</c:v>
                      </c:pt>
                      <c:pt idx="939">
                        <c:v>-2.366116017</c:v>
                      </c:pt>
                      <c:pt idx="940">
                        <c:v>-2.3660723159999999</c:v>
                      </c:pt>
                      <c:pt idx="941">
                        <c:v>-2.3660576679999998</c:v>
                      </c:pt>
                      <c:pt idx="942">
                        <c:v>-2.3659558509999998</c:v>
                      </c:pt>
                      <c:pt idx="943">
                        <c:v>-2.3657085160000002</c:v>
                      </c:pt>
                      <c:pt idx="944">
                        <c:v>-2.3656939850000001</c:v>
                      </c:pt>
                      <c:pt idx="945">
                        <c:v>-2.3656793380000001</c:v>
                      </c:pt>
                      <c:pt idx="946">
                        <c:v>-2.3656212220000001</c:v>
                      </c:pt>
                      <c:pt idx="947">
                        <c:v>-2.3655775210000001</c:v>
                      </c:pt>
                      <c:pt idx="948">
                        <c:v>-2.3654029410000001</c:v>
                      </c:pt>
                      <c:pt idx="949">
                        <c:v>-2.3653737700000002</c:v>
                      </c:pt>
                      <c:pt idx="950">
                        <c:v>-2.3652864760000001</c:v>
                      </c:pt>
                      <c:pt idx="951">
                        <c:v>-2.365257422</c:v>
                      </c:pt>
                      <c:pt idx="952">
                        <c:v>-2.3648789749999999</c:v>
                      </c:pt>
                      <c:pt idx="953">
                        <c:v>-2.3648208589999999</c:v>
                      </c:pt>
                      <c:pt idx="954">
                        <c:v>-2.364791689</c:v>
                      </c:pt>
                      <c:pt idx="955">
                        <c:v>-2.3647334569999998</c:v>
                      </c:pt>
                      <c:pt idx="956">
                        <c:v>-2.364704395</c:v>
                      </c:pt>
                      <c:pt idx="957">
                        <c:v>-2.3645151750000002</c:v>
                      </c:pt>
                      <c:pt idx="958">
                        <c:v>-2.3643841800000001</c:v>
                      </c:pt>
                      <c:pt idx="959">
                        <c:v>-2.3643696489999999</c:v>
                      </c:pt>
                      <c:pt idx="960">
                        <c:v>-2.3640203799999999</c:v>
                      </c:pt>
                      <c:pt idx="961">
                        <c:v>-2.363947617</c:v>
                      </c:pt>
                      <c:pt idx="962">
                        <c:v>-2.3639185629999999</c:v>
                      </c:pt>
                      <c:pt idx="963">
                        <c:v>-2.3638603310000001</c:v>
                      </c:pt>
                      <c:pt idx="964">
                        <c:v>-2.3633364750000001</c:v>
                      </c:pt>
                      <c:pt idx="965">
                        <c:v>-2.3630599609999998</c:v>
                      </c:pt>
                      <c:pt idx="966">
                        <c:v>-2.3629144430000002</c:v>
                      </c:pt>
                      <c:pt idx="967">
                        <c:v>-2.3620703779999999</c:v>
                      </c:pt>
                      <c:pt idx="968">
                        <c:v>-2.3615028210000002</c:v>
                      </c:pt>
                      <c:pt idx="969">
                        <c:v>-2.3613427709999999</c:v>
                      </c:pt>
                      <c:pt idx="970">
                        <c:v>-2.3611827220000001</c:v>
                      </c:pt>
                      <c:pt idx="971">
                        <c:v>-2.3611680819999998</c:v>
                      </c:pt>
                      <c:pt idx="972">
                        <c:v>-2.3610079169999998</c:v>
                      </c:pt>
                      <c:pt idx="973">
                        <c:v>-2.360818922</c:v>
                      </c:pt>
                      <c:pt idx="974">
                        <c:v>-2.3606296950000001</c:v>
                      </c:pt>
                      <c:pt idx="975">
                        <c:v>-2.360600641</c:v>
                      </c:pt>
                      <c:pt idx="976">
                        <c:v>-2.3605715790000001</c:v>
                      </c:pt>
                      <c:pt idx="977">
                        <c:v>-2.3605569389999999</c:v>
                      </c:pt>
                      <c:pt idx="978">
                        <c:v>-2.3604696459999999</c:v>
                      </c:pt>
                      <c:pt idx="979">
                        <c:v>-2.3600620280000002</c:v>
                      </c:pt>
                      <c:pt idx="980">
                        <c:v>-2.360047614</c:v>
                      </c:pt>
                      <c:pt idx="981">
                        <c:v>-2.360004022</c:v>
                      </c:pt>
                      <c:pt idx="982">
                        <c:v>-2.3597275149999999</c:v>
                      </c:pt>
                      <c:pt idx="983">
                        <c:v>-2.3594655329999998</c:v>
                      </c:pt>
                      <c:pt idx="984">
                        <c:v>-2.3592472510000002</c:v>
                      </c:pt>
                      <c:pt idx="985">
                        <c:v>-2.359189019</c:v>
                      </c:pt>
                      <c:pt idx="986">
                        <c:v>-2.358112143</c:v>
                      </c:pt>
                      <c:pt idx="987">
                        <c:v>-2.3579520860000001</c:v>
                      </c:pt>
                      <c:pt idx="988">
                        <c:v>-2.3579375630000001</c:v>
                      </c:pt>
                      <c:pt idx="989">
                        <c:v>-2.3578502690000001</c:v>
                      </c:pt>
                      <c:pt idx="990">
                        <c:v>-2.3575010000000001</c:v>
                      </c:pt>
                      <c:pt idx="991">
                        <c:v>-2.3564967979999998</c:v>
                      </c:pt>
                      <c:pt idx="992">
                        <c:v>-2.356453208</c:v>
                      </c:pt>
                      <c:pt idx="993">
                        <c:v>-2.3562785179999999</c:v>
                      </c:pt>
                      <c:pt idx="994">
                        <c:v>-2.3561038270000001</c:v>
                      </c:pt>
                      <c:pt idx="995">
                        <c:v>-2.3560602579999999</c:v>
                      </c:pt>
                      <c:pt idx="996">
                        <c:v>-2.3551871559999999</c:v>
                      </c:pt>
                      <c:pt idx="997">
                        <c:v>-2.3541833040000002</c:v>
                      </c:pt>
                      <c:pt idx="998">
                        <c:v>-2.3540522049999999</c:v>
                      </c:pt>
                      <c:pt idx="999">
                        <c:v>-2.3535713970000001</c:v>
                      </c:pt>
                      <c:pt idx="1000">
                        <c:v>-2.353266284</c:v>
                      </c:pt>
                      <c:pt idx="1001">
                        <c:v>-2.3532226930000002</c:v>
                      </c:pt>
                      <c:pt idx="1002">
                        <c:v>-2.3528733129999999</c:v>
                      </c:pt>
                      <c:pt idx="1003">
                        <c:v>-2.351171049</c:v>
                      </c:pt>
                      <c:pt idx="1004">
                        <c:v>-2.3509956820000002</c:v>
                      </c:pt>
                      <c:pt idx="1005">
                        <c:v>-2.35095279</c:v>
                      </c:pt>
                      <c:pt idx="1006">
                        <c:v>-2.3488129600000001</c:v>
                      </c:pt>
                      <c:pt idx="1007">
                        <c:v>-2.3484206649999999</c:v>
                      </c:pt>
                      <c:pt idx="1008">
                        <c:v>-2.3483331559999998</c:v>
                      </c:pt>
                      <c:pt idx="1009">
                        <c:v>-2.3478094349999998</c:v>
                      </c:pt>
                      <c:pt idx="1010">
                        <c:v>-2.3469799230000001</c:v>
                      </c:pt>
                      <c:pt idx="1011">
                        <c:v>-2.3466744830000001</c:v>
                      </c:pt>
                      <c:pt idx="1012">
                        <c:v>-2.3465427069999998</c:v>
                      </c:pt>
                      <c:pt idx="1013">
                        <c:v>-2.346280835</c:v>
                      </c:pt>
                      <c:pt idx="1014">
                        <c:v>-2.3459760709999999</c:v>
                      </c:pt>
                      <c:pt idx="1015">
                        <c:v>-2.3458007040000002</c:v>
                      </c:pt>
                      <c:pt idx="1016">
                        <c:v>-2.3453641639999998</c:v>
                      </c:pt>
                      <c:pt idx="1017">
                        <c:v>-2.34532125</c:v>
                      </c:pt>
                      <c:pt idx="1018">
                        <c:v>-2.3452773320000002</c:v>
                      </c:pt>
                      <c:pt idx="1019">
                        <c:v>-2.3443164150000002</c:v>
                      </c:pt>
                      <c:pt idx="1020">
                        <c:v>-2.3442291900000001</c:v>
                      </c:pt>
                      <c:pt idx="1021">
                        <c:v>-2.3441415939999999</c:v>
                      </c:pt>
                      <c:pt idx="1022">
                        <c:v>-2.3440107569999999</c:v>
                      </c:pt>
                      <c:pt idx="1023">
                        <c:v>-2.3436611140000001</c:v>
                      </c:pt>
                      <c:pt idx="1024">
                        <c:v>-2.3434426799999999</c:v>
                      </c:pt>
                      <c:pt idx="1025">
                        <c:v>-2.3431806119999998</c:v>
                      </c:pt>
                      <c:pt idx="1026">
                        <c:v>-2.343136672</c:v>
                      </c:pt>
                      <c:pt idx="1027">
                        <c:v>-2.3418287769999999</c:v>
                      </c:pt>
                      <c:pt idx="1028">
                        <c:v>-2.341738801</c:v>
                      </c:pt>
                      <c:pt idx="1029">
                        <c:v>-2.341523096</c:v>
                      </c:pt>
                      <c:pt idx="1030">
                        <c:v>-2.3408258850000001</c:v>
                      </c:pt>
                      <c:pt idx="1031">
                        <c:v>-2.3393404389999999</c:v>
                      </c:pt>
                      <c:pt idx="1032">
                        <c:v>-2.3385975640000001</c:v>
                      </c:pt>
                      <c:pt idx="1033">
                        <c:v>-2.3385539729999998</c:v>
                      </c:pt>
                      <c:pt idx="1034">
                        <c:v>-2.3383356480000002</c:v>
                      </c:pt>
                      <c:pt idx="1035">
                        <c:v>-2.3372875940000002</c:v>
                      </c:pt>
                      <c:pt idx="1036">
                        <c:v>-2.3365453949999999</c:v>
                      </c:pt>
                      <c:pt idx="1037">
                        <c:v>-2.3358028690000001</c:v>
                      </c:pt>
                      <c:pt idx="1038">
                        <c:v>-2.335715666</c:v>
                      </c:pt>
                      <c:pt idx="1039">
                        <c:v>-2.3351042820000001</c:v>
                      </c:pt>
                      <c:pt idx="1040">
                        <c:v>-2.3345804079999999</c:v>
                      </c:pt>
                      <c:pt idx="1041">
                        <c:v>-2.3342745530000002</c:v>
                      </c:pt>
                      <c:pt idx="1042">
                        <c:v>-2.334099819</c:v>
                      </c:pt>
                      <c:pt idx="1043">
                        <c:v>-2.333969025</c:v>
                      </c:pt>
                      <c:pt idx="1044">
                        <c:v>-2.3337507</c:v>
                      </c:pt>
                      <c:pt idx="1045">
                        <c:v>-2.3336222860000002</c:v>
                      </c:pt>
                      <c:pt idx="1046">
                        <c:v>-2.3333603479999998</c:v>
                      </c:pt>
                      <c:pt idx="1047">
                        <c:v>-2.332835819</c:v>
                      </c:pt>
                      <c:pt idx="1048">
                        <c:v>-2.332222384</c:v>
                      </c:pt>
                      <c:pt idx="1049">
                        <c:v>-2.3314397599999999</c:v>
                      </c:pt>
                      <c:pt idx="1050">
                        <c:v>-2.3313515530000002</c:v>
                      </c:pt>
                      <c:pt idx="1051">
                        <c:v>-2.3313086379999999</c:v>
                      </c:pt>
                      <c:pt idx="1052">
                        <c:v>-2.33117719</c:v>
                      </c:pt>
                      <c:pt idx="1053">
                        <c:v>-2.3309149690000002</c:v>
                      </c:pt>
                      <c:pt idx="1054">
                        <c:v>-2.3306527479999999</c:v>
                      </c:pt>
                      <c:pt idx="1055">
                        <c:v>-2.3303472639999998</c:v>
                      </c:pt>
                      <c:pt idx="1056">
                        <c:v>-2.330257703</c:v>
                      </c:pt>
                      <c:pt idx="1057">
                        <c:v>-2.3302161419999998</c:v>
                      </c:pt>
                      <c:pt idx="1058">
                        <c:v>-2.3300421290000002</c:v>
                      </c:pt>
                      <c:pt idx="1059">
                        <c:v>-2.3299954820000002</c:v>
                      </c:pt>
                      <c:pt idx="1060">
                        <c:v>-2.3299110070000002</c:v>
                      </c:pt>
                      <c:pt idx="1061">
                        <c:v>-2.3295152859999999</c:v>
                      </c:pt>
                      <c:pt idx="1062">
                        <c:v>-2.3290378399999998</c:v>
                      </c:pt>
                      <c:pt idx="1063">
                        <c:v>-2.3289939</c:v>
                      </c:pt>
                      <c:pt idx="1064">
                        <c:v>-2.3286857090000002</c:v>
                      </c:pt>
                      <c:pt idx="1065">
                        <c:v>-2.3286444980000001</c:v>
                      </c:pt>
                      <c:pt idx="1066">
                        <c:v>-2.3264629100000001</c:v>
                      </c:pt>
                      <c:pt idx="1067">
                        <c:v>-2.3261996639999998</c:v>
                      </c:pt>
                      <c:pt idx="1068">
                        <c:v>-2.3259827359999998</c:v>
                      </c:pt>
                      <c:pt idx="1069">
                        <c:v>-2.3253711130000001</c:v>
                      </c:pt>
                      <c:pt idx="1070">
                        <c:v>-2.324103992</c:v>
                      </c:pt>
                      <c:pt idx="1071">
                        <c:v>-2.3237549390000001</c:v>
                      </c:pt>
                      <c:pt idx="1072">
                        <c:v>-2.3236650289999998</c:v>
                      </c:pt>
                      <c:pt idx="1073">
                        <c:v>-2.3224013129999999</c:v>
                      </c:pt>
                      <c:pt idx="1074">
                        <c:v>-2.3223155069999999</c:v>
                      </c:pt>
                      <c:pt idx="1075">
                        <c:v>-2.3216589609999998</c:v>
                      </c:pt>
                      <c:pt idx="1076">
                        <c:v>-2.3212673430000001</c:v>
                      </c:pt>
                      <c:pt idx="1077">
                        <c:v>-2.3212203470000001</c:v>
                      </c:pt>
                      <c:pt idx="1078">
                        <c:v>-2.321179136</c:v>
                      </c:pt>
                      <c:pt idx="1079">
                        <c:v>-2.3210480360000001</c:v>
                      </c:pt>
                      <c:pt idx="1080">
                        <c:v>-2.320873674</c:v>
                      </c:pt>
                      <c:pt idx="1081">
                        <c:v>-2.3207858159999999</c:v>
                      </c:pt>
                      <c:pt idx="1082">
                        <c:v>-2.3183857510000001</c:v>
                      </c:pt>
                      <c:pt idx="1083">
                        <c:v>-2.3181664660000001</c:v>
                      </c:pt>
                      <c:pt idx="1084">
                        <c:v>-2.3178177619999998</c:v>
                      </c:pt>
                      <c:pt idx="1085">
                        <c:v>-2.317555563</c:v>
                      </c:pt>
                      <c:pt idx="1086">
                        <c:v>-2.317338635</c:v>
                      </c:pt>
                      <c:pt idx="1087">
                        <c:v>-2.3172933640000002</c:v>
                      </c:pt>
                      <c:pt idx="1088">
                        <c:v>-2.3172065320000002</c:v>
                      </c:pt>
                      <c:pt idx="1089">
                        <c:v>-2.3171622429999998</c:v>
                      </c:pt>
                      <c:pt idx="1090">
                        <c:v>-2.3168571509999998</c:v>
                      </c:pt>
                      <c:pt idx="1091">
                        <c:v>-2.3162891409999999</c:v>
                      </c:pt>
                      <c:pt idx="1092">
                        <c:v>-2.3161560109999999</c:v>
                      </c:pt>
                      <c:pt idx="1093">
                        <c:v>-2.3158968679999998</c:v>
                      </c:pt>
                      <c:pt idx="1094">
                        <c:v>-2.315721828</c:v>
                      </c:pt>
                      <c:pt idx="1095">
                        <c:v>-2.3156360220000001</c:v>
                      </c:pt>
                      <c:pt idx="1096">
                        <c:v>-2.3154140089999999</c:v>
                      </c:pt>
                      <c:pt idx="1097">
                        <c:v>-2.3151984560000001</c:v>
                      </c:pt>
                      <c:pt idx="1098">
                        <c:v>-2.3150673350000002</c:v>
                      </c:pt>
                      <c:pt idx="1099">
                        <c:v>-2.3145432860000001</c:v>
                      </c:pt>
                      <c:pt idx="1100">
                        <c:v>-2.3139769779999999</c:v>
                      </c:pt>
                      <c:pt idx="1101">
                        <c:v>-2.313932034</c:v>
                      </c:pt>
                      <c:pt idx="1102">
                        <c:v>-2.3136698349999998</c:v>
                      </c:pt>
                      <c:pt idx="1103">
                        <c:v>-2.3131478159999999</c:v>
                      </c:pt>
                      <c:pt idx="1104">
                        <c:v>-2.3130166939999999</c:v>
                      </c:pt>
                      <c:pt idx="1105">
                        <c:v>-2.3129281590000002</c:v>
                      </c:pt>
                      <c:pt idx="1106">
                        <c:v>-2.3127946810000002</c:v>
                      </c:pt>
                      <c:pt idx="1107">
                        <c:v>-2.3125365630000001</c:v>
                      </c:pt>
                      <c:pt idx="1108">
                        <c:v>-2.311400935</c:v>
                      </c:pt>
                      <c:pt idx="1109">
                        <c:v>-2.3111380370000001</c:v>
                      </c:pt>
                      <c:pt idx="1110">
                        <c:v>-2.3108772129999999</c:v>
                      </c:pt>
                      <c:pt idx="1111">
                        <c:v>-2.3107896829999999</c:v>
                      </c:pt>
                      <c:pt idx="1112">
                        <c:v>-2.3105278330000001</c:v>
                      </c:pt>
                      <c:pt idx="1113">
                        <c:v>-2.310308526</c:v>
                      </c:pt>
                      <c:pt idx="1114">
                        <c:v>-2.3102652849999998</c:v>
                      </c:pt>
                      <c:pt idx="1115">
                        <c:v>-2.3101791290000002</c:v>
                      </c:pt>
                      <c:pt idx="1116">
                        <c:v>-2.3101338579999999</c:v>
                      </c:pt>
                      <c:pt idx="1117">
                        <c:v>-2.3100905940000001</c:v>
                      </c:pt>
                      <c:pt idx="1118">
                        <c:v>-2.309869607</c:v>
                      </c:pt>
                      <c:pt idx="1119">
                        <c:v>-2.3098287449999999</c:v>
                      </c:pt>
                      <c:pt idx="1120">
                        <c:v>-2.30978583</c:v>
                      </c:pt>
                      <c:pt idx="1121">
                        <c:v>-2.3094364719999998</c:v>
                      </c:pt>
                      <c:pt idx="1122">
                        <c:v>-2.3091739229999999</c:v>
                      </c:pt>
                      <c:pt idx="1123">
                        <c:v>-2.3088242160000001</c:v>
                      </c:pt>
                      <c:pt idx="1124">
                        <c:v>-2.308432947</c:v>
                      </c:pt>
                      <c:pt idx="1125">
                        <c:v>-2.3076460000000001</c:v>
                      </c:pt>
                      <c:pt idx="1126">
                        <c:v>-2.3069043470000001</c:v>
                      </c:pt>
                      <c:pt idx="1127">
                        <c:v>-2.3068573510000001</c:v>
                      </c:pt>
                      <c:pt idx="1128">
                        <c:v>-2.3064208110000002</c:v>
                      </c:pt>
                      <c:pt idx="1129">
                        <c:v>-2.3063799490000001</c:v>
                      </c:pt>
                      <c:pt idx="1130">
                        <c:v>-2.3062049309999999</c:v>
                      </c:pt>
                      <c:pt idx="1131">
                        <c:v>-2.3050274150000001</c:v>
                      </c:pt>
                      <c:pt idx="1132">
                        <c:v>-2.3049838239999998</c:v>
                      </c:pt>
                      <c:pt idx="1133">
                        <c:v>-2.3048520259999998</c:v>
                      </c:pt>
                      <c:pt idx="1134">
                        <c:v>-2.304285063</c:v>
                      </c:pt>
                      <c:pt idx="1135">
                        <c:v>-2.3041968779999999</c:v>
                      </c:pt>
                      <c:pt idx="1136">
                        <c:v>-2.304065778</c:v>
                      </c:pt>
                      <c:pt idx="1137">
                        <c:v>-2.303674182</c:v>
                      </c:pt>
                      <c:pt idx="1138">
                        <c:v>-2.3036268369999999</c:v>
                      </c:pt>
                      <c:pt idx="1139">
                        <c:v>-2.3032805340000002</c:v>
                      </c:pt>
                      <c:pt idx="1140">
                        <c:v>-2.3027128939999999</c:v>
                      </c:pt>
                      <c:pt idx="1141">
                        <c:v>-2.3020138060000002</c:v>
                      </c:pt>
                      <c:pt idx="1142">
                        <c:v>-2.3002676019999999</c:v>
                      </c:pt>
                      <c:pt idx="1143">
                        <c:v>-2.3000037</c:v>
                      </c:pt>
                      <c:pt idx="1144">
                        <c:v>-2.2994394659999999</c:v>
                      </c:pt>
                      <c:pt idx="1145">
                        <c:v>-2.2993512589999998</c:v>
                      </c:pt>
                      <c:pt idx="1146">
                        <c:v>-2.299308366</c:v>
                      </c:pt>
                      <c:pt idx="1147">
                        <c:v>-2.2983920229999999</c:v>
                      </c:pt>
                      <c:pt idx="1148">
                        <c:v>-2.2981727379999999</c:v>
                      </c:pt>
                      <c:pt idx="1149">
                        <c:v>-2.2978206289999998</c:v>
                      </c:pt>
                      <c:pt idx="1150">
                        <c:v>-2.2968198320000002</c:v>
                      </c:pt>
                      <c:pt idx="1151">
                        <c:v>-2.2962518439999999</c:v>
                      </c:pt>
                      <c:pt idx="1152">
                        <c:v>-2.2956416389999998</c:v>
                      </c:pt>
                      <c:pt idx="1153">
                        <c:v>-2.2944593420000001</c:v>
                      </c:pt>
                      <c:pt idx="1154">
                        <c:v>-2.294417803</c:v>
                      </c:pt>
                      <c:pt idx="1155">
                        <c:v>-2.2935450510000002</c:v>
                      </c:pt>
                      <c:pt idx="1156">
                        <c:v>-2.293455163</c:v>
                      </c:pt>
                      <c:pt idx="1157">
                        <c:v>-2.29332439</c:v>
                      </c:pt>
                      <c:pt idx="1158">
                        <c:v>-2.2931966959999999</c:v>
                      </c:pt>
                      <c:pt idx="1159">
                        <c:v>-2.2927601559999999</c:v>
                      </c:pt>
                      <c:pt idx="1160">
                        <c:v>-2.2927162380000001</c:v>
                      </c:pt>
                      <c:pt idx="1161">
                        <c:v>-2.2925847890000002</c:v>
                      </c:pt>
                      <c:pt idx="1162">
                        <c:v>-2.2911416679999999</c:v>
                      </c:pt>
                      <c:pt idx="1163">
                        <c:v>-2.2906639169999998</c:v>
                      </c:pt>
                      <c:pt idx="1164">
                        <c:v>-2.2895262359999999</c:v>
                      </c:pt>
                      <c:pt idx="1165">
                        <c:v>-2.2882165940000001</c:v>
                      </c:pt>
                      <c:pt idx="1166">
                        <c:v>-2.2824137699999998</c:v>
                      </c:pt>
                      <c:pt idx="1167">
                        <c:v>-2.2823255840000001</c:v>
                      </c:pt>
                      <c:pt idx="1168">
                        <c:v>-2.2822356959999999</c:v>
                      </c:pt>
                      <c:pt idx="1169">
                        <c:v>-2.2804894920000001</c:v>
                      </c:pt>
                      <c:pt idx="1170">
                        <c:v>-2.278918</c:v>
                      </c:pt>
                      <c:pt idx="1171">
                        <c:v>-2.2788755969999999</c:v>
                      </c:pt>
                      <c:pt idx="1172">
                        <c:v>-2.2781119580000002</c:v>
                      </c:pt>
                      <c:pt idx="1173">
                        <c:v>-2.2780898239999998</c:v>
                      </c:pt>
                      <c:pt idx="1174">
                        <c:v>-2.2780462309999998</c:v>
                      </c:pt>
                      <c:pt idx="1175">
                        <c:v>-2.2779153019999998</c:v>
                      </c:pt>
                      <c:pt idx="1176">
                        <c:v>-2.2778921410000001</c:v>
                      </c:pt>
                      <c:pt idx="1177">
                        <c:v>-2.2777186450000002</c:v>
                      </c:pt>
                      <c:pt idx="1178">
                        <c:v>-2.277149949</c:v>
                      </c:pt>
                      <c:pt idx="1179">
                        <c:v>-2.2770638010000002</c:v>
                      </c:pt>
                      <c:pt idx="1180">
                        <c:v>-2.2770423430000002</c:v>
                      </c:pt>
                      <c:pt idx="1181">
                        <c:v>-2.2769110640000001</c:v>
                      </c:pt>
                      <c:pt idx="1182">
                        <c:v>-2.2767801350000001</c:v>
                      </c:pt>
                      <c:pt idx="1183">
                        <c:v>-2.2767363789999999</c:v>
                      </c:pt>
                      <c:pt idx="1184">
                        <c:v>-2.2757747080000001</c:v>
                      </c:pt>
                      <c:pt idx="1185">
                        <c:v>-2.2754037039999999</c:v>
                      </c:pt>
                      <c:pt idx="1186">
                        <c:v>-2.2738990619999999</c:v>
                      </c:pt>
                      <c:pt idx="1187">
                        <c:v>-2.2732862709999999</c:v>
                      </c:pt>
                      <c:pt idx="1188">
                        <c:v>-2.2732001130000001</c:v>
                      </c:pt>
                      <c:pt idx="1189">
                        <c:v>-2.2730897790000002</c:v>
                      </c:pt>
                      <c:pt idx="1190">
                        <c:v>-2.2715631759999999</c:v>
                      </c:pt>
                      <c:pt idx="1191">
                        <c:v>-2.271519246</c:v>
                      </c:pt>
                      <c:pt idx="1192">
                        <c:v>-2.2714744640000002</c:v>
                      </c:pt>
                      <c:pt idx="1193">
                        <c:v>-2.2713011320000001</c:v>
                      </c:pt>
                      <c:pt idx="1194">
                        <c:v>-2.2712355799999999</c:v>
                      </c:pt>
                      <c:pt idx="1195">
                        <c:v>-2.2712137939999999</c:v>
                      </c:pt>
                      <c:pt idx="1196">
                        <c:v>-2.2710596930000002</c:v>
                      </c:pt>
                      <c:pt idx="1197">
                        <c:v>-2.2709299540000001</c:v>
                      </c:pt>
                      <c:pt idx="1198">
                        <c:v>-2.2707773919999998</c:v>
                      </c:pt>
                      <c:pt idx="1199">
                        <c:v>-2.2699258910000002</c:v>
                      </c:pt>
                      <c:pt idx="1200">
                        <c:v>-2.2697731650000001</c:v>
                      </c:pt>
                      <c:pt idx="1201">
                        <c:v>-2.269576684</c:v>
                      </c:pt>
                      <c:pt idx="1202">
                        <c:v>-2.2690515790000001</c:v>
                      </c:pt>
                      <c:pt idx="1203">
                        <c:v>-2.2689436239999998</c:v>
                      </c:pt>
                      <c:pt idx="1204">
                        <c:v>-2.2689218389999999</c:v>
                      </c:pt>
                      <c:pt idx="1205">
                        <c:v>-2.26844168</c:v>
                      </c:pt>
                      <c:pt idx="1206">
                        <c:v>-2.2683977500000001</c:v>
                      </c:pt>
                      <c:pt idx="1207">
                        <c:v>-2.268310413</c:v>
                      </c:pt>
                      <c:pt idx="1208">
                        <c:v>-2.267348916</c:v>
                      </c:pt>
                      <c:pt idx="1209">
                        <c:v>-2.2664115950000001</c:v>
                      </c:pt>
                      <c:pt idx="1210">
                        <c:v>-2.2663458799999998</c:v>
                      </c:pt>
                      <c:pt idx="1211">
                        <c:v>-2.2661046050000002</c:v>
                      </c:pt>
                      <c:pt idx="1212">
                        <c:v>-2.2658645310000001</c:v>
                      </c:pt>
                      <c:pt idx="1213">
                        <c:v>-2.2655153129999999</c:v>
                      </c:pt>
                      <c:pt idx="1214">
                        <c:v>-2.265209687</c:v>
                      </c:pt>
                      <c:pt idx="1215">
                        <c:v>-2.265166105</c:v>
                      </c:pt>
                      <c:pt idx="1216">
                        <c:v>-2.2649040610000002</c:v>
                      </c:pt>
                      <c:pt idx="1217">
                        <c:v>-2.2648604680000002</c:v>
                      </c:pt>
                      <c:pt idx="1218">
                        <c:v>-2.2648180770000002</c:v>
                      </c:pt>
                      <c:pt idx="1219">
                        <c:v>-2.264511261</c:v>
                      </c:pt>
                      <c:pt idx="1220">
                        <c:v>-2.2644892900000002</c:v>
                      </c:pt>
                      <c:pt idx="1221">
                        <c:v>-2.2643597139999998</c:v>
                      </c:pt>
                      <c:pt idx="1222">
                        <c:v>-2.2639449549999999</c:v>
                      </c:pt>
                      <c:pt idx="1223">
                        <c:v>-2.2639217939999998</c:v>
                      </c:pt>
                      <c:pt idx="1224">
                        <c:v>-2.2637472719999998</c:v>
                      </c:pt>
                      <c:pt idx="1225">
                        <c:v>-2.2632669500000002</c:v>
                      </c:pt>
                      <c:pt idx="1226">
                        <c:v>-2.2630280659999999</c:v>
                      </c:pt>
                      <c:pt idx="1227">
                        <c:v>-2.2630049159999999</c:v>
                      </c:pt>
                      <c:pt idx="1228">
                        <c:v>-2.2629189209999998</c:v>
                      </c:pt>
                      <c:pt idx="1229">
                        <c:v>-2.2627212499999998</c:v>
                      </c:pt>
                      <c:pt idx="1230">
                        <c:v>-2.2626556980000001</c:v>
                      </c:pt>
                      <c:pt idx="1231">
                        <c:v>-2.26246057</c:v>
                      </c:pt>
                      <c:pt idx="1232">
                        <c:v>-2.2616747959999999</c:v>
                      </c:pt>
                      <c:pt idx="1233">
                        <c:v>-2.2614125760000001</c:v>
                      </c:pt>
                      <c:pt idx="1234">
                        <c:v>-2.261302417</c:v>
                      </c:pt>
                      <c:pt idx="1235">
                        <c:v>-2.2609749950000002</c:v>
                      </c:pt>
                      <c:pt idx="1236">
                        <c:v>-2.2608888359999999</c:v>
                      </c:pt>
                      <c:pt idx="1237">
                        <c:v>-2.2607361109999999</c:v>
                      </c:pt>
                      <c:pt idx="1238">
                        <c:v>-2.2595791479999998</c:v>
                      </c:pt>
                      <c:pt idx="1239">
                        <c:v>-2.259099</c:v>
                      </c:pt>
                      <c:pt idx="1240">
                        <c:v>-2.2576800029999999</c:v>
                      </c:pt>
                      <c:pt idx="1241">
                        <c:v>-2.2575916399999998</c:v>
                      </c:pt>
                      <c:pt idx="1242">
                        <c:v>-2.2575041169999999</c:v>
                      </c:pt>
                      <c:pt idx="1243">
                        <c:v>-2.2574824950000001</c:v>
                      </c:pt>
                      <c:pt idx="1244">
                        <c:v>-2.2573963369999999</c:v>
                      </c:pt>
                      <c:pt idx="1245">
                        <c:v>-2.257373351</c:v>
                      </c:pt>
                      <c:pt idx="1246">
                        <c:v>-2.2573307850000002</c:v>
                      </c:pt>
                      <c:pt idx="1247">
                        <c:v>-2.2571344670000002</c:v>
                      </c:pt>
                      <c:pt idx="1248">
                        <c:v>-2.2567414920000002</c:v>
                      </c:pt>
                      <c:pt idx="1249">
                        <c:v>-2.2555615549999999</c:v>
                      </c:pt>
                      <c:pt idx="1250">
                        <c:v>-2.255255918</c:v>
                      </c:pt>
                      <c:pt idx="1251">
                        <c:v>-2.2550812320000002</c:v>
                      </c:pt>
                      <c:pt idx="1252">
                        <c:v>-2.254862943</c:v>
                      </c:pt>
                      <c:pt idx="1253">
                        <c:v>-2.2548193620000001</c:v>
                      </c:pt>
                      <c:pt idx="1254">
                        <c:v>-2.254776959</c:v>
                      </c:pt>
                      <c:pt idx="1255">
                        <c:v>-2.2547114069999998</c:v>
                      </c:pt>
                      <c:pt idx="1256">
                        <c:v>-2.2544919399999999</c:v>
                      </c:pt>
                      <c:pt idx="1257">
                        <c:v>-2.2544481730000001</c:v>
                      </c:pt>
                      <c:pt idx="1258">
                        <c:v>-2.2544263880000002</c:v>
                      </c:pt>
                      <c:pt idx="1259">
                        <c:v>-2.2542298949999999</c:v>
                      </c:pt>
                      <c:pt idx="1260">
                        <c:v>-2.2540989659999999</c:v>
                      </c:pt>
                      <c:pt idx="1261">
                        <c:v>-2.2539462289999999</c:v>
                      </c:pt>
                      <c:pt idx="1262">
                        <c:v>-2.2537945289999999</c:v>
                      </c:pt>
                      <c:pt idx="1263">
                        <c:v>-2.253771543</c:v>
                      </c:pt>
                      <c:pt idx="1264">
                        <c:v>-2.2537279510000001</c:v>
                      </c:pt>
                      <c:pt idx="1265">
                        <c:v>-2.2536417929999999</c:v>
                      </c:pt>
                      <c:pt idx="1266">
                        <c:v>-2.2535762410000002</c:v>
                      </c:pt>
                      <c:pt idx="1267">
                        <c:v>-2.2534441209999998</c:v>
                      </c:pt>
                      <c:pt idx="1268">
                        <c:v>-2.2528548289999999</c:v>
                      </c:pt>
                      <c:pt idx="1269">
                        <c:v>-2.2527674809999998</c:v>
                      </c:pt>
                      <c:pt idx="1270">
                        <c:v>-2.252637741</c:v>
                      </c:pt>
                      <c:pt idx="1271">
                        <c:v>-2.252614581</c:v>
                      </c:pt>
                      <c:pt idx="1272">
                        <c:v>-2.2523089540000001</c:v>
                      </c:pt>
                      <c:pt idx="1273">
                        <c:v>-2.2515887220000002</c:v>
                      </c:pt>
                      <c:pt idx="1274">
                        <c:v>-2.2514359960000001</c:v>
                      </c:pt>
                      <c:pt idx="1275">
                        <c:v>-2.2514140359999999</c:v>
                      </c:pt>
                      <c:pt idx="1276">
                        <c:v>-2.2512177179999999</c:v>
                      </c:pt>
                      <c:pt idx="1277">
                        <c:v>-2.2511095999999999</c:v>
                      </c:pt>
                      <c:pt idx="1278">
                        <c:v>-2.2510648180000001</c:v>
                      </c:pt>
                      <c:pt idx="1279">
                        <c:v>-2.2509120920000001</c:v>
                      </c:pt>
                      <c:pt idx="1280">
                        <c:v>-2.250802948</c:v>
                      </c:pt>
                      <c:pt idx="1281">
                        <c:v>-2.2507809879999998</c:v>
                      </c:pt>
                      <c:pt idx="1282">
                        <c:v>-2.2506064549999998</c:v>
                      </c:pt>
                      <c:pt idx="1283">
                        <c:v>-2.250520308</c:v>
                      </c:pt>
                      <c:pt idx="1284">
                        <c:v>-2.2503892030000001</c:v>
                      </c:pt>
                      <c:pt idx="1285">
                        <c:v>-2.2500619450000001</c:v>
                      </c:pt>
                      <c:pt idx="1286">
                        <c:v>-2.2499952030000001</c:v>
                      </c:pt>
                      <c:pt idx="1287">
                        <c:v>-2.2498654629999999</c:v>
                      </c:pt>
                      <c:pt idx="1288">
                        <c:v>-2.249733333</c:v>
                      </c:pt>
                      <c:pt idx="1289">
                        <c:v>-2.2495804330000002</c:v>
                      </c:pt>
                      <c:pt idx="1290">
                        <c:v>-2.2495150549999998</c:v>
                      </c:pt>
                      <c:pt idx="1291">
                        <c:v>-2.249187633</c:v>
                      </c:pt>
                      <c:pt idx="1292">
                        <c:v>-2.2491438769999998</c:v>
                      </c:pt>
                      <c:pt idx="1293">
                        <c:v>-2.2490347329999998</c:v>
                      </c:pt>
                      <c:pt idx="1294">
                        <c:v>-2.2489693439999998</c:v>
                      </c:pt>
                      <c:pt idx="1295">
                        <c:v>-2.2488830219999998</c:v>
                      </c:pt>
                      <c:pt idx="1296">
                        <c:v>-2.248816455</c:v>
                      </c:pt>
                      <c:pt idx="1297">
                        <c:v>-2.2483362960000002</c:v>
                      </c:pt>
                      <c:pt idx="1298">
                        <c:v>-2.2480742619999998</c:v>
                      </c:pt>
                      <c:pt idx="1299">
                        <c:v>-2.2480306699999999</c:v>
                      </c:pt>
                      <c:pt idx="1300">
                        <c:v>-2.246371763</c:v>
                      </c:pt>
                      <c:pt idx="1301">
                        <c:v>-2.2462188630000002</c:v>
                      </c:pt>
                      <c:pt idx="1302">
                        <c:v>-2.245476681</c:v>
                      </c:pt>
                      <c:pt idx="1303">
                        <c:v>-2.245433089</c:v>
                      </c:pt>
                      <c:pt idx="1304">
                        <c:v>-2.245345741</c:v>
                      </c:pt>
                      <c:pt idx="1305">
                        <c:v>-2.245323945</c:v>
                      </c:pt>
                      <c:pt idx="1306">
                        <c:v>-2.2452801889999998</c:v>
                      </c:pt>
                      <c:pt idx="1307">
                        <c:v>-2.244778245</c:v>
                      </c:pt>
                      <c:pt idx="1308">
                        <c:v>-2.244756449</c:v>
                      </c:pt>
                      <c:pt idx="1309">
                        <c:v>-2.2446473149999999</c:v>
                      </c:pt>
                      <c:pt idx="1310">
                        <c:v>-2.244232545</c:v>
                      </c:pt>
                      <c:pt idx="1311">
                        <c:v>-2.2440796440000002</c:v>
                      </c:pt>
                      <c:pt idx="1312">
                        <c:v>-2.2440360519999998</c:v>
                      </c:pt>
                      <c:pt idx="1313">
                        <c:v>-2.24383957</c:v>
                      </c:pt>
                      <c:pt idx="1314">
                        <c:v>-2.243817774</c:v>
                      </c:pt>
                      <c:pt idx="1315">
                        <c:v>-2.242682608</c:v>
                      </c:pt>
                      <c:pt idx="1316">
                        <c:v>-2.242639015</c:v>
                      </c:pt>
                      <c:pt idx="1317">
                        <c:v>-2.24248629</c:v>
                      </c:pt>
                      <c:pt idx="1318">
                        <c:v>-2.2424425339999998</c:v>
                      </c:pt>
                      <c:pt idx="1319">
                        <c:v>-2.2422898080000002</c:v>
                      </c:pt>
                      <c:pt idx="1320">
                        <c:v>-2.242246041</c:v>
                      </c:pt>
                      <c:pt idx="1321">
                        <c:v>-2.2421806640000002</c:v>
                      </c:pt>
                      <c:pt idx="1322">
                        <c:v>-2.241700341</c:v>
                      </c:pt>
                      <c:pt idx="1323">
                        <c:v>-2.2416785450000001</c:v>
                      </c:pt>
                      <c:pt idx="1324">
                        <c:v>-2.241591197</c:v>
                      </c:pt>
                      <c:pt idx="1325">
                        <c:v>-2.241547615</c:v>
                      </c:pt>
                      <c:pt idx="1326">
                        <c:v>-2.2408054229999999</c:v>
                      </c:pt>
                      <c:pt idx="1327">
                        <c:v>-2.2407836269999999</c:v>
                      </c:pt>
                      <c:pt idx="1328">
                        <c:v>-2.2405435530000002</c:v>
                      </c:pt>
                      <c:pt idx="1329">
                        <c:v>-2.2404562050000001</c:v>
                      </c:pt>
                      <c:pt idx="1330">
                        <c:v>-2.2403033040000002</c:v>
                      </c:pt>
                      <c:pt idx="1331">
                        <c:v>-2.2399978530000002</c:v>
                      </c:pt>
                      <c:pt idx="1332">
                        <c:v>-2.2396266640000002</c:v>
                      </c:pt>
                      <c:pt idx="1333">
                        <c:v>-2.2394521420000002</c:v>
                      </c:pt>
                      <c:pt idx="1334">
                        <c:v>-2.239430182</c:v>
                      </c:pt>
                      <c:pt idx="1335">
                        <c:v>-2.2384043230000001</c:v>
                      </c:pt>
                      <c:pt idx="1336">
                        <c:v>-2.238186045</c:v>
                      </c:pt>
                      <c:pt idx="1337">
                        <c:v>-2.2381422899999999</c:v>
                      </c:pt>
                      <c:pt idx="1338">
                        <c:v>-2.2380986969999999</c:v>
                      </c:pt>
                      <c:pt idx="1339">
                        <c:v>-2.2379457970000001</c:v>
                      </c:pt>
                      <c:pt idx="1340">
                        <c:v>-2.2378804190000001</c:v>
                      </c:pt>
                      <c:pt idx="1341">
                        <c:v>-2.2378368270000002</c:v>
                      </c:pt>
                      <c:pt idx="1342">
                        <c:v>-2.2377712750000001</c:v>
                      </c:pt>
                      <c:pt idx="1343">
                        <c:v>-2.2377276830000001</c:v>
                      </c:pt>
                      <c:pt idx="1344">
                        <c:v>-2.2375965789999999</c:v>
                      </c:pt>
                      <c:pt idx="1345">
                        <c:v>-2.2373565050000002</c:v>
                      </c:pt>
                      <c:pt idx="1346">
                        <c:v>-2.2368763569999999</c:v>
                      </c:pt>
                      <c:pt idx="1347">
                        <c:v>-2.2367672120000002</c:v>
                      </c:pt>
                      <c:pt idx="1348">
                        <c:v>-2.2366361079999999</c:v>
                      </c:pt>
                      <c:pt idx="1349">
                        <c:v>-2.2362868900000001</c:v>
                      </c:pt>
                      <c:pt idx="1350">
                        <c:v>-2.2362433089999998</c:v>
                      </c:pt>
                      <c:pt idx="1351">
                        <c:v>-2.2361777570000001</c:v>
                      </c:pt>
                      <c:pt idx="1352">
                        <c:v>-2.2360904079999999</c:v>
                      </c:pt>
                      <c:pt idx="1353">
                        <c:v>-2.235937683</c:v>
                      </c:pt>
                      <c:pt idx="1354">
                        <c:v>-2.2358721309999998</c:v>
                      </c:pt>
                      <c:pt idx="1355">
                        <c:v>-2.235806578</c:v>
                      </c:pt>
                      <c:pt idx="1356">
                        <c:v>-2.2357629860000001</c:v>
                      </c:pt>
                      <c:pt idx="1357">
                        <c:v>-2.2357411900000002</c:v>
                      </c:pt>
                      <c:pt idx="1358">
                        <c:v>-2.2350427530000001</c:v>
                      </c:pt>
                      <c:pt idx="1359">
                        <c:v>-2.234977201</c:v>
                      </c:pt>
                      <c:pt idx="1360">
                        <c:v>-2.2348025159999998</c:v>
                      </c:pt>
                      <c:pt idx="1361">
                        <c:v>-2.2347589239999999</c:v>
                      </c:pt>
                      <c:pt idx="1362">
                        <c:v>-2.234431501</c:v>
                      </c:pt>
                      <c:pt idx="1363">
                        <c:v>-2.2341040790000002</c:v>
                      </c:pt>
                      <c:pt idx="1364">
                        <c:v>-2.2334928270000001</c:v>
                      </c:pt>
                      <c:pt idx="1365">
                        <c:v>-2.2329908829999998</c:v>
                      </c:pt>
                      <c:pt idx="1366">
                        <c:v>-2.232968912</c:v>
                      </c:pt>
                      <c:pt idx="1367">
                        <c:v>-2.2316811940000001</c:v>
                      </c:pt>
                      <c:pt idx="1368">
                        <c:v>-2.2313100050000001</c:v>
                      </c:pt>
                      <c:pt idx="1369">
                        <c:v>-2.2312664240000002</c:v>
                      </c:pt>
                      <c:pt idx="1370">
                        <c:v>-2.231069931</c:v>
                      </c:pt>
                      <c:pt idx="1371">
                        <c:v>-2.2310260120000001</c:v>
                      </c:pt>
                      <c:pt idx="1372">
                        <c:v>-2.2308298579999999</c:v>
                      </c:pt>
                      <c:pt idx="1373">
                        <c:v>-2.2307425090000002</c:v>
                      </c:pt>
                      <c:pt idx="1374">
                        <c:v>-2.230676957</c:v>
                      </c:pt>
                      <c:pt idx="1375">
                        <c:v>-2.2306551720000001</c:v>
                      </c:pt>
                      <c:pt idx="1376">
                        <c:v>-2.2306333760000001</c:v>
                      </c:pt>
                      <c:pt idx="1377">
                        <c:v>-2.2296946910000002</c:v>
                      </c:pt>
                      <c:pt idx="1378">
                        <c:v>-2.2288433649999999</c:v>
                      </c:pt>
                      <c:pt idx="1379">
                        <c:v>-2.2287124239999998</c:v>
                      </c:pt>
                      <c:pt idx="1380">
                        <c:v>-2.2286688429999999</c:v>
                      </c:pt>
                      <c:pt idx="1381">
                        <c:v>-2.2284502160000002</c:v>
                      </c:pt>
                      <c:pt idx="1382">
                        <c:v>-2.2283194499999999</c:v>
                      </c:pt>
                      <c:pt idx="1383">
                        <c:v>-2.2270317319999999</c:v>
                      </c:pt>
                      <c:pt idx="1384">
                        <c:v>-2.2267261060000001</c:v>
                      </c:pt>
                      <c:pt idx="1385">
                        <c:v>-2.2261803950000001</c:v>
                      </c:pt>
                      <c:pt idx="1386">
                        <c:v>-2.2259401579999998</c:v>
                      </c:pt>
                      <c:pt idx="1387">
                        <c:v>-2.2259183610000002</c:v>
                      </c:pt>
                      <c:pt idx="1388">
                        <c:v>-2.2258747689999998</c:v>
                      </c:pt>
                      <c:pt idx="1389">
                        <c:v>-2.2255909389999999</c:v>
                      </c:pt>
                      <c:pt idx="1390">
                        <c:v>-2.225547347</c:v>
                      </c:pt>
                      <c:pt idx="1391">
                        <c:v>-2.2254599989999999</c:v>
                      </c:pt>
                      <c:pt idx="1392">
                        <c:v>-2.2253726509999998</c:v>
                      </c:pt>
                      <c:pt idx="1393">
                        <c:v>-2.225365676</c:v>
                      </c:pt>
                      <c:pt idx="1394">
                        <c:v>-2.2249142989999999</c:v>
                      </c:pt>
                      <c:pt idx="1395">
                        <c:v>-2.2248269509999998</c:v>
                      </c:pt>
                      <c:pt idx="1396">
                        <c:v>-2.2247109960000002</c:v>
                      </c:pt>
                      <c:pt idx="1397">
                        <c:v>-2.2246960210000002</c:v>
                      </c:pt>
                      <c:pt idx="1398">
                        <c:v>-2.2245650800000001</c:v>
                      </c:pt>
                      <c:pt idx="1399">
                        <c:v>-2.224521325</c:v>
                      </c:pt>
                      <c:pt idx="1400">
                        <c:v>-2.2242373199999999</c:v>
                      </c:pt>
                      <c:pt idx="1401">
                        <c:v>-2.2237134049999998</c:v>
                      </c:pt>
                      <c:pt idx="1402">
                        <c:v>-2.2236919579999999</c:v>
                      </c:pt>
                      <c:pt idx="1403">
                        <c:v>-2.2232116359999998</c:v>
                      </c:pt>
                      <c:pt idx="1404">
                        <c:v>-2.2226003840000002</c:v>
                      </c:pt>
                      <c:pt idx="1405">
                        <c:v>-2.2223167180000001</c:v>
                      </c:pt>
                      <c:pt idx="1406">
                        <c:v>-2.2222511659999999</c:v>
                      </c:pt>
                      <c:pt idx="1407">
                        <c:v>-2.2222293689999999</c:v>
                      </c:pt>
                      <c:pt idx="1408">
                        <c:v>-2.2219892950000002</c:v>
                      </c:pt>
                      <c:pt idx="1409">
                        <c:v>-2.2219019470000001</c:v>
                      </c:pt>
                      <c:pt idx="1410">
                        <c:v>-2.2213562470000001</c:v>
                      </c:pt>
                      <c:pt idx="1411">
                        <c:v>-2.2213126550000002</c:v>
                      </c:pt>
                      <c:pt idx="1412">
                        <c:v>-2.2211815509999999</c:v>
                      </c:pt>
                      <c:pt idx="1413">
                        <c:v>-2.221137959</c:v>
                      </c:pt>
                      <c:pt idx="1414">
                        <c:v>-2.2210070289999999</c:v>
                      </c:pt>
                      <c:pt idx="1415">
                        <c:v>-2.2208101980000001</c:v>
                      </c:pt>
                      <c:pt idx="1416">
                        <c:v>-2.2204175620000002</c:v>
                      </c:pt>
                      <c:pt idx="1417">
                        <c:v>-2.218453029</c:v>
                      </c:pt>
                      <c:pt idx="1418">
                        <c:v>-2.218431244</c:v>
                      </c:pt>
                      <c:pt idx="1419">
                        <c:v>-2.2183874769999998</c:v>
                      </c:pt>
                      <c:pt idx="1420">
                        <c:v>-2.2183003029999999</c:v>
                      </c:pt>
                      <c:pt idx="1421">
                        <c:v>-2.2182565470000002</c:v>
                      </c:pt>
                      <c:pt idx="1422">
                        <c:v>-2.2171869329999998</c:v>
                      </c:pt>
                      <c:pt idx="1423">
                        <c:v>-2.2171215549999999</c:v>
                      </c:pt>
                      <c:pt idx="1424">
                        <c:v>-2.2170995840000001</c:v>
                      </c:pt>
                      <c:pt idx="1425">
                        <c:v>-2.2167721619999998</c:v>
                      </c:pt>
                      <c:pt idx="1426">
                        <c:v>-2.2161828699999999</c:v>
                      </c:pt>
                      <c:pt idx="1427">
                        <c:v>-2.2135852890000001</c:v>
                      </c:pt>
                      <c:pt idx="1428">
                        <c:v>-2.2123191929999999</c:v>
                      </c:pt>
                      <c:pt idx="1429">
                        <c:v>-2.2119044219999999</c:v>
                      </c:pt>
                      <c:pt idx="1430">
                        <c:v>-2.2117734819999999</c:v>
                      </c:pt>
                      <c:pt idx="1431">
                        <c:v>-2.2113587219999999</c:v>
                      </c:pt>
                      <c:pt idx="1432">
                        <c:v>-2.2107474589999998</c:v>
                      </c:pt>
                      <c:pt idx="1433">
                        <c:v>-2.2098959589999998</c:v>
                      </c:pt>
                      <c:pt idx="1434">
                        <c:v>-2.2091973579999999</c:v>
                      </c:pt>
                      <c:pt idx="1435">
                        <c:v>-2.209154104</c:v>
                      </c:pt>
                      <c:pt idx="1436">
                        <c:v>-2.2088484780000002</c:v>
                      </c:pt>
                      <c:pt idx="1437">
                        <c:v>-2.208651658</c:v>
                      </c:pt>
                      <c:pt idx="1438">
                        <c:v>-2.2086082409999999</c:v>
                      </c:pt>
                      <c:pt idx="1439">
                        <c:v>-2.207538451</c:v>
                      </c:pt>
                      <c:pt idx="1440">
                        <c:v>-2.2074950339999999</c:v>
                      </c:pt>
                      <c:pt idx="1441">
                        <c:v>-2.207429307</c:v>
                      </c:pt>
                      <c:pt idx="1442">
                        <c:v>-2.2073637549999998</c:v>
                      </c:pt>
                      <c:pt idx="1443">
                        <c:v>-2.2072987159999999</c:v>
                      </c:pt>
                      <c:pt idx="1444">
                        <c:v>-2.2069712940000001</c:v>
                      </c:pt>
                      <c:pt idx="1445">
                        <c:v>-2.2068183929999998</c:v>
                      </c:pt>
                      <c:pt idx="1446">
                        <c:v>-2.2067965969999999</c:v>
                      </c:pt>
                      <c:pt idx="1447">
                        <c:v>-2.206490971</c:v>
                      </c:pt>
                      <c:pt idx="1448">
                        <c:v>-2.206338245</c:v>
                      </c:pt>
                      <c:pt idx="1449">
                        <c:v>-2.2062291009999999</c:v>
                      </c:pt>
                      <c:pt idx="1450">
                        <c:v>-2.2060104850000002</c:v>
                      </c:pt>
                      <c:pt idx="1451">
                        <c:v>-2.2056178489999998</c:v>
                      </c:pt>
                      <c:pt idx="1452">
                        <c:v>-2.2053340189999999</c:v>
                      </c:pt>
                      <c:pt idx="1453">
                        <c:v>-2.205268631</c:v>
                      </c:pt>
                      <c:pt idx="1454">
                        <c:v>-2.2052248749999999</c:v>
                      </c:pt>
                      <c:pt idx="1455">
                        <c:v>-2.2039151860000001</c:v>
                      </c:pt>
                      <c:pt idx="1456">
                        <c:v>-2.2034786190000002</c:v>
                      </c:pt>
                      <c:pt idx="1457">
                        <c:v>-2.2023654229999998</c:v>
                      </c:pt>
                      <c:pt idx="1458">
                        <c:v>-2.2023436269999999</c:v>
                      </c:pt>
                      <c:pt idx="1459">
                        <c:v>-2.2022777370000002</c:v>
                      </c:pt>
                      <c:pt idx="1460">
                        <c:v>-2.2016887829999998</c:v>
                      </c:pt>
                      <c:pt idx="1461">
                        <c:v>-2.2016450270000001</c:v>
                      </c:pt>
                      <c:pt idx="1462">
                        <c:v>-2.2006627609999998</c:v>
                      </c:pt>
                      <c:pt idx="1463">
                        <c:v>-2.2005318200000001</c:v>
                      </c:pt>
                      <c:pt idx="1464">
                        <c:v>-2.2005100350000002</c:v>
                      </c:pt>
                      <c:pt idx="1465">
                        <c:v>-2.2003571339999999</c:v>
                      </c:pt>
                      <c:pt idx="1466">
                        <c:v>-2.2003349999999999</c:v>
                      </c:pt>
                      <c:pt idx="1467">
                        <c:v>-1.5005196940000001</c:v>
                      </c:pt>
                      <c:pt idx="1468">
                        <c:v>-0.82779112200000005</c:v>
                      </c:pt>
                      <c:pt idx="1469">
                        <c:v>-0.79982204000000001</c:v>
                      </c:pt>
                      <c:pt idx="1470">
                        <c:v>-0.65976654199999996</c:v>
                      </c:pt>
                      <c:pt idx="1471">
                        <c:v>-4.3634394999999999E-2</c:v>
                      </c:pt>
                      <c:pt idx="1472">
                        <c:v>1.2513855000000001E-2</c:v>
                      </c:pt>
                      <c:pt idx="1473">
                        <c:v>0.54452866600000005</c:v>
                      </c:pt>
                      <c:pt idx="1474">
                        <c:v>0.57272183799999998</c:v>
                      </c:pt>
                      <c:pt idx="1475">
                        <c:v>0.65618091099999998</c:v>
                      </c:pt>
                      <c:pt idx="1476">
                        <c:v>2.365418204</c:v>
                      </c:pt>
                      <c:pt idx="1477">
                        <c:v>5.0263746229999997</c:v>
                      </c:pt>
                      <c:pt idx="1478">
                        <c:v>6.1183873389999999</c:v>
                      </c:pt>
                      <c:pt idx="1479">
                        <c:v>8.0511251949999991</c:v>
                      </c:pt>
                      <c:pt idx="1480">
                        <c:v>9.2840477490000008</c:v>
                      </c:pt>
                      <c:pt idx="1481">
                        <c:v>9.3395517399999992</c:v>
                      </c:pt>
                      <c:pt idx="1482">
                        <c:v>9.5357554879999995</c:v>
                      </c:pt>
                      <c:pt idx="1483">
                        <c:v>9.7887657449999992</c:v>
                      </c:pt>
                      <c:pt idx="1484">
                        <c:v>9.8442557320000006</c:v>
                      </c:pt>
                      <c:pt idx="1485">
                        <c:v>10.404463720000001</c:v>
                      </c:pt>
                      <c:pt idx="1486">
                        <c:v>11.60898302</c:v>
                      </c:pt>
                      <c:pt idx="1487">
                        <c:v>11.748590330000001</c:v>
                      </c:pt>
                      <c:pt idx="1488">
                        <c:v>11.88864583</c:v>
                      </c:pt>
                      <c:pt idx="1489">
                        <c:v>11.972553080000001</c:v>
                      </c:pt>
                      <c:pt idx="1490">
                        <c:v>13.79320452</c:v>
                      </c:pt>
                      <c:pt idx="1491">
                        <c:v>13.87775603</c:v>
                      </c:pt>
                      <c:pt idx="1492">
                        <c:v>14.04578061</c:v>
                      </c:pt>
                      <c:pt idx="1493">
                        <c:v>14.101494690000001</c:v>
                      </c:pt>
                      <c:pt idx="1494">
                        <c:v>14.577585340000001</c:v>
                      </c:pt>
                      <c:pt idx="1495">
                        <c:v>14.605988590000001</c:v>
                      </c:pt>
                      <c:pt idx="1496">
                        <c:v>16.12426022</c:v>
                      </c:pt>
                      <c:pt idx="1497">
                        <c:v>16.25819529</c:v>
                      </c:pt>
                      <c:pt idx="1498">
                        <c:v>16.286150370000001</c:v>
                      </c:pt>
                      <c:pt idx="1499">
                        <c:v>16.566695530000001</c:v>
                      </c:pt>
                      <c:pt idx="1500">
                        <c:v>16.650812869999999</c:v>
                      </c:pt>
                      <c:pt idx="1501">
                        <c:v>16.762465110000001</c:v>
                      </c:pt>
                      <c:pt idx="1502">
                        <c:v>17.88286708</c:v>
                      </c:pt>
                      <c:pt idx="1503">
                        <c:v>18.05132583</c:v>
                      </c:pt>
                      <c:pt idx="1504">
                        <c:v>18.162964070000001</c:v>
                      </c:pt>
                      <c:pt idx="1505">
                        <c:v>18.387136890000001</c:v>
                      </c:pt>
                      <c:pt idx="1506">
                        <c:v>18.415764240000001</c:v>
                      </c:pt>
                      <c:pt idx="1507">
                        <c:v>18.891630800000001</c:v>
                      </c:pt>
                      <c:pt idx="1508">
                        <c:v>19.003703210000001</c:v>
                      </c:pt>
                      <c:pt idx="1509">
                        <c:v>19.479793860000001</c:v>
                      </c:pt>
                      <c:pt idx="1510">
                        <c:v>21.776325880000002</c:v>
                      </c:pt>
                      <c:pt idx="1511">
                        <c:v>22.476575350000001</c:v>
                      </c:pt>
                      <c:pt idx="1512">
                        <c:v>22.672989189999999</c:v>
                      </c:pt>
                      <c:pt idx="1513">
                        <c:v>22.73001979</c:v>
                      </c:pt>
                      <c:pt idx="1514">
                        <c:v>23.036783339999999</c:v>
                      </c:pt>
                      <c:pt idx="1515">
                        <c:v>25.58587743</c:v>
                      </c:pt>
                      <c:pt idx="1516">
                        <c:v>25.727235449999998</c:v>
                      </c:pt>
                      <c:pt idx="1517">
                        <c:v>25.754980440000001</c:v>
                      </c:pt>
                      <c:pt idx="1518">
                        <c:v>26.454585659999999</c:v>
                      </c:pt>
                      <c:pt idx="1519">
                        <c:v>26.902273059999999</c:v>
                      </c:pt>
                      <c:pt idx="1520">
                        <c:v>27.294890639999998</c:v>
                      </c:pt>
                      <c:pt idx="1521">
                        <c:v>27.406752959999999</c:v>
                      </c:pt>
                      <c:pt idx="1522">
                        <c:v>28.247057940000001</c:v>
                      </c:pt>
                      <c:pt idx="1523">
                        <c:v>28.275895370000001</c:v>
                      </c:pt>
                      <c:pt idx="1524">
                        <c:v>28.303430280000001</c:v>
                      </c:pt>
                      <c:pt idx="1525">
                        <c:v>28.807476009999998</c:v>
                      </c:pt>
                      <c:pt idx="1526">
                        <c:v>28.92044477</c:v>
                      </c:pt>
                      <c:pt idx="1527">
                        <c:v>29.759433229999999</c:v>
                      </c:pt>
                      <c:pt idx="1528">
                        <c:v>30.319851289999999</c:v>
                      </c:pt>
                      <c:pt idx="1529">
                        <c:v>30.347610299999999</c:v>
                      </c:pt>
                      <c:pt idx="1530">
                        <c:v>30.404626889999999</c:v>
                      </c:pt>
                      <c:pt idx="1531">
                        <c:v>30.459682699999998</c:v>
                      </c:pt>
                      <c:pt idx="1532">
                        <c:v>31.83245067</c:v>
                      </c:pt>
                      <c:pt idx="1533">
                        <c:v>31.888164750000001</c:v>
                      </c:pt>
                      <c:pt idx="1534">
                        <c:v>32.616817480000002</c:v>
                      </c:pt>
                      <c:pt idx="1535">
                        <c:v>33.345484220000003</c:v>
                      </c:pt>
                      <c:pt idx="1536">
                        <c:v>33.569867129999999</c:v>
                      </c:pt>
                      <c:pt idx="1537">
                        <c:v>34.270116610000002</c:v>
                      </c:pt>
                      <c:pt idx="1538">
                        <c:v>34.522258520000001</c:v>
                      </c:pt>
                      <c:pt idx="1539">
                        <c:v>34.80192134</c:v>
                      </c:pt>
                      <c:pt idx="1540">
                        <c:v>34.857635420000001</c:v>
                      </c:pt>
                      <c:pt idx="1541">
                        <c:v>34.941976830000002</c:v>
                      </c:pt>
                      <c:pt idx="1542">
                        <c:v>35.082452500000002</c:v>
                      </c:pt>
                      <c:pt idx="1543">
                        <c:v>35.1654774</c:v>
                      </c:pt>
                      <c:pt idx="1544">
                        <c:v>37.409138460000001</c:v>
                      </c:pt>
                      <c:pt idx="1545">
                        <c:v>37.574754089999999</c:v>
                      </c:pt>
                      <c:pt idx="1546">
                        <c:v>37.882820160000001</c:v>
                      </c:pt>
                      <c:pt idx="1547">
                        <c:v>37.91188168</c:v>
                      </c:pt>
                      <c:pt idx="1548">
                        <c:v>38.050830730000001</c:v>
                      </c:pt>
                      <c:pt idx="1549">
                        <c:v>40.126033049999997</c:v>
                      </c:pt>
                      <c:pt idx="1550">
                        <c:v>40.291648670000001</c:v>
                      </c:pt>
                      <c:pt idx="1551">
                        <c:v>40.935973990000001</c:v>
                      </c:pt>
                      <c:pt idx="1552">
                        <c:v>40.964811419999997</c:v>
                      </c:pt>
                      <c:pt idx="1553">
                        <c:v>41.020091319999999</c:v>
                      </c:pt>
                      <c:pt idx="1554">
                        <c:v>41.356994819999997</c:v>
                      </c:pt>
                      <c:pt idx="1555">
                        <c:v>42.169330709999997</c:v>
                      </c:pt>
                      <c:pt idx="1556">
                        <c:v>42.448559359999997</c:v>
                      </c:pt>
                      <c:pt idx="1557">
                        <c:v>42.561304030000002</c:v>
                      </c:pt>
                      <c:pt idx="1558">
                        <c:v>42.645631450000003</c:v>
                      </c:pt>
                      <c:pt idx="1559">
                        <c:v>42.729748780000001</c:v>
                      </c:pt>
                      <c:pt idx="1560">
                        <c:v>43.401609010000001</c:v>
                      </c:pt>
                      <c:pt idx="1561">
                        <c:v>43.541216329999997</c:v>
                      </c:pt>
                      <c:pt idx="1562">
                        <c:v>43.57005376</c:v>
                      </c:pt>
                      <c:pt idx="1563">
                        <c:v>43.989113809999999</c:v>
                      </c:pt>
                      <c:pt idx="1564">
                        <c:v>44.102292660000003</c:v>
                      </c:pt>
                      <c:pt idx="1565">
                        <c:v>44.131578259999998</c:v>
                      </c:pt>
                      <c:pt idx="1566">
                        <c:v>44.185541649999998</c:v>
                      </c:pt>
                      <c:pt idx="1567">
                        <c:v>45.585830520000002</c:v>
                      </c:pt>
                      <c:pt idx="1568">
                        <c:v>45.614667939999997</c:v>
                      </c:pt>
                      <c:pt idx="1569">
                        <c:v>45.950493020000003</c:v>
                      </c:pt>
                      <c:pt idx="1570">
                        <c:v>46.594370159999997</c:v>
                      </c:pt>
                      <c:pt idx="1571">
                        <c:v>46.791008079999997</c:v>
                      </c:pt>
                      <c:pt idx="1572">
                        <c:v>47.016707510000003</c:v>
                      </c:pt>
                      <c:pt idx="1573">
                        <c:v>47.043149990000003</c:v>
                      </c:pt>
                      <c:pt idx="1574">
                        <c:v>47.070670890000002</c:v>
                      </c:pt>
                      <c:pt idx="1575">
                        <c:v>47.127267320000001</c:v>
                      </c:pt>
                      <c:pt idx="1576">
                        <c:v>47.182981400000003</c:v>
                      </c:pt>
                      <c:pt idx="1577">
                        <c:v>48.9197396</c:v>
                      </c:pt>
                      <c:pt idx="1578">
                        <c:v>50.404369889999998</c:v>
                      </c:pt>
                      <c:pt idx="1579">
                        <c:v>50.992532949999998</c:v>
                      </c:pt>
                      <c:pt idx="1580">
                        <c:v>51.104185200000003</c:v>
                      </c:pt>
                      <c:pt idx="1581">
                        <c:v>51.328792200000002</c:v>
                      </c:pt>
                      <c:pt idx="1582">
                        <c:v>52.0286075</c:v>
                      </c:pt>
                      <c:pt idx="1583">
                        <c:v>53.205381809999999</c:v>
                      </c:pt>
                      <c:pt idx="1584">
                        <c:v>53.263056659999997</c:v>
                      </c:pt>
                      <c:pt idx="1585">
                        <c:v>53.401795630000002</c:v>
                      </c:pt>
                      <c:pt idx="1586">
                        <c:v>54.129804110000002</c:v>
                      </c:pt>
                      <c:pt idx="1587">
                        <c:v>54.157325020000002</c:v>
                      </c:pt>
                      <c:pt idx="1588">
                        <c:v>55.278175160000004</c:v>
                      </c:pt>
                      <c:pt idx="1589">
                        <c:v>55.642179400000003</c:v>
                      </c:pt>
                      <c:pt idx="1590">
                        <c:v>56.061897719999997</c:v>
                      </c:pt>
                      <c:pt idx="1591">
                        <c:v>56.230132380000001</c:v>
                      </c:pt>
                      <c:pt idx="1592">
                        <c:v>56.763015539999998</c:v>
                      </c:pt>
                      <c:pt idx="1593">
                        <c:v>56.958785110000001</c:v>
                      </c:pt>
                      <c:pt idx="1594">
                        <c:v>56.986320020000001</c:v>
                      </c:pt>
                      <c:pt idx="1595">
                        <c:v>58.498905389999997</c:v>
                      </c:pt>
                      <c:pt idx="1596">
                        <c:v>59.227123949999999</c:v>
                      </c:pt>
                      <c:pt idx="1597">
                        <c:v>59.311675459999996</c:v>
                      </c:pt>
                      <c:pt idx="1598">
                        <c:v>59.36761362</c:v>
                      </c:pt>
                      <c:pt idx="1599">
                        <c:v>60.26363267</c:v>
                      </c:pt>
                      <c:pt idx="1600">
                        <c:v>61.666330500000001</c:v>
                      </c:pt>
                      <c:pt idx="1601">
                        <c:v>61.832590379999999</c:v>
                      </c:pt>
                      <c:pt idx="1602">
                        <c:v>62.50663548</c:v>
                      </c:pt>
                      <c:pt idx="1603">
                        <c:v>62.672895359999998</c:v>
                      </c:pt>
                      <c:pt idx="1604">
                        <c:v>63.157725470000003</c:v>
                      </c:pt>
                      <c:pt idx="1605">
                        <c:v>63.765552329999998</c:v>
                      </c:pt>
                      <c:pt idx="1606">
                        <c:v>65.081513790000002</c:v>
                      </c:pt>
                      <c:pt idx="1607">
                        <c:v>65.278151699999995</c:v>
                      </c:pt>
                      <c:pt idx="1608">
                        <c:v>65.390014030000003</c:v>
                      </c:pt>
                      <c:pt idx="1609">
                        <c:v>65.642155939999995</c:v>
                      </c:pt>
                      <c:pt idx="1610">
                        <c:v>66.67844058</c:v>
                      </c:pt>
                      <c:pt idx="1611">
                        <c:v>67.434404130000004</c:v>
                      </c:pt>
                      <c:pt idx="1612">
                        <c:v>67.464558080000003</c:v>
                      </c:pt>
                      <c:pt idx="1613">
                        <c:v>68.470702770000003</c:v>
                      </c:pt>
                      <c:pt idx="1614">
                        <c:v>68.807606269999994</c:v>
                      </c:pt>
                      <c:pt idx="1615">
                        <c:v>69.479676580000003</c:v>
                      </c:pt>
                      <c:pt idx="1616">
                        <c:v>69.955319059999994</c:v>
                      </c:pt>
                      <c:pt idx="1617">
                        <c:v>69.985472999999999</c:v>
                      </c:pt>
                      <c:pt idx="1618">
                        <c:v>70.069590340000005</c:v>
                      </c:pt>
                      <c:pt idx="1619">
                        <c:v>71.049950809999999</c:v>
                      </c:pt>
                      <c:pt idx="1620">
                        <c:v>71.692525430000003</c:v>
                      </c:pt>
                      <c:pt idx="1621">
                        <c:v>72.000801589999995</c:v>
                      </c:pt>
                      <c:pt idx="1622">
                        <c:v>72.142383690000003</c:v>
                      </c:pt>
                      <c:pt idx="1623">
                        <c:v>72.226290939999998</c:v>
                      </c:pt>
                      <c:pt idx="1624">
                        <c:v>72.618474340000006</c:v>
                      </c:pt>
                      <c:pt idx="1625">
                        <c:v>72.868865560000003</c:v>
                      </c:pt>
                      <c:pt idx="1626">
                        <c:v>72.952758810000006</c:v>
                      </c:pt>
                      <c:pt idx="1627">
                        <c:v>73.010657749999993</c:v>
                      </c:pt>
                      <c:pt idx="1628">
                        <c:v>73.094565000000003</c:v>
                      </c:pt>
                      <c:pt idx="1629">
                        <c:v>73.178682330000001</c:v>
                      </c:pt>
                      <c:pt idx="1630">
                        <c:v>73.206637409999999</c:v>
                      </c:pt>
                      <c:pt idx="1631">
                        <c:v>74.24314613</c:v>
                      </c:pt>
                      <c:pt idx="1632">
                        <c:v>74.299084289999996</c:v>
                      </c:pt>
                      <c:pt idx="1633">
                        <c:v>74.8313232</c:v>
                      </c:pt>
                      <c:pt idx="1634">
                        <c:v>74.969838080000002</c:v>
                      </c:pt>
                      <c:pt idx="1635">
                        <c:v>75.64365909</c:v>
                      </c:pt>
                      <c:pt idx="1636">
                        <c:v>75.78196389</c:v>
                      </c:pt>
                      <c:pt idx="1637">
                        <c:v>75.811669670000001</c:v>
                      </c:pt>
                      <c:pt idx="1638">
                        <c:v>75.923756080000004</c:v>
                      </c:pt>
                      <c:pt idx="1639">
                        <c:v>76.118209129999997</c:v>
                      </c:pt>
                      <c:pt idx="1640">
                        <c:v>76.398096039999999</c:v>
                      </c:pt>
                      <c:pt idx="1641">
                        <c:v>78.976909910000003</c:v>
                      </c:pt>
                      <c:pt idx="1642">
                        <c:v>79.143183800000003</c:v>
                      </c:pt>
                      <c:pt idx="1643">
                        <c:v>79.172889569999995</c:v>
                      </c:pt>
                      <c:pt idx="1644">
                        <c:v>79.283673460000003</c:v>
                      </c:pt>
                      <c:pt idx="1645">
                        <c:v>81.329814260000006</c:v>
                      </c:pt>
                      <c:pt idx="1646">
                        <c:v>82.840873029999997</c:v>
                      </c:pt>
                      <c:pt idx="1647">
                        <c:v>82.952735349999998</c:v>
                      </c:pt>
                      <c:pt idx="1648">
                        <c:v>83.681178000000003</c:v>
                      </c:pt>
                      <c:pt idx="1649">
                        <c:v>83.738642769999998</c:v>
                      </c:pt>
                      <c:pt idx="1650">
                        <c:v>87.043252240000001</c:v>
                      </c:pt>
                      <c:pt idx="1651">
                        <c:v>88.611495660000003</c:v>
                      </c:pt>
                      <c:pt idx="1652">
                        <c:v>89.56392907</c:v>
                      </c:pt>
                      <c:pt idx="1653">
                        <c:v>89.705539180000002</c:v>
                      </c:pt>
                      <c:pt idx="1654">
                        <c:v>89.789684530000002</c:v>
                      </c:pt>
                      <c:pt idx="1655">
                        <c:v>89.816126999999994</c:v>
                      </c:pt>
                      <c:pt idx="1656">
                        <c:v>89.899389999999997</c:v>
                      </c:pt>
                      <c:pt idx="1657">
                        <c:v>131.8629</c:v>
                      </c:pt>
                      <c:pt idx="1658">
                        <c:v>112.3742</c:v>
                      </c:pt>
                      <c:pt idx="1659">
                        <c:v>84.870069999999998</c:v>
                      </c:pt>
                      <c:pt idx="1660">
                        <c:v>100.5016852</c:v>
                      </c:pt>
                      <c:pt idx="1661">
                        <c:v>119.3682</c:v>
                      </c:pt>
                      <c:pt idx="1662">
                        <c:v>106.3233</c:v>
                      </c:pt>
                      <c:pt idx="1663">
                        <c:v>112.2155745</c:v>
                      </c:pt>
                      <c:pt idx="1664">
                        <c:v>118.1108</c:v>
                      </c:pt>
                      <c:pt idx="1665">
                        <c:v>103.4943</c:v>
                      </c:pt>
                      <c:pt idx="1666">
                        <c:v>121.2542</c:v>
                      </c:pt>
                      <c:pt idx="1667">
                        <c:v>98.229230000000001</c:v>
                      </c:pt>
                      <c:pt idx="1668">
                        <c:v>127.6194</c:v>
                      </c:pt>
                      <c:pt idx="1669">
                        <c:v>107.9736</c:v>
                      </c:pt>
                      <c:pt idx="1670">
                        <c:v>92.178309999999996</c:v>
                      </c:pt>
                      <c:pt idx="1671">
                        <c:v>115.5176</c:v>
                      </c:pt>
                      <c:pt idx="1672">
                        <c:v>104.4032692</c:v>
                      </c:pt>
                      <c:pt idx="1673">
                        <c:v>93.199889999999996</c:v>
                      </c:pt>
                      <c:pt idx="1674">
                        <c:v>119.211</c:v>
                      </c:pt>
                      <c:pt idx="1675">
                        <c:v>88.406300000000002</c:v>
                      </c:pt>
                      <c:pt idx="1676">
                        <c:v>121.4113</c:v>
                      </c:pt>
                      <c:pt idx="1677">
                        <c:v>94.064319999999995</c:v>
                      </c:pt>
                      <c:pt idx="1678">
                        <c:v>113.408852</c:v>
                      </c:pt>
                      <c:pt idx="1679">
                        <c:v>113.553</c:v>
                      </c:pt>
                      <c:pt idx="1680">
                        <c:v>125.4191</c:v>
                      </c:pt>
                      <c:pt idx="1681">
                        <c:v>121.089055</c:v>
                      </c:pt>
                      <c:pt idx="1682">
                        <c:v>112.2957</c:v>
                      </c:pt>
                      <c:pt idx="1683">
                        <c:v>123.29730000000001</c:v>
                      </c:pt>
                      <c:pt idx="1684">
                        <c:v>109.6238</c:v>
                      </c:pt>
                      <c:pt idx="1685">
                        <c:v>126.5192</c:v>
                      </c:pt>
                      <c:pt idx="1686">
                        <c:v>139.4855</c:v>
                      </c:pt>
                      <c:pt idx="1687">
                        <c:v>117.08920000000001</c:v>
                      </c:pt>
                      <c:pt idx="1688">
                        <c:v>131.31280000000001</c:v>
                      </c:pt>
                      <c:pt idx="1689">
                        <c:v>141.60730000000001</c:v>
                      </c:pt>
                      <c:pt idx="1690">
                        <c:v>115.0461</c:v>
                      </c:pt>
                      <c:pt idx="1691">
                        <c:v>147.501</c:v>
                      </c:pt>
                      <c:pt idx="1692">
                        <c:v>124.08320000000001</c:v>
                      </c:pt>
                      <c:pt idx="1693">
                        <c:v>142.3931</c:v>
                      </c:pt>
                      <c:pt idx="1694">
                        <c:v>124.2403</c:v>
                      </c:pt>
                      <c:pt idx="1695">
                        <c:v>164.86789999999999</c:v>
                      </c:pt>
                      <c:pt idx="1696">
                        <c:v>136.9708</c:v>
                      </c:pt>
                      <c:pt idx="1697">
                        <c:v>159.85859160000001</c:v>
                      </c:pt>
                      <c:pt idx="1698">
                        <c:v>162.9819</c:v>
                      </c:pt>
                      <c:pt idx="1699">
                        <c:v>135.4778</c:v>
                      </c:pt>
                      <c:pt idx="1700">
                        <c:v>149.0727</c:v>
                      </c:pt>
                      <c:pt idx="1701">
                        <c:v>137.83529999999999</c:v>
                      </c:pt>
                      <c:pt idx="1702">
                        <c:v>149.46559999999999</c:v>
                      </c:pt>
                      <c:pt idx="1703">
                        <c:v>128.4838</c:v>
                      </c:pt>
                      <c:pt idx="1704">
                        <c:v>153.47329999999999</c:v>
                      </c:pt>
                      <c:pt idx="1705">
                        <c:v>164.71080000000001</c:v>
                      </c:pt>
                      <c:pt idx="1706">
                        <c:v>143.9648</c:v>
                      </c:pt>
                      <c:pt idx="1707">
                        <c:v>161.0959</c:v>
                      </c:pt>
                      <c:pt idx="1708">
                        <c:v>142.31450000000001</c:v>
                      </c:pt>
                      <c:pt idx="1709">
                        <c:v>154.9724928</c:v>
                      </c:pt>
                      <c:pt idx="1710">
                        <c:v>173.35489999999999</c:v>
                      </c:pt>
                      <c:pt idx="1711">
                        <c:v>150.25139999999999</c:v>
                      </c:pt>
                      <c:pt idx="1712">
                        <c:v>177.36269999999999</c:v>
                      </c:pt>
                      <c:pt idx="1713">
                        <c:v>152.2946</c:v>
                      </c:pt>
                      <c:pt idx="1714">
                        <c:v>172.33340000000001</c:v>
                      </c:pt>
                      <c:pt idx="1715">
                        <c:v>146.7938</c:v>
                      </c:pt>
                      <c:pt idx="1716">
                        <c:v>173.905</c:v>
                      </c:pt>
                      <c:pt idx="1717">
                        <c:v>158.26689999999999</c:v>
                      </c:pt>
                      <c:pt idx="1718">
                        <c:v>130.21270000000001</c:v>
                      </c:pt>
                      <c:pt idx="1719">
                        <c:v>133.66626400000001</c:v>
                      </c:pt>
                      <c:pt idx="1720">
                        <c:v>141.84299999999999</c:v>
                      </c:pt>
                      <c:pt idx="1721">
                        <c:v>125.5762</c:v>
                      </c:pt>
                      <c:pt idx="1722">
                        <c:v>0.94300059999999997</c:v>
                      </c:pt>
                      <c:pt idx="1723">
                        <c:v>3.8688593610000002</c:v>
                      </c:pt>
                      <c:pt idx="1724">
                        <c:v>12.691854429999999</c:v>
                      </c:pt>
                      <c:pt idx="1725">
                        <c:v>91.827763770000004</c:v>
                      </c:pt>
                      <c:pt idx="1726">
                        <c:v>103.55464120000001</c:v>
                      </c:pt>
                      <c:pt idx="1727">
                        <c:v>106.48050000000001</c:v>
                      </c:pt>
                      <c:pt idx="1728">
                        <c:v>122.1972</c:v>
                      </c:pt>
                      <c:pt idx="1729">
                        <c:v>188.44290000000001</c:v>
                      </c:pt>
                      <c:pt idx="1730">
                        <c:v>163.61060000000001</c:v>
                      </c:pt>
                      <c:pt idx="1731">
                        <c:v>138.30670000000001</c:v>
                      </c:pt>
                      <c:pt idx="1732">
                        <c:v>162.589</c:v>
                      </c:pt>
                      <c:pt idx="1733">
                        <c:v>156.98129040000001</c:v>
                      </c:pt>
                      <c:pt idx="1734">
                        <c:v>144.20050000000001</c:v>
                      </c:pt>
                      <c:pt idx="1735">
                        <c:v>156.85239999999999</c:v>
                      </c:pt>
                      <c:pt idx="1736">
                        <c:v>168.87569999999999</c:v>
                      </c:pt>
                      <c:pt idx="1737">
                        <c:v>138.85679999999999</c:v>
                      </c:pt>
                      <c:pt idx="1738">
                        <c:v>154.25919999999999</c:v>
                      </c:pt>
                      <c:pt idx="1739">
                        <c:v>174.84800000000001</c:v>
                      </c:pt>
                      <c:pt idx="1740">
                        <c:v>136.49930000000001</c:v>
                      </c:pt>
                      <c:pt idx="1741">
                        <c:v>156.77379999999999</c:v>
                      </c:pt>
                      <c:pt idx="1742">
                        <c:v>175.3981</c:v>
                      </c:pt>
                      <c:pt idx="1743">
                        <c:v>143.80760000000001</c:v>
                      </c:pt>
                      <c:pt idx="1744">
                        <c:v>165.4966</c:v>
                      </c:pt>
                      <c:pt idx="1745">
                        <c:v>177.67699999999999</c:v>
                      </c:pt>
                      <c:pt idx="1746">
                        <c:v>143.1003</c:v>
                      </c:pt>
                      <c:pt idx="1747">
                        <c:v>172.25479999999999</c:v>
                      </c:pt>
                      <c:pt idx="1748">
                        <c:v>162.11750000000001</c:v>
                      </c:pt>
                      <c:pt idx="1749">
                        <c:v>147.8939</c:v>
                      </c:pt>
                      <c:pt idx="1750">
                        <c:v>171.7047</c:v>
                      </c:pt>
                      <c:pt idx="1751">
                        <c:v>159.60290000000001</c:v>
                      </c:pt>
                      <c:pt idx="1752">
                        <c:v>143.80760000000001</c:v>
                      </c:pt>
                      <c:pt idx="1753">
                        <c:v>174.6123</c:v>
                      </c:pt>
                      <c:pt idx="1754">
                        <c:v>163.2963</c:v>
                      </c:pt>
                      <c:pt idx="1755">
                        <c:v>144.90780000000001</c:v>
                      </c:pt>
                      <c:pt idx="1756">
                        <c:v>183.64940000000001</c:v>
                      </c:pt>
                      <c:pt idx="1757">
                        <c:v>160.15299999999999</c:v>
                      </c:pt>
                      <c:pt idx="1758">
                        <c:v>179.0915</c:v>
                      </c:pt>
                      <c:pt idx="1759">
                        <c:v>152.76609999999999</c:v>
                      </c:pt>
                      <c:pt idx="1760">
                        <c:v>173.5907</c:v>
                      </c:pt>
                      <c:pt idx="1761">
                        <c:v>157.71680000000001</c:v>
                      </c:pt>
                      <c:pt idx="1762">
                        <c:v>176.4983</c:v>
                      </c:pt>
                      <c:pt idx="1763">
                        <c:v>160.86019999999999</c:v>
                      </c:pt>
                      <c:pt idx="1764">
                        <c:v>174.06219999999999</c:v>
                      </c:pt>
                      <c:pt idx="1765">
                        <c:v>162.82480000000001</c:v>
                      </c:pt>
                      <c:pt idx="1766">
                        <c:v>176.18389999999999</c:v>
                      </c:pt>
                      <c:pt idx="1767">
                        <c:v>161.96029999999999</c:v>
                      </c:pt>
                      <c:pt idx="1768">
                        <c:v>176.1054</c:v>
                      </c:pt>
                      <c:pt idx="1769">
                        <c:v>163.13910000000001</c:v>
                      </c:pt>
                      <c:pt idx="1770">
                        <c:v>177.36269999999999</c:v>
                      </c:pt>
                      <c:pt idx="1771">
                        <c:v>159.36709999999999</c:v>
                      </c:pt>
                      <c:pt idx="1772">
                        <c:v>181.76339999999999</c:v>
                      </c:pt>
                      <c:pt idx="1773">
                        <c:v>170.36879999999999</c:v>
                      </c:pt>
                      <c:pt idx="1774">
                        <c:v>180.74180000000001</c:v>
                      </c:pt>
                      <c:pt idx="1775">
                        <c:v>163.76779999999999</c:v>
                      </c:pt>
                      <c:pt idx="1776">
                        <c:v>186.3212</c:v>
                      </c:pt>
                      <c:pt idx="1777">
                        <c:v>163.6892</c:v>
                      </c:pt>
                      <c:pt idx="1778">
                        <c:v>177.67699999999999</c:v>
                      </c:pt>
                      <c:pt idx="1779">
                        <c:v>188.67869999999999</c:v>
                      </c:pt>
                      <c:pt idx="1780">
                        <c:v>159.6814</c:v>
                      </c:pt>
                      <c:pt idx="1781">
                        <c:v>182.7064</c:v>
                      </c:pt>
                      <c:pt idx="1782">
                        <c:v>165.02510000000001</c:v>
                      </c:pt>
                      <c:pt idx="1783">
                        <c:v>191.42910000000001</c:v>
                      </c:pt>
                      <c:pt idx="1784">
                        <c:v>168.4828</c:v>
                      </c:pt>
                      <c:pt idx="1785">
                        <c:v>196.45849999999999</c:v>
                      </c:pt>
                      <c:pt idx="1786">
                        <c:v>176.26249999999999</c:v>
                      </c:pt>
                      <c:pt idx="1787">
                        <c:v>190.26024820000001</c:v>
                      </c:pt>
                      <c:pt idx="1788">
                        <c:v>197.7158</c:v>
                      </c:pt>
                      <c:pt idx="1789">
                        <c:v>172.88339999999999</c:v>
                      </c:pt>
                      <c:pt idx="1790">
                        <c:v>200.93770000000001</c:v>
                      </c:pt>
                      <c:pt idx="1791">
                        <c:v>175.94820000000001</c:v>
                      </c:pt>
                      <c:pt idx="1792">
                        <c:v>199.68039999999999</c:v>
                      </c:pt>
                      <c:pt idx="1793">
                        <c:v>166.36099999999999</c:v>
                      </c:pt>
                      <c:pt idx="1794">
                        <c:v>181.6062</c:v>
                      </c:pt>
                      <c:pt idx="1795">
                        <c:v>197.3229</c:v>
                      </c:pt>
                      <c:pt idx="1796">
                        <c:v>170.2116</c:v>
                      </c:pt>
                      <c:pt idx="1797">
                        <c:v>199.36609999999999</c:v>
                      </c:pt>
                      <c:pt idx="1798">
                        <c:v>175.3981</c:v>
                      </c:pt>
                      <c:pt idx="1799">
                        <c:v>207.69589999999999</c:v>
                      </c:pt>
                      <c:pt idx="1800">
                        <c:v>197.0784692</c:v>
                      </c:pt>
                      <c:pt idx="1801">
                        <c:v>171.94040000000001</c:v>
                      </c:pt>
                      <c:pt idx="1802">
                        <c:v>185.77109999999999</c:v>
                      </c:pt>
                      <c:pt idx="1803">
                        <c:v>207.53870000000001</c:v>
                      </c:pt>
                      <c:pt idx="1804">
                        <c:v>173.04060000000001</c:v>
                      </c:pt>
                      <c:pt idx="1805">
                        <c:v>186.7927</c:v>
                      </c:pt>
                      <c:pt idx="1806">
                        <c:v>204.6311</c:v>
                      </c:pt>
                      <c:pt idx="1807">
                        <c:v>171.7833</c:v>
                      </c:pt>
                      <c:pt idx="1808">
                        <c:v>194.101</c:v>
                      </c:pt>
                      <c:pt idx="1809">
                        <c:v>173.74780000000001</c:v>
                      </c:pt>
                      <c:pt idx="1810">
                        <c:v>209.0318</c:v>
                      </c:pt>
                      <c:pt idx="1811">
                        <c:v>191.58629999999999</c:v>
                      </c:pt>
                      <c:pt idx="1812">
                        <c:v>178.3843</c:v>
                      </c:pt>
                      <c:pt idx="1813">
                        <c:v>213.58959999999999</c:v>
                      </c:pt>
                      <c:pt idx="1814">
                        <c:v>182.54920000000001</c:v>
                      </c:pt>
                      <c:pt idx="1815">
                        <c:v>188.15485870000001</c:v>
                      </c:pt>
                      <c:pt idx="1816">
                        <c:v>217.99029999999999</c:v>
                      </c:pt>
                      <c:pt idx="1817">
                        <c:v>176.57689999999999</c:v>
                      </c:pt>
                      <c:pt idx="1818">
                        <c:v>193.62950000000001</c:v>
                      </c:pt>
                      <c:pt idx="1819">
                        <c:v>210.05340000000001</c:v>
                      </c:pt>
                      <c:pt idx="1820">
                        <c:v>176.1054</c:v>
                      </c:pt>
                      <c:pt idx="1821">
                        <c:v>216.18279999999999</c:v>
                      </c:pt>
                      <c:pt idx="1822">
                        <c:v>266.8691</c:v>
                      </c:pt>
                      <c:pt idx="1823">
                        <c:v>212.8038</c:v>
                      </c:pt>
                      <c:pt idx="1824">
                        <c:v>266.79059999999998</c:v>
                      </c:pt>
                      <c:pt idx="1825">
                        <c:v>231.50659999999999</c:v>
                      </c:pt>
                      <c:pt idx="1826">
                        <c:v>261.13260000000002</c:v>
                      </c:pt>
                      <c:pt idx="1827">
                        <c:v>229.5421</c:v>
                      </c:pt>
                      <c:pt idx="1828">
                        <c:v>247.852</c:v>
                      </c:pt>
                      <c:pt idx="1829">
                        <c:v>244.86396350000001</c:v>
                      </c:pt>
                      <c:pt idx="1830">
                        <c:v>238.88332879999999</c:v>
                      </c:pt>
                      <c:pt idx="1831">
                        <c:v>229.77780000000001</c:v>
                      </c:pt>
                      <c:pt idx="1832">
                        <c:v>258.93220000000002</c:v>
                      </c:pt>
                      <c:pt idx="1833">
                        <c:v>234.41419999999999</c:v>
                      </c:pt>
                      <c:pt idx="1834">
                        <c:v>243.02631289999999</c:v>
                      </c:pt>
                      <c:pt idx="1835">
                        <c:v>251.70259999999999</c:v>
                      </c:pt>
                      <c:pt idx="1836">
                        <c:v>218.77610000000001</c:v>
                      </c:pt>
                      <c:pt idx="1837">
                        <c:v>250.0523</c:v>
                      </c:pt>
                      <c:pt idx="1838">
                        <c:v>235.0429</c:v>
                      </c:pt>
                      <c:pt idx="1839">
                        <c:v>251.33732180000001</c:v>
                      </c:pt>
                      <c:pt idx="1840">
                        <c:v>251.46690000000001</c:v>
                      </c:pt>
                      <c:pt idx="1841">
                        <c:v>239.5222</c:v>
                      </c:pt>
                      <c:pt idx="1842">
                        <c:v>252.88130000000001</c:v>
                      </c:pt>
                      <c:pt idx="1843">
                        <c:v>242.35120000000001</c:v>
                      </c:pt>
                      <c:pt idx="1844">
                        <c:v>253.6671</c:v>
                      </c:pt>
                      <c:pt idx="1845">
                        <c:v>237.00749999999999</c:v>
                      </c:pt>
                      <c:pt idx="1846">
                        <c:v>247.9306</c:v>
                      </c:pt>
                      <c:pt idx="1847">
                        <c:v>236.2216</c:v>
                      </c:pt>
                      <c:pt idx="1848">
                        <c:v>253.58860000000001</c:v>
                      </c:pt>
                      <c:pt idx="1849">
                        <c:v>228.4419</c:v>
                      </c:pt>
                      <c:pt idx="1850">
                        <c:v>256.18180000000001</c:v>
                      </c:pt>
                      <c:pt idx="1851">
                        <c:v>238.50059999999999</c:v>
                      </c:pt>
                      <c:pt idx="1852">
                        <c:v>254.61019999999999</c:v>
                      </c:pt>
                      <c:pt idx="1853">
                        <c:v>227.65610000000001</c:v>
                      </c:pt>
                      <c:pt idx="1854">
                        <c:v>248.40209999999999</c:v>
                      </c:pt>
                      <c:pt idx="1855">
                        <c:v>221.2122</c:v>
                      </c:pt>
                      <c:pt idx="1856">
                        <c:v>262.70420000000001</c:v>
                      </c:pt>
                      <c:pt idx="1857">
                        <c:v>235.8287</c:v>
                      </c:pt>
                      <c:pt idx="1858">
                        <c:v>248.92250960000001</c:v>
                      </c:pt>
                      <c:pt idx="1859">
                        <c:v>262.2328</c:v>
                      </c:pt>
                      <c:pt idx="1860">
                        <c:v>225.1414</c:v>
                      </c:pt>
                      <c:pt idx="1861">
                        <c:v>249.58080000000001</c:v>
                      </c:pt>
                      <c:pt idx="1862">
                        <c:v>234.41419999999999</c:v>
                      </c:pt>
                      <c:pt idx="1863">
                        <c:v>254.8459</c:v>
                      </c:pt>
                      <c:pt idx="1864">
                        <c:v>227.18459999999999</c:v>
                      </c:pt>
                      <c:pt idx="1865">
                        <c:v>245.2587</c:v>
                      </c:pt>
                      <c:pt idx="1866">
                        <c:v>229.6207</c:v>
                      </c:pt>
                      <c:pt idx="1867">
                        <c:v>254.76730000000001</c:v>
                      </c:pt>
                      <c:pt idx="1868">
                        <c:v>236.69309999999999</c:v>
                      </c:pt>
                      <c:pt idx="1869">
                        <c:v>247.38050000000001</c:v>
                      </c:pt>
                      <c:pt idx="1870">
                        <c:v>233.86420000000001</c:v>
                      </c:pt>
                      <c:pt idx="1871">
                        <c:v>255.78890000000001</c:v>
                      </c:pt>
                      <c:pt idx="1872">
                        <c:v>233.70699999999999</c:v>
                      </c:pt>
                      <c:pt idx="1873">
                        <c:v>254.8459</c:v>
                      </c:pt>
                      <c:pt idx="1874">
                        <c:v>234.88570000000001</c:v>
                      </c:pt>
                      <c:pt idx="1875">
                        <c:v>249.738</c:v>
                      </c:pt>
                      <c:pt idx="1876">
                        <c:v>238.10769999999999</c:v>
                      </c:pt>
                      <c:pt idx="1877">
                        <c:v>255.5532</c:v>
                      </c:pt>
                      <c:pt idx="1878">
                        <c:v>242.0368</c:v>
                      </c:pt>
                      <c:pt idx="1879">
                        <c:v>251.5528219</c:v>
                      </c:pt>
                      <c:pt idx="1880">
                        <c:v>261.28969999999998</c:v>
                      </c:pt>
                      <c:pt idx="1881">
                        <c:v>237.79329999999999</c:v>
                      </c:pt>
                      <c:pt idx="1882">
                        <c:v>251.9383</c:v>
                      </c:pt>
                      <c:pt idx="1883">
                        <c:v>228.28469999999999</c:v>
                      </c:pt>
                      <c:pt idx="1884">
                        <c:v>264.11869999999999</c:v>
                      </c:pt>
                      <c:pt idx="1885">
                        <c:v>238.422</c:v>
                      </c:pt>
                      <c:pt idx="1886">
                        <c:v>267.73360000000002</c:v>
                      </c:pt>
                      <c:pt idx="1887">
                        <c:v>225.6129</c:v>
                      </c:pt>
                      <c:pt idx="1888">
                        <c:v>253.0385</c:v>
                      </c:pt>
                      <c:pt idx="1889">
                        <c:v>224.5127</c:v>
                      </c:pt>
                      <c:pt idx="1890">
                        <c:v>265.76900000000001</c:v>
                      </c:pt>
                      <c:pt idx="1891">
                        <c:v>237.55760000000001</c:v>
                      </c:pt>
                      <c:pt idx="1892">
                        <c:v>261.76119999999997</c:v>
                      </c:pt>
                      <c:pt idx="1893">
                        <c:v>220.97649999999999</c:v>
                      </c:pt>
                      <c:pt idx="1894">
                        <c:v>252.01689999999999</c:v>
                      </c:pt>
                      <c:pt idx="1895">
                        <c:v>239.9151</c:v>
                      </c:pt>
                      <c:pt idx="1896">
                        <c:v>259.6395</c:v>
                      </c:pt>
                      <c:pt idx="1897">
                        <c:v>235.8287</c:v>
                      </c:pt>
                      <c:pt idx="1898">
                        <c:v>250.20949999999999</c:v>
                      </c:pt>
                      <c:pt idx="1899">
                        <c:v>236.06450000000001</c:v>
                      </c:pt>
                      <c:pt idx="1900">
                        <c:v>258.30360000000002</c:v>
                      </c:pt>
                      <c:pt idx="1901">
                        <c:v>235.35720000000001</c:v>
                      </c:pt>
                      <c:pt idx="1902">
                        <c:v>256.0247</c:v>
                      </c:pt>
                      <c:pt idx="1903">
                        <c:v>237.3218</c:v>
                      </c:pt>
                      <c:pt idx="1904">
                        <c:v>255.6317</c:v>
                      </c:pt>
                      <c:pt idx="1905">
                        <c:v>229.5421</c:v>
                      </c:pt>
                      <c:pt idx="1906">
                        <c:v>261.28969999999998</c:v>
                      </c:pt>
                      <c:pt idx="1907">
                        <c:v>240.9366</c:v>
                      </c:pt>
                      <c:pt idx="1908">
                        <c:v>248.83621199999999</c:v>
                      </c:pt>
                      <c:pt idx="1909">
                        <c:v>256.7319</c:v>
                      </c:pt>
                      <c:pt idx="1910">
                        <c:v>227.10599999999999</c:v>
                      </c:pt>
                      <c:pt idx="1911">
                        <c:v>252.9599</c:v>
                      </c:pt>
                      <c:pt idx="1912">
                        <c:v>231.11369999999999</c:v>
                      </c:pt>
                      <c:pt idx="1913">
                        <c:v>266.47629999999998</c:v>
                      </c:pt>
                      <c:pt idx="1914">
                        <c:v>224.59129999999999</c:v>
                      </c:pt>
                      <c:pt idx="1915">
                        <c:v>246.51609999999999</c:v>
                      </c:pt>
                      <c:pt idx="1916">
                        <c:v>260.7396</c:v>
                      </c:pt>
                      <c:pt idx="1917">
                        <c:v>228.36330000000001</c:v>
                      </c:pt>
                      <c:pt idx="1918">
                        <c:v>257.98930000000001</c:v>
                      </c:pt>
                      <c:pt idx="1919">
                        <c:v>233.9427</c:v>
                      </c:pt>
                      <c:pt idx="1920">
                        <c:v>257.83210000000003</c:v>
                      </c:pt>
                      <c:pt idx="1921">
                        <c:v>228.36330000000001</c:v>
                      </c:pt>
                      <c:pt idx="1922">
                        <c:v>247.69479999999999</c:v>
                      </c:pt>
                      <c:pt idx="1923">
                        <c:v>236.7236595</c:v>
                      </c:pt>
                      <c:pt idx="1924">
                        <c:v>230.87799999999999</c:v>
                      </c:pt>
                      <c:pt idx="1925">
                        <c:v>257.20339999999999</c:v>
                      </c:pt>
                      <c:pt idx="1926">
                        <c:v>242.11539999999999</c:v>
                      </c:pt>
                      <c:pt idx="1927">
                        <c:v>246.29585879999999</c:v>
                      </c:pt>
                      <c:pt idx="1928">
                        <c:v>254.68870000000001</c:v>
                      </c:pt>
                      <c:pt idx="1929">
                        <c:v>233.2355</c:v>
                      </c:pt>
                      <c:pt idx="1930">
                        <c:v>254.68870000000001</c:v>
                      </c:pt>
                      <c:pt idx="1931">
                        <c:v>233.70699999999999</c:v>
                      </c:pt>
                      <c:pt idx="1932">
                        <c:v>254.06010000000001</c:v>
                      </c:pt>
                      <c:pt idx="1933">
                        <c:v>240.2294</c:v>
                      </c:pt>
                      <c:pt idx="1934">
                        <c:v>252.09549999999999</c:v>
                      </c:pt>
                      <c:pt idx="1935">
                        <c:v>230.79939999999999</c:v>
                      </c:pt>
                      <c:pt idx="1936">
                        <c:v>266.39760000000001</c:v>
                      </c:pt>
                      <c:pt idx="1937">
                        <c:v>242.90119999999999</c:v>
                      </c:pt>
                      <c:pt idx="1938">
                        <c:v>266.39760000000001</c:v>
                      </c:pt>
                      <c:pt idx="1939">
                        <c:v>230.87799999999999</c:v>
                      </c:pt>
                      <c:pt idx="1940">
                        <c:v>249.0308</c:v>
                      </c:pt>
                      <c:pt idx="1941">
                        <c:v>230.0136</c:v>
                      </c:pt>
                      <c:pt idx="1942">
                        <c:v>264.74740000000003</c:v>
                      </c:pt>
                      <c:pt idx="1943">
                        <c:v>237.55760000000001</c:v>
                      </c:pt>
                      <c:pt idx="1944">
                        <c:v>263.2543</c:v>
                      </c:pt>
                      <c:pt idx="1945">
                        <c:v>229.2277</c:v>
                      </c:pt>
                      <c:pt idx="1946">
                        <c:v>252.56700000000001</c:v>
                      </c:pt>
                      <c:pt idx="1947">
                        <c:v>227.97040000000001</c:v>
                      </c:pt>
                      <c:pt idx="1948">
                        <c:v>260.58249999999998</c:v>
                      </c:pt>
                      <c:pt idx="1949">
                        <c:v>238.89349999999999</c:v>
                      </c:pt>
                      <c:pt idx="1950">
                        <c:v>249.738</c:v>
                      </c:pt>
                      <c:pt idx="1951">
                        <c:v>225.6129</c:v>
                      </c:pt>
                      <c:pt idx="1952">
                        <c:v>254.61019999999999</c:v>
                      </c:pt>
                      <c:pt idx="1953">
                        <c:v>241.01519999999999</c:v>
                      </c:pt>
                      <c:pt idx="1954">
                        <c:v>245.01128969999999</c:v>
                      </c:pt>
                      <c:pt idx="1955">
                        <c:v>252.88130000000001</c:v>
                      </c:pt>
                      <c:pt idx="1956">
                        <c:v>239.99359999999999</c:v>
                      </c:pt>
                      <c:pt idx="1957">
                        <c:v>258.85359999999997</c:v>
                      </c:pt>
                      <c:pt idx="1958">
                        <c:v>235.7501</c:v>
                      </c:pt>
                      <c:pt idx="1959">
                        <c:v>251.8597</c:v>
                      </c:pt>
                      <c:pt idx="1960">
                        <c:v>242.2507646</c:v>
                      </c:pt>
                      <c:pt idx="1961">
                        <c:v>232.5283</c:v>
                      </c:pt>
                      <c:pt idx="1962">
                        <c:v>265.61180000000002</c:v>
                      </c:pt>
                      <c:pt idx="1963">
                        <c:v>242.35120000000001</c:v>
                      </c:pt>
                      <c:pt idx="1964">
                        <c:v>268.99090000000001</c:v>
                      </c:pt>
                      <c:pt idx="1965">
                        <c:v>231.50659999999999</c:v>
                      </c:pt>
                      <c:pt idx="1966">
                        <c:v>251.78120000000001</c:v>
                      </c:pt>
                      <c:pt idx="1967">
                        <c:v>233.86420000000001</c:v>
                      </c:pt>
                      <c:pt idx="1968">
                        <c:v>268.7552</c:v>
                      </c:pt>
                      <c:pt idx="1969">
                        <c:v>243.29419999999999</c:v>
                      </c:pt>
                      <c:pt idx="1970">
                        <c:v>262.1542</c:v>
                      </c:pt>
                      <c:pt idx="1971">
                        <c:v>223.49109999999999</c:v>
                      </c:pt>
                      <c:pt idx="1972">
                        <c:v>254.61019999999999</c:v>
                      </c:pt>
                      <c:pt idx="1973">
                        <c:v>235.98589999999999</c:v>
                      </c:pt>
                      <c:pt idx="1974">
                        <c:v>261.21120000000002</c:v>
                      </c:pt>
                      <c:pt idx="1975">
                        <c:v>242.4298</c:v>
                      </c:pt>
                      <c:pt idx="1976">
                        <c:v>254.68870000000001</c:v>
                      </c:pt>
                      <c:pt idx="1977">
                        <c:v>232.2139</c:v>
                      </c:pt>
                      <c:pt idx="1978">
                        <c:v>252.01689999999999</c:v>
                      </c:pt>
                      <c:pt idx="1979">
                        <c:v>239.99359999999999</c:v>
                      </c:pt>
                      <c:pt idx="1980">
                        <c:v>256.49619999999999</c:v>
                      </c:pt>
                      <c:pt idx="1981">
                        <c:v>241.09379999999999</c:v>
                      </c:pt>
                      <c:pt idx="1982">
                        <c:v>253.58860000000001</c:v>
                      </c:pt>
                      <c:pt idx="1983">
                        <c:v>248.61084339999999</c:v>
                      </c:pt>
                      <c:pt idx="1984">
                        <c:v>238.422</c:v>
                      </c:pt>
                      <c:pt idx="1985">
                        <c:v>253.82429999999999</c:v>
                      </c:pt>
                      <c:pt idx="1986">
                        <c:v>240.38659999999999</c:v>
                      </c:pt>
                      <c:pt idx="1987">
                        <c:v>254.5316</c:v>
                      </c:pt>
                      <c:pt idx="1988">
                        <c:v>228.04900000000001</c:v>
                      </c:pt>
                      <c:pt idx="1989">
                        <c:v>257.36059999999998</c:v>
                      </c:pt>
                      <c:pt idx="1990">
                        <c:v>229.69919999999999</c:v>
                      </c:pt>
                      <c:pt idx="1991">
                        <c:v>265.53320000000002</c:v>
                      </c:pt>
                      <c:pt idx="1992">
                        <c:v>242.11539999999999</c:v>
                      </c:pt>
                      <c:pt idx="1993">
                        <c:v>265.4547</c:v>
                      </c:pt>
                      <c:pt idx="1994">
                        <c:v>227.7346</c:v>
                      </c:pt>
                      <c:pt idx="1995">
                        <c:v>254.92449999999999</c:v>
                      </c:pt>
                      <c:pt idx="1996">
                        <c:v>232.9212</c:v>
                      </c:pt>
                      <c:pt idx="1997">
                        <c:v>266.16199999999998</c:v>
                      </c:pt>
                      <c:pt idx="1998">
                        <c:v>235.90729999999999</c:v>
                      </c:pt>
                      <c:pt idx="1999">
                        <c:v>261.05399999999997</c:v>
                      </c:pt>
                      <c:pt idx="2000">
                        <c:v>229.14920000000001</c:v>
                      </c:pt>
                      <c:pt idx="2001">
                        <c:v>256.7319</c:v>
                      </c:pt>
                      <c:pt idx="2002">
                        <c:v>231.66390000000001</c:v>
                      </c:pt>
                      <c:pt idx="2003">
                        <c:v>258.14640000000003</c:v>
                      </c:pt>
                      <c:pt idx="2004">
                        <c:v>234.88570000000001</c:v>
                      </c:pt>
                      <c:pt idx="2005">
                        <c:v>246.67320000000001</c:v>
                      </c:pt>
                      <c:pt idx="2006">
                        <c:v>230.95660000000001</c:v>
                      </c:pt>
                      <c:pt idx="2007">
                        <c:v>258.69650000000001</c:v>
                      </c:pt>
                      <c:pt idx="2008">
                        <c:v>246.4375</c:v>
                      </c:pt>
                      <c:pt idx="2009">
                        <c:v>257.36059999999998</c:v>
                      </c:pt>
                      <c:pt idx="2010">
                        <c:v>238.0291</c:v>
                      </c:pt>
                      <c:pt idx="2011">
                        <c:v>256.18180000000001</c:v>
                      </c:pt>
                      <c:pt idx="2012">
                        <c:v>230.7208</c:v>
                      </c:pt>
                      <c:pt idx="2013">
                        <c:v>267.89069999999998</c:v>
                      </c:pt>
                      <c:pt idx="2014">
                        <c:v>240.38659999999999</c:v>
                      </c:pt>
                      <c:pt idx="2015">
                        <c:v>252.2889687</c:v>
                      </c:pt>
                      <c:pt idx="2016">
                        <c:v>264.19729999999998</c:v>
                      </c:pt>
                      <c:pt idx="2017">
                        <c:v>240.38659999999999</c:v>
                      </c:pt>
                      <c:pt idx="2018">
                        <c:v>251.70259999999999</c:v>
                      </c:pt>
                      <c:pt idx="2019">
                        <c:v>241.16985769999999</c:v>
                      </c:pt>
                      <c:pt idx="2020">
                        <c:v>230.79939999999999</c:v>
                      </c:pt>
                      <c:pt idx="2021">
                        <c:v>262.2328</c:v>
                      </c:pt>
                      <c:pt idx="2022">
                        <c:v>240.07220000000001</c:v>
                      </c:pt>
                      <c:pt idx="2023">
                        <c:v>264.11869999999999</c:v>
                      </c:pt>
                      <c:pt idx="2024">
                        <c:v>227.65610000000001</c:v>
                      </c:pt>
                      <c:pt idx="2025">
                        <c:v>250.99529999999999</c:v>
                      </c:pt>
                      <c:pt idx="2026">
                        <c:v>236.8503</c:v>
                      </c:pt>
                      <c:pt idx="2027">
                        <c:v>264.74740000000003</c:v>
                      </c:pt>
                      <c:pt idx="2028">
                        <c:v>238.50059999999999</c:v>
                      </c:pt>
                      <c:pt idx="2029">
                        <c:v>259.6395</c:v>
                      </c:pt>
                      <c:pt idx="2030">
                        <c:v>227.65610000000001</c:v>
                      </c:pt>
                      <c:pt idx="2031">
                        <c:v>258.46080000000001</c:v>
                      </c:pt>
                      <c:pt idx="2032">
                        <c:v>247.852</c:v>
                      </c:pt>
                      <c:pt idx="2033">
                        <c:v>233.6284</c:v>
                      </c:pt>
                      <c:pt idx="2034">
                        <c:v>261.44690000000003</c:v>
                      </c:pt>
                      <c:pt idx="2035">
                        <c:v>244.47290000000001</c:v>
                      </c:pt>
                      <c:pt idx="2036">
                        <c:v>254.61019999999999</c:v>
                      </c:pt>
                      <c:pt idx="2037">
                        <c:v>240.30799999999999</c:v>
                      </c:pt>
                      <c:pt idx="2038">
                        <c:v>255.16030000000001</c:v>
                      </c:pt>
                      <c:pt idx="2039">
                        <c:v>240.9366</c:v>
                      </c:pt>
                      <c:pt idx="2040">
                        <c:v>257.28199999999998</c:v>
                      </c:pt>
                      <c:pt idx="2041">
                        <c:v>232.99969999999999</c:v>
                      </c:pt>
                      <c:pt idx="2042">
                        <c:v>260.11090000000002</c:v>
                      </c:pt>
                      <c:pt idx="2043">
                        <c:v>245.2587</c:v>
                      </c:pt>
                      <c:pt idx="2044">
                        <c:v>255.71029999999999</c:v>
                      </c:pt>
                      <c:pt idx="2045">
                        <c:v>228.36330000000001</c:v>
                      </c:pt>
                      <c:pt idx="2046">
                        <c:v>272.21280000000002</c:v>
                      </c:pt>
                      <c:pt idx="2047">
                        <c:v>243.05840000000001</c:v>
                      </c:pt>
                      <c:pt idx="2048">
                        <c:v>259.16800000000001</c:v>
                      </c:pt>
                      <c:pt idx="2049">
                        <c:v>229.46350000000001</c:v>
                      </c:pt>
                      <c:pt idx="2050">
                        <c:v>255.86750000000001</c:v>
                      </c:pt>
                      <c:pt idx="2051">
                        <c:v>230.24930000000001</c:v>
                      </c:pt>
                      <c:pt idx="2052">
                        <c:v>266.8691</c:v>
                      </c:pt>
                      <c:pt idx="2053">
                        <c:v>234.96430000000001</c:v>
                      </c:pt>
                      <c:pt idx="2054">
                        <c:v>249.738</c:v>
                      </c:pt>
                      <c:pt idx="2055">
                        <c:v>261.21120000000002</c:v>
                      </c:pt>
                      <c:pt idx="2056">
                        <c:v>230.3279</c:v>
                      </c:pt>
                      <c:pt idx="2057">
                        <c:v>256.41759999999999</c:v>
                      </c:pt>
                      <c:pt idx="2058">
                        <c:v>241.48670000000001</c:v>
                      </c:pt>
                      <c:pt idx="2059">
                        <c:v>262.07560000000001</c:v>
                      </c:pt>
                      <c:pt idx="2060">
                        <c:v>235.7501</c:v>
                      </c:pt>
                      <c:pt idx="2061">
                        <c:v>256.81049999999999</c:v>
                      </c:pt>
                      <c:pt idx="2062">
                        <c:v>245.7302</c:v>
                      </c:pt>
                      <c:pt idx="2063">
                        <c:v>255.22523849999999</c:v>
                      </c:pt>
                      <c:pt idx="2064">
                        <c:v>256.41759999999999</c:v>
                      </c:pt>
                      <c:pt idx="2065">
                        <c:v>250.1898004</c:v>
                      </c:pt>
                      <c:pt idx="2066">
                        <c:v>243.76560000000001</c:v>
                      </c:pt>
                      <c:pt idx="2067">
                        <c:v>262.31130000000002</c:v>
                      </c:pt>
                      <c:pt idx="2068">
                        <c:v>234.49279999999999</c:v>
                      </c:pt>
                      <c:pt idx="2069">
                        <c:v>261.44690000000003</c:v>
                      </c:pt>
                      <c:pt idx="2070">
                        <c:v>249.3451</c:v>
                      </c:pt>
                      <c:pt idx="2071">
                        <c:v>227.97040000000001</c:v>
                      </c:pt>
                      <c:pt idx="2072">
                        <c:v>267.81220000000002</c:v>
                      </c:pt>
                      <c:pt idx="2073">
                        <c:v>241.95820000000001</c:v>
                      </c:pt>
                      <c:pt idx="2074">
                        <c:v>267.81220000000002</c:v>
                      </c:pt>
                      <c:pt idx="2075">
                        <c:v>231.821</c:v>
                      </c:pt>
                      <c:pt idx="2076">
                        <c:v>252.7242</c:v>
                      </c:pt>
                      <c:pt idx="2077">
                        <c:v>237.87190000000001</c:v>
                      </c:pt>
                      <c:pt idx="2078">
                        <c:v>263.01859999999999</c:v>
                      </c:pt>
                      <c:pt idx="2079">
                        <c:v>229.69919999999999</c:v>
                      </c:pt>
                      <c:pt idx="2080">
                        <c:v>241.48670000000001</c:v>
                      </c:pt>
                      <c:pt idx="2081">
                        <c:v>263.2543</c:v>
                      </c:pt>
                      <c:pt idx="2082">
                        <c:v>228.67760000000001</c:v>
                      </c:pt>
                      <c:pt idx="2083">
                        <c:v>261.52550000000002</c:v>
                      </c:pt>
                      <c:pt idx="2084">
                        <c:v>238.65770000000001</c:v>
                      </c:pt>
                      <c:pt idx="2085">
                        <c:v>259.01080000000002</c:v>
                      </c:pt>
                      <c:pt idx="2086">
                        <c:v>241.87970000000001</c:v>
                      </c:pt>
                      <c:pt idx="2087">
                        <c:v>257.51769999999999</c:v>
                      </c:pt>
                      <c:pt idx="2088">
                        <c:v>251.618504</c:v>
                      </c:pt>
                      <c:pt idx="2089">
                        <c:v>238.97210000000001</c:v>
                      </c:pt>
                      <c:pt idx="2090">
                        <c:v>252.9599</c:v>
                      </c:pt>
                      <c:pt idx="2091">
                        <c:v>241.251</c:v>
                      </c:pt>
                      <c:pt idx="2092">
                        <c:v>253.27420000000001</c:v>
                      </c:pt>
                      <c:pt idx="2093">
                        <c:v>241.80109999999999</c:v>
                      </c:pt>
                      <c:pt idx="2094">
                        <c:v>253.90289999999999</c:v>
                      </c:pt>
                      <c:pt idx="2095">
                        <c:v>235.51439999999999</c:v>
                      </c:pt>
                      <c:pt idx="2096">
                        <c:v>252.17410000000001</c:v>
                      </c:pt>
                      <c:pt idx="2097">
                        <c:v>228.99199999999999</c:v>
                      </c:pt>
                      <c:pt idx="2098">
                        <c:v>264.35449999999997</c:v>
                      </c:pt>
                      <c:pt idx="2099">
                        <c:v>246.8304</c:v>
                      </c:pt>
                      <c:pt idx="2100">
                        <c:v>233.86420000000001</c:v>
                      </c:pt>
                      <c:pt idx="2101">
                        <c:v>264.82600000000002</c:v>
                      </c:pt>
                      <c:pt idx="2102">
                        <c:v>243.137</c:v>
                      </c:pt>
                      <c:pt idx="2103">
                        <c:v>256.339</c:v>
                      </c:pt>
                      <c:pt idx="2104">
                        <c:v>235.4358</c:v>
                      </c:pt>
                      <c:pt idx="2105">
                        <c:v>260.11090000000002</c:v>
                      </c:pt>
                      <c:pt idx="2106">
                        <c:v>241.95820000000001</c:v>
                      </c:pt>
                      <c:pt idx="2107">
                        <c:v>266.2405</c:v>
                      </c:pt>
                      <c:pt idx="2108">
                        <c:v>232.44970000000001</c:v>
                      </c:pt>
                      <c:pt idx="2109">
                        <c:v>249.26650000000001</c:v>
                      </c:pt>
                      <c:pt idx="2110">
                        <c:v>260.89690000000002</c:v>
                      </c:pt>
                      <c:pt idx="2111">
                        <c:v>231.89959999999999</c:v>
                      </c:pt>
                      <c:pt idx="2112">
                        <c:v>256.81049999999999</c:v>
                      </c:pt>
                      <c:pt idx="2113">
                        <c:v>242.82259999999999</c:v>
                      </c:pt>
                      <c:pt idx="2114">
                        <c:v>254.5316</c:v>
                      </c:pt>
                      <c:pt idx="2115">
                        <c:v>235.27860000000001</c:v>
                      </c:pt>
                      <c:pt idx="2116">
                        <c:v>255.31739999999999</c:v>
                      </c:pt>
                      <c:pt idx="2117">
                        <c:v>237.95050000000001</c:v>
                      </c:pt>
                      <c:pt idx="2118">
                        <c:v>256.81049999999999</c:v>
                      </c:pt>
                      <c:pt idx="2119">
                        <c:v>246.0446</c:v>
                      </c:pt>
                      <c:pt idx="2120">
                        <c:v>261.76119999999997</c:v>
                      </c:pt>
                      <c:pt idx="2121">
                        <c:v>240.07220000000001</c:v>
                      </c:pt>
                      <c:pt idx="2122">
                        <c:v>244.03272480000001</c:v>
                      </c:pt>
                      <c:pt idx="2123">
                        <c:v>252.6456</c:v>
                      </c:pt>
                      <c:pt idx="2124">
                        <c:v>233.5498</c:v>
                      </c:pt>
                      <c:pt idx="2125">
                        <c:v>257.4391</c:v>
                      </c:pt>
                      <c:pt idx="2126">
                        <c:v>232.76400000000001</c:v>
                      </c:pt>
                      <c:pt idx="2127">
                        <c:v>270.32679999999999</c:v>
                      </c:pt>
                      <c:pt idx="2128">
                        <c:v>242.50829999999999</c:v>
                      </c:pt>
                      <c:pt idx="2129">
                        <c:v>264.51170000000002</c:v>
                      </c:pt>
                      <c:pt idx="2130">
                        <c:v>227.4203</c:v>
                      </c:pt>
                      <c:pt idx="2131">
                        <c:v>266.00479999999999</c:v>
                      </c:pt>
                      <c:pt idx="2132">
                        <c:v>247.30189999999999</c:v>
                      </c:pt>
                      <c:pt idx="2133">
                        <c:v>240.6417328</c:v>
                      </c:pt>
                      <c:pt idx="2134">
                        <c:v>227.3417</c:v>
                      </c:pt>
                      <c:pt idx="2135">
                        <c:v>275.98480000000001</c:v>
                      </c:pt>
                      <c:pt idx="2136">
                        <c:v>230.24930000000001</c:v>
                      </c:pt>
                      <c:pt idx="2137">
                        <c:v>248.79499999999999</c:v>
                      </c:pt>
                      <c:pt idx="2138">
                        <c:v>267.41930000000002</c:v>
                      </c:pt>
                      <c:pt idx="2139">
                        <c:v>228.5205</c:v>
                      </c:pt>
                      <c:pt idx="2140">
                        <c:v>263.3329</c:v>
                      </c:pt>
                      <c:pt idx="2141">
                        <c:v>243.4513</c:v>
                      </c:pt>
                      <c:pt idx="2142">
                        <c:v>261.21120000000002</c:v>
                      </c:pt>
                      <c:pt idx="2143">
                        <c:v>231.11369999999999</c:v>
                      </c:pt>
                      <c:pt idx="2144">
                        <c:v>257.83210000000003</c:v>
                      </c:pt>
                      <c:pt idx="2145">
                        <c:v>234.88570000000001</c:v>
                      </c:pt>
                      <c:pt idx="2146">
                        <c:v>260.81819999999999</c:v>
                      </c:pt>
                      <c:pt idx="2147">
                        <c:v>246.28030000000001</c:v>
                      </c:pt>
                      <c:pt idx="2148">
                        <c:v>253.9611491</c:v>
                      </c:pt>
                      <c:pt idx="2149">
                        <c:v>256.57470000000001</c:v>
                      </c:pt>
                      <c:pt idx="2150">
                        <c:v>243.137</c:v>
                      </c:pt>
                      <c:pt idx="2151">
                        <c:v>254.92449999999999</c:v>
                      </c:pt>
                      <c:pt idx="2152">
                        <c:v>241.3295</c:v>
                      </c:pt>
                      <c:pt idx="2153">
                        <c:v>256.88900000000001</c:v>
                      </c:pt>
                      <c:pt idx="2154">
                        <c:v>245.88740000000001</c:v>
                      </c:pt>
                      <c:pt idx="2155">
                        <c:v>260.81819999999999</c:v>
                      </c:pt>
                      <c:pt idx="2156">
                        <c:v>233.39259999999999</c:v>
                      </c:pt>
                      <c:pt idx="2157">
                        <c:v>259.01080000000002</c:v>
                      </c:pt>
                      <c:pt idx="2158">
                        <c:v>244.5515</c:v>
                      </c:pt>
                      <c:pt idx="2159">
                        <c:v>262.1542</c:v>
                      </c:pt>
                      <c:pt idx="2160">
                        <c:v>237.6362</c:v>
                      </c:pt>
                      <c:pt idx="2161">
                        <c:v>259.01080000000002</c:v>
                      </c:pt>
                      <c:pt idx="2162">
                        <c:v>229.935</c:v>
                      </c:pt>
                      <c:pt idx="2163">
                        <c:v>268.51940000000002</c:v>
                      </c:pt>
                      <c:pt idx="2164">
                        <c:v>239.99359999999999</c:v>
                      </c:pt>
                      <c:pt idx="2165">
                        <c:v>266.47629999999998</c:v>
                      </c:pt>
                      <c:pt idx="2166">
                        <c:v>232.5283</c:v>
                      </c:pt>
                      <c:pt idx="2167">
                        <c:v>262.46850000000001</c:v>
                      </c:pt>
                      <c:pt idx="2168">
                        <c:v>248.6378</c:v>
                      </c:pt>
                      <c:pt idx="2169">
                        <c:v>262.5471</c:v>
                      </c:pt>
                      <c:pt idx="2170">
                        <c:v>231.27090000000001</c:v>
                      </c:pt>
                      <c:pt idx="2171">
                        <c:v>248.3235</c:v>
                      </c:pt>
                      <c:pt idx="2172">
                        <c:v>232.99969999999999</c:v>
                      </c:pt>
                      <c:pt idx="2173">
                        <c:v>259.3252</c:v>
                      </c:pt>
                      <c:pt idx="2174">
                        <c:v>245.41589999999999</c:v>
                      </c:pt>
                      <c:pt idx="2175">
                        <c:v>256.0247</c:v>
                      </c:pt>
                      <c:pt idx="2176">
                        <c:v>244.86580000000001</c:v>
                      </c:pt>
                      <c:pt idx="2177">
                        <c:v>255.71029999999999</c:v>
                      </c:pt>
                      <c:pt idx="2178">
                        <c:v>245.2587</c:v>
                      </c:pt>
                      <c:pt idx="2179">
                        <c:v>255.78890000000001</c:v>
                      </c:pt>
                      <c:pt idx="2180">
                        <c:v>242.7441</c:v>
                      </c:pt>
                      <c:pt idx="2181">
                        <c:v>262.62569999999999</c:v>
                      </c:pt>
                      <c:pt idx="2182">
                        <c:v>233.70699999999999</c:v>
                      </c:pt>
                      <c:pt idx="2183">
                        <c:v>249.0308</c:v>
                      </c:pt>
                      <c:pt idx="2184">
                        <c:v>228.75620000000001</c:v>
                      </c:pt>
                      <c:pt idx="2185">
                        <c:v>261.13260000000002</c:v>
                      </c:pt>
                      <c:pt idx="2186">
                        <c:v>247.45910000000001</c:v>
                      </c:pt>
                      <c:pt idx="2187">
                        <c:v>269.61959999999999</c:v>
                      </c:pt>
                      <c:pt idx="2188">
                        <c:v>234.3356</c:v>
                      </c:pt>
                      <c:pt idx="2189">
                        <c:v>253.11709999999999</c:v>
                      </c:pt>
                      <c:pt idx="2190">
                        <c:v>230.6422</c:v>
                      </c:pt>
                      <c:pt idx="2191">
                        <c:v>266.00479999999999</c:v>
                      </c:pt>
                      <c:pt idx="2192">
                        <c:v>235.98589999999999</c:v>
                      </c:pt>
                      <c:pt idx="2193">
                        <c:v>263.41149999999999</c:v>
                      </c:pt>
                      <c:pt idx="2194">
                        <c:v>233.3141</c:v>
                      </c:pt>
                      <c:pt idx="2195">
                        <c:v>253.6671</c:v>
                      </c:pt>
                      <c:pt idx="2196">
                        <c:v>239.60069999999999</c:v>
                      </c:pt>
                      <c:pt idx="2197">
                        <c:v>260.50389999999999</c:v>
                      </c:pt>
                      <c:pt idx="2198">
                        <c:v>243.9228</c:v>
                      </c:pt>
                      <c:pt idx="2199">
                        <c:v>255.86750000000001</c:v>
                      </c:pt>
                      <c:pt idx="2200">
                        <c:v>234.96430000000001</c:v>
                      </c:pt>
                      <c:pt idx="2201">
                        <c:v>256.339</c:v>
                      </c:pt>
                      <c:pt idx="2202">
                        <c:v>244.39429999999999</c:v>
                      </c:pt>
                      <c:pt idx="2203">
                        <c:v>266.8691</c:v>
                      </c:pt>
                      <c:pt idx="2204">
                        <c:v>244.2372</c:v>
                      </c:pt>
                      <c:pt idx="2205">
                        <c:v>256.6533</c:v>
                      </c:pt>
                      <c:pt idx="2206">
                        <c:v>245.18010000000001</c:v>
                      </c:pt>
                      <c:pt idx="2207">
                        <c:v>255.6317</c:v>
                      </c:pt>
                      <c:pt idx="2208">
                        <c:v>237.08609999999999</c:v>
                      </c:pt>
                      <c:pt idx="2209">
                        <c:v>255.78890000000001</c:v>
                      </c:pt>
                      <c:pt idx="2210">
                        <c:v>234.57140000000001</c:v>
                      </c:pt>
                      <c:pt idx="2211">
                        <c:v>259.01080000000002</c:v>
                      </c:pt>
                      <c:pt idx="2212">
                        <c:v>237.2432</c:v>
                      </c:pt>
                      <c:pt idx="2213">
                        <c:v>269.541</c:v>
                      </c:pt>
                      <c:pt idx="2214">
                        <c:v>253.11709999999999</c:v>
                      </c:pt>
                      <c:pt idx="2215">
                        <c:v>229.46350000000001</c:v>
                      </c:pt>
                      <c:pt idx="2216">
                        <c:v>266.8691</c:v>
                      </c:pt>
                      <c:pt idx="2217">
                        <c:v>238.57910000000001</c:v>
                      </c:pt>
                      <c:pt idx="2218">
                        <c:v>252.44056169999999</c:v>
                      </c:pt>
                      <c:pt idx="2219">
                        <c:v>266.08330000000001</c:v>
                      </c:pt>
                      <c:pt idx="2220">
                        <c:v>237.7148</c:v>
                      </c:pt>
                      <c:pt idx="2221">
                        <c:v>255.47460000000001</c:v>
                      </c:pt>
                      <c:pt idx="2222">
                        <c:v>248.2348369</c:v>
                      </c:pt>
                      <c:pt idx="2223">
                        <c:v>240.9366</c:v>
                      </c:pt>
                      <c:pt idx="2224">
                        <c:v>257.51769999999999</c:v>
                      </c:pt>
                      <c:pt idx="2225">
                        <c:v>244.15860000000001</c:v>
                      </c:pt>
                      <c:pt idx="2226">
                        <c:v>254.29580000000001</c:v>
                      </c:pt>
                      <c:pt idx="2227">
                        <c:v>239.9151</c:v>
                      </c:pt>
                      <c:pt idx="2228">
                        <c:v>262.38990000000001</c:v>
                      </c:pt>
                      <c:pt idx="2229">
                        <c:v>251.46690000000001</c:v>
                      </c:pt>
                      <c:pt idx="2230">
                        <c:v>237.3218</c:v>
                      </c:pt>
                      <c:pt idx="2231">
                        <c:v>261.28969999999998</c:v>
                      </c:pt>
                      <c:pt idx="2232">
                        <c:v>249.2575497</c:v>
                      </c:pt>
                      <c:pt idx="2233">
                        <c:v>237.3218</c:v>
                      </c:pt>
                      <c:pt idx="2234">
                        <c:v>262.38990000000001</c:v>
                      </c:pt>
                      <c:pt idx="2235">
                        <c:v>242.4298</c:v>
                      </c:pt>
                      <c:pt idx="2236">
                        <c:v>265.53320000000002</c:v>
                      </c:pt>
                      <c:pt idx="2237">
                        <c:v>230.24930000000001</c:v>
                      </c:pt>
                      <c:pt idx="2238">
                        <c:v>256.96769999999998</c:v>
                      </c:pt>
                      <c:pt idx="2239">
                        <c:v>230.87799999999999</c:v>
                      </c:pt>
                      <c:pt idx="2240">
                        <c:v>274.25599999999997</c:v>
                      </c:pt>
                      <c:pt idx="2241">
                        <c:v>239.8365</c:v>
                      </c:pt>
                      <c:pt idx="2242">
                        <c:v>262.86149999999998</c:v>
                      </c:pt>
                      <c:pt idx="2243">
                        <c:v>234.3356</c:v>
                      </c:pt>
                      <c:pt idx="2244">
                        <c:v>259.9538</c:v>
                      </c:pt>
                      <c:pt idx="2245">
                        <c:v>249.0811296</c:v>
                      </c:pt>
                      <c:pt idx="2246">
                        <c:v>237.95050000000001</c:v>
                      </c:pt>
                      <c:pt idx="2247">
                        <c:v>265.37610000000001</c:v>
                      </c:pt>
                      <c:pt idx="2248">
                        <c:v>232.2139</c:v>
                      </c:pt>
                      <c:pt idx="2249">
                        <c:v>248.87360000000001</c:v>
                      </c:pt>
                      <c:pt idx="2250">
                        <c:v>260.7396</c:v>
                      </c:pt>
                      <c:pt idx="2251">
                        <c:v>233.6284</c:v>
                      </c:pt>
                      <c:pt idx="2252">
                        <c:v>259.16800000000001</c:v>
                      </c:pt>
                      <c:pt idx="2253">
                        <c:v>252.6640299</c:v>
                      </c:pt>
                      <c:pt idx="2254">
                        <c:v>246.35890000000001</c:v>
                      </c:pt>
                      <c:pt idx="2255">
                        <c:v>259.6395</c:v>
                      </c:pt>
                      <c:pt idx="2256">
                        <c:v>244.08</c:v>
                      </c:pt>
                      <c:pt idx="2257">
                        <c:v>211.625</c:v>
                      </c:pt>
                      <c:pt idx="2258">
                        <c:v>246.20140000000001</c:v>
                      </c:pt>
                      <c:pt idx="2259">
                        <c:v>-2.0431680000000001</c:v>
                      </c:pt>
                      <c:pt idx="2260">
                        <c:v>-1.7768141230000001</c:v>
                      </c:pt>
                      <c:pt idx="2261">
                        <c:v>0.40523893799999999</c:v>
                      </c:pt>
                      <c:pt idx="2262">
                        <c:v>0.58346490600000001</c:v>
                      </c:pt>
                      <c:pt idx="2263">
                        <c:v>1.638636089</c:v>
                      </c:pt>
                      <c:pt idx="2264">
                        <c:v>4.5234798989999998</c:v>
                      </c:pt>
                      <c:pt idx="2265">
                        <c:v>4.7878637199999998</c:v>
                      </c:pt>
                      <c:pt idx="2266">
                        <c:v>6.1032159249999998</c:v>
                      </c:pt>
                      <c:pt idx="2267">
                        <c:v>8.4634949220000006</c:v>
                      </c:pt>
                      <c:pt idx="2268">
                        <c:v>8.7298487999999992</c:v>
                      </c:pt>
                      <c:pt idx="2269">
                        <c:v>8.9880597350000002</c:v>
                      </c:pt>
                      <c:pt idx="2270">
                        <c:v>9.2563836990000006</c:v>
                      </c:pt>
                      <c:pt idx="2271">
                        <c:v>9.5145946339999998</c:v>
                      </c:pt>
                      <c:pt idx="2272">
                        <c:v>10.301310519999999</c:v>
                      </c:pt>
                      <c:pt idx="2273">
                        <c:v>11.354511649999999</c:v>
                      </c:pt>
                      <c:pt idx="2274">
                        <c:v>12.147400429999999</c:v>
                      </c:pt>
                      <c:pt idx="2275">
                        <c:v>13.720963530000001</c:v>
                      </c:pt>
                      <c:pt idx="2276">
                        <c:v>14.767991779999999</c:v>
                      </c:pt>
                      <c:pt idx="2277">
                        <c:v>15.55877914</c:v>
                      </c:pt>
                      <c:pt idx="2278">
                        <c:v>16.868089779999998</c:v>
                      </c:pt>
                      <c:pt idx="2279">
                        <c:v>20.814277659999998</c:v>
                      </c:pt>
                      <c:pt idx="2280">
                        <c:v>21.072357270000001</c:v>
                      </c:pt>
                      <c:pt idx="2281">
                        <c:v>22.125558389999998</c:v>
                      </c:pt>
                      <c:pt idx="2282">
                        <c:v>23.4368391</c:v>
                      </c:pt>
                      <c:pt idx="2283">
                        <c:v>23.967445470000001</c:v>
                      </c:pt>
                      <c:pt idx="2284">
                        <c:v>25.278726169999999</c:v>
                      </c:pt>
                      <c:pt idx="2285">
                        <c:v>26.852289280000001</c:v>
                      </c:pt>
                      <c:pt idx="2286">
                        <c:v>27.643208000000001</c:v>
                      </c:pt>
                      <c:pt idx="2287">
                        <c:v>28.16567139</c:v>
                      </c:pt>
                      <c:pt idx="2288">
                        <c:v>29.478922180000001</c:v>
                      </c:pt>
                      <c:pt idx="2289">
                        <c:v>30.792304300000001</c:v>
                      </c:pt>
                      <c:pt idx="2290">
                        <c:v>32.105686419999998</c:v>
                      </c:pt>
                      <c:pt idx="2291">
                        <c:v>34.205784420000001</c:v>
                      </c:pt>
                      <c:pt idx="2292">
                        <c:v>34.734420739999997</c:v>
                      </c:pt>
                      <c:pt idx="2293">
                        <c:v>47.607535550000001</c:v>
                      </c:pt>
                      <c:pt idx="2294">
                        <c:v>49.181098650000003</c:v>
                      </c:pt>
                      <c:pt idx="2295">
                        <c:v>51.279095249999997</c:v>
                      </c:pt>
                      <c:pt idx="2296">
                        <c:v>51.807731560000001</c:v>
                      </c:pt>
                      <c:pt idx="2297">
                        <c:v>53.381294670000003</c:v>
                      </c:pt>
                      <c:pt idx="2298">
                        <c:v>54.432394379999998</c:v>
                      </c:pt>
                      <c:pt idx="2299">
                        <c:v>55.741573670000001</c:v>
                      </c:pt>
                      <c:pt idx="2300">
                        <c:v>56.536563889999996</c:v>
                      </c:pt>
                      <c:pt idx="2301">
                        <c:v>57.32130969</c:v>
                      </c:pt>
                      <c:pt idx="2302">
                        <c:v>64.676774899999998</c:v>
                      </c:pt>
                      <c:pt idx="2303">
                        <c:v>65.992258430000007</c:v>
                      </c:pt>
                      <c:pt idx="2304">
                        <c:v>66.781075729999998</c:v>
                      </c:pt>
                      <c:pt idx="2305">
                        <c:v>67.827972610000003</c:v>
                      </c:pt>
                      <c:pt idx="2306">
                        <c:v>69.669991049999993</c:v>
                      </c:pt>
                      <c:pt idx="2307">
                        <c:v>71.247625630000002</c:v>
                      </c:pt>
                      <c:pt idx="2308">
                        <c:v>71.501633729999995</c:v>
                      </c:pt>
                      <c:pt idx="2309">
                        <c:v>72.032371459999993</c:v>
                      </c:pt>
                      <c:pt idx="2310">
                        <c:v>73.347723630000004</c:v>
                      </c:pt>
                      <c:pt idx="2311">
                        <c:v>75.714175549999993</c:v>
                      </c:pt>
                      <c:pt idx="2312">
                        <c:v>76.496819939999995</c:v>
                      </c:pt>
                      <c:pt idx="2313">
                        <c:v>84.63913239</c:v>
                      </c:pt>
                      <c:pt idx="2314">
                        <c:v>87.794401579999999</c:v>
                      </c:pt>
                      <c:pt idx="2315">
                        <c:v>90.681346809999994</c:v>
                      </c:pt>
                      <c:pt idx="2316">
                        <c:v>92.256879999999995</c:v>
                      </c:pt>
                      <c:pt idx="2317">
                        <c:v>113.7102</c:v>
                      </c:pt>
                      <c:pt idx="2318">
                        <c:v>118.7411626</c:v>
                      </c:pt>
                      <c:pt idx="2319">
                        <c:v>128.8767</c:v>
                      </c:pt>
                      <c:pt idx="2320">
                        <c:v>114.496</c:v>
                      </c:pt>
                      <c:pt idx="2321">
                        <c:v>120.41792959999999</c:v>
                      </c:pt>
                      <c:pt idx="2322">
                        <c:v>123.4470989</c:v>
                      </c:pt>
                      <c:pt idx="2323">
                        <c:v>126.3621</c:v>
                      </c:pt>
                      <c:pt idx="2324">
                        <c:v>134.61541629999999</c:v>
                      </c:pt>
                      <c:pt idx="2325">
                        <c:v>142.8646</c:v>
                      </c:pt>
                      <c:pt idx="2326">
                        <c:v>128.5624</c:v>
                      </c:pt>
                      <c:pt idx="2327">
                        <c:v>127.1906314</c:v>
                      </c:pt>
                      <c:pt idx="2328">
                        <c:v>125.81886280000001</c:v>
                      </c:pt>
                      <c:pt idx="2329">
                        <c:v>124.44709400000001</c:v>
                      </c:pt>
                      <c:pt idx="2330">
                        <c:v>121.6932532</c:v>
                      </c:pt>
                      <c:pt idx="2331">
                        <c:v>116.195875</c:v>
                      </c:pt>
                      <c:pt idx="2332">
                        <c:v>114.8454007</c:v>
                      </c:pt>
                      <c:pt idx="2333">
                        <c:v>113.4420341</c:v>
                      </c:pt>
                      <c:pt idx="2334">
                        <c:v>109.3377189</c:v>
                      </c:pt>
                      <c:pt idx="2335">
                        <c:v>106.5838779</c:v>
                      </c:pt>
                      <c:pt idx="2336">
                        <c:v>105.2231</c:v>
                      </c:pt>
                      <c:pt idx="2337">
                        <c:v>-1.1717711799999999</c:v>
                      </c:pt>
                      <c:pt idx="2338">
                        <c:v>-1.964585</c:v>
                      </c:pt>
                      <c:pt idx="2339">
                        <c:v>-1.9645706949999999</c:v>
                      </c:pt>
                      <c:pt idx="2340">
                        <c:v>-1.9645559379999999</c:v>
                      </c:pt>
                      <c:pt idx="2341">
                        <c:v>-1.9645415239999999</c:v>
                      </c:pt>
                      <c:pt idx="2342">
                        <c:v>-1.9645414080000001</c:v>
                      </c:pt>
                      <c:pt idx="2343">
                        <c:v>-1.964526993</c:v>
                      </c:pt>
                      <c:pt idx="2344">
                        <c:v>-1.964512346</c:v>
                      </c:pt>
                      <c:pt idx="2345">
                        <c:v>-1.9644541209999999</c:v>
                      </c:pt>
                      <c:pt idx="2346">
                        <c:v>-1.964425176</c:v>
                      </c:pt>
                      <c:pt idx="2347">
                        <c:v>-1.964075899</c:v>
                      </c:pt>
                      <c:pt idx="2348">
                        <c:v>-1.9640031360000001</c:v>
                      </c:pt>
                      <c:pt idx="2349">
                        <c:v>-1.9639886129999999</c:v>
                      </c:pt>
                      <c:pt idx="2350">
                        <c:v>-1.963973856</c:v>
                      </c:pt>
                      <c:pt idx="2351">
                        <c:v>-1.963959435</c:v>
                      </c:pt>
                      <c:pt idx="2352">
                        <c:v>-1.963886563</c:v>
                      </c:pt>
                      <c:pt idx="2353">
                        <c:v>-1.9638721480000001</c:v>
                      </c:pt>
                      <c:pt idx="2354">
                        <c:v>-1.9637703310000001</c:v>
                      </c:pt>
                      <c:pt idx="2355">
                        <c:v>-1.963741153</c:v>
                      </c:pt>
                      <c:pt idx="2356">
                        <c:v>-1.9636829280000001</c:v>
                      </c:pt>
                      <c:pt idx="2357">
                        <c:v>-1.963668397</c:v>
                      </c:pt>
                      <c:pt idx="2358">
                        <c:v>-1.9636538670000001</c:v>
                      </c:pt>
                      <c:pt idx="2359">
                        <c:v>-1.963639336</c:v>
                      </c:pt>
                      <c:pt idx="2360">
                        <c:v>-1.9636244629999999</c:v>
                      </c:pt>
                      <c:pt idx="2361">
                        <c:v>-1.963537402</c:v>
                      </c:pt>
                      <c:pt idx="2362">
                        <c:v>-1.963493701</c:v>
                      </c:pt>
                      <c:pt idx="2363">
                        <c:v>-1.963450116</c:v>
                      </c:pt>
                      <c:pt idx="2364">
                        <c:v>-1.963435469</c:v>
                      </c:pt>
                      <c:pt idx="2365">
                        <c:v>-1.963406523</c:v>
                      </c:pt>
                      <c:pt idx="2366">
                        <c:v>-1.963348291</c:v>
                      </c:pt>
                      <c:pt idx="2367">
                        <c:v>-1.9633191210000001</c:v>
                      </c:pt>
                      <c:pt idx="2368">
                        <c:v>-1.9633045899999999</c:v>
                      </c:pt>
                      <c:pt idx="2369">
                        <c:v>-1.9632610049999999</c:v>
                      </c:pt>
                      <c:pt idx="2370">
                        <c:v>-1.9632171869999999</c:v>
                      </c:pt>
                      <c:pt idx="2371">
                        <c:v>-1.963159071</c:v>
                      </c:pt>
                      <c:pt idx="2372">
                        <c:v>-1.9630861989999999</c:v>
                      </c:pt>
                      <c:pt idx="2373">
                        <c:v>-1.962999022</c:v>
                      </c:pt>
                      <c:pt idx="2374">
                        <c:v>-1.9629262590000001</c:v>
                      </c:pt>
                      <c:pt idx="2375">
                        <c:v>-1.9628535030000001</c:v>
                      </c:pt>
                      <c:pt idx="2376">
                        <c:v>-1.9627952710000001</c:v>
                      </c:pt>
                      <c:pt idx="2377">
                        <c:v>-1.9627806240000001</c:v>
                      </c:pt>
                      <c:pt idx="2378">
                        <c:v>-1.9627515689999999</c:v>
                      </c:pt>
                      <c:pt idx="2379">
                        <c:v>-1.9626934460000001</c:v>
                      </c:pt>
                      <c:pt idx="2380">
                        <c:v>-1.9626642759999999</c:v>
                      </c:pt>
                      <c:pt idx="2381">
                        <c:v>-1.9626496360000001</c:v>
                      </c:pt>
                      <c:pt idx="2382">
                        <c:v>-1.962576989</c:v>
                      </c:pt>
                      <c:pt idx="2383">
                        <c:v>-1.9625477019999999</c:v>
                      </c:pt>
                      <c:pt idx="2384">
                        <c:v>-1.9623877620000001</c:v>
                      </c:pt>
                      <c:pt idx="2385">
                        <c:v>-1.9623587069999999</c:v>
                      </c:pt>
                      <c:pt idx="2386">
                        <c:v>-1.9623003590000001</c:v>
                      </c:pt>
                      <c:pt idx="2387">
                        <c:v>-1.9622713039999999</c:v>
                      </c:pt>
                      <c:pt idx="2388">
                        <c:v>-1.9622422429999999</c:v>
                      </c:pt>
                      <c:pt idx="2389">
                        <c:v>-1.962154956</c:v>
                      </c:pt>
                      <c:pt idx="2390">
                        <c:v>-1.962096724</c:v>
                      </c:pt>
                      <c:pt idx="2391">
                        <c:v>-1.962052906</c:v>
                      </c:pt>
                      <c:pt idx="2392">
                        <c:v>-1.9619803760000001</c:v>
                      </c:pt>
                      <c:pt idx="2393">
                        <c:v>-1.961878217</c:v>
                      </c:pt>
                      <c:pt idx="2394">
                        <c:v>-1.9617620950000001</c:v>
                      </c:pt>
                      <c:pt idx="2395">
                        <c:v>-1.9615728670000001</c:v>
                      </c:pt>
                      <c:pt idx="2396">
                        <c:v>-1.9613543600000001</c:v>
                      </c:pt>
                      <c:pt idx="2397">
                        <c:v>-1.961150835</c:v>
                      </c:pt>
                      <c:pt idx="2398">
                        <c:v>-1.961136078</c:v>
                      </c:pt>
                      <c:pt idx="2399">
                        <c:v>-1.9609759120000001</c:v>
                      </c:pt>
                      <c:pt idx="2400">
                        <c:v>-1.960932444</c:v>
                      </c:pt>
                      <c:pt idx="2401">
                        <c:v>-1.9608596810000001</c:v>
                      </c:pt>
                      <c:pt idx="2402">
                        <c:v>-1.960786809</c:v>
                      </c:pt>
                      <c:pt idx="2403">
                        <c:v>-1.9599864380000001</c:v>
                      </c:pt>
                      <c:pt idx="2404">
                        <c:v>-1.9599573830000001</c:v>
                      </c:pt>
                      <c:pt idx="2405">
                        <c:v>-1.9596813209999999</c:v>
                      </c:pt>
                      <c:pt idx="2406">
                        <c:v>-1.9595208200000001</c:v>
                      </c:pt>
                      <c:pt idx="2407">
                        <c:v>-1.9595062889999999</c:v>
                      </c:pt>
                      <c:pt idx="2408">
                        <c:v>-1.9594630390000001</c:v>
                      </c:pt>
                      <c:pt idx="2409">
                        <c:v>-1.9594189959999999</c:v>
                      </c:pt>
                      <c:pt idx="2410">
                        <c:v>-1.959346349</c:v>
                      </c:pt>
                      <c:pt idx="2411">
                        <c:v>-1.959331709</c:v>
                      </c:pt>
                      <c:pt idx="2412">
                        <c:v>-1.959273593</c:v>
                      </c:pt>
                      <c:pt idx="2413">
                        <c:v>-1.95917166</c:v>
                      </c:pt>
                      <c:pt idx="2414">
                        <c:v>-1.959128067</c:v>
                      </c:pt>
                      <c:pt idx="2415">
                        <c:v>-1.9590988970000001</c:v>
                      </c:pt>
                      <c:pt idx="2416">
                        <c:v>-1.9590697260000001</c:v>
                      </c:pt>
                      <c:pt idx="2417">
                        <c:v>-1.9590407809999999</c:v>
                      </c:pt>
                      <c:pt idx="2418">
                        <c:v>-1.958968018</c:v>
                      </c:pt>
                      <c:pt idx="2419">
                        <c:v>-1.9589243160000001</c:v>
                      </c:pt>
                      <c:pt idx="2420">
                        <c:v>-1.958807626</c:v>
                      </c:pt>
                      <c:pt idx="2421">
                        <c:v>-1.9587642670000001</c:v>
                      </c:pt>
                      <c:pt idx="2422">
                        <c:v>-1.9586478030000001</c:v>
                      </c:pt>
                      <c:pt idx="2423">
                        <c:v>-1.958589345</c:v>
                      </c:pt>
                      <c:pt idx="2424">
                        <c:v>-1.9583275870000001</c:v>
                      </c:pt>
                      <c:pt idx="2425">
                        <c:v>-1.9583131730000001</c:v>
                      </c:pt>
                      <c:pt idx="2426">
                        <c:v>-1.9582840020000001</c:v>
                      </c:pt>
                      <c:pt idx="2427">
                        <c:v>-1.9578183769999999</c:v>
                      </c:pt>
                      <c:pt idx="2428">
                        <c:v>-1.9563484120000001</c:v>
                      </c:pt>
                      <c:pt idx="2429">
                        <c:v>-1.9563339980000001</c:v>
                      </c:pt>
                      <c:pt idx="2430">
                        <c:v>-1.955373577</c:v>
                      </c:pt>
                      <c:pt idx="2431">
                        <c:v>-1.9533650060000001</c:v>
                      </c:pt>
                      <c:pt idx="2432">
                        <c:v>-1.953263298</c:v>
                      </c:pt>
                      <c:pt idx="2433">
                        <c:v>-1.9525795079999999</c:v>
                      </c:pt>
                      <c:pt idx="2434">
                        <c:v>-1.952477349</c:v>
                      </c:pt>
                      <c:pt idx="2435">
                        <c:v>-1.95217189</c:v>
                      </c:pt>
                      <c:pt idx="2436">
                        <c:v>-1.9517353260000001</c:v>
                      </c:pt>
                      <c:pt idx="2437">
                        <c:v>-1.9514588129999999</c:v>
                      </c:pt>
                      <c:pt idx="2438">
                        <c:v>-1.95138605</c:v>
                      </c:pt>
                      <c:pt idx="2439">
                        <c:v>-1.951357104</c:v>
                      </c:pt>
                      <c:pt idx="2440">
                        <c:v>-1.950833255</c:v>
                      </c:pt>
                      <c:pt idx="2441">
                        <c:v>-1.9508184980000001</c:v>
                      </c:pt>
                      <c:pt idx="2442">
                        <c:v>-1.9507457349999999</c:v>
                      </c:pt>
                      <c:pt idx="2443">
                        <c:v>-1.95067298</c:v>
                      </c:pt>
                      <c:pt idx="2444">
                        <c:v>-1.950425753</c:v>
                      </c:pt>
                      <c:pt idx="2445">
                        <c:v>-1.950105421</c:v>
                      </c:pt>
                      <c:pt idx="2446">
                        <c:v>-1.948883025</c:v>
                      </c:pt>
                      <c:pt idx="2447">
                        <c:v>-1.948621267</c:v>
                      </c:pt>
                      <c:pt idx="2448">
                        <c:v>-1.948533748</c:v>
                      </c:pt>
                      <c:pt idx="2449">
                        <c:v>-1.9484464610000001</c:v>
                      </c:pt>
                      <c:pt idx="2450">
                        <c:v>-1.9483736979999999</c:v>
                      </c:pt>
                      <c:pt idx="2451">
                        <c:v>-1.94825735</c:v>
                      </c:pt>
                      <c:pt idx="2452">
                        <c:v>-1.9482281800000001</c:v>
                      </c:pt>
                      <c:pt idx="2453">
                        <c:v>-1.948213765</c:v>
                      </c:pt>
                      <c:pt idx="2454">
                        <c:v>-1.948199118</c:v>
                      </c:pt>
                      <c:pt idx="2455">
                        <c:v>-1.948184704</c:v>
                      </c:pt>
                      <c:pt idx="2456">
                        <c:v>-1.948126246</c:v>
                      </c:pt>
                      <c:pt idx="2457">
                        <c:v>-1.9481261299999999</c:v>
                      </c:pt>
                      <c:pt idx="2458">
                        <c:v>-1.948111599</c:v>
                      </c:pt>
                      <c:pt idx="2459">
                        <c:v>-1.9480827700000001</c:v>
                      </c:pt>
                      <c:pt idx="2460">
                        <c:v>-1.948082654</c:v>
                      </c:pt>
                      <c:pt idx="2461">
                        <c:v>-1.9480535990000001</c:v>
                      </c:pt>
                      <c:pt idx="2462">
                        <c:v>-1.9480391850000001</c:v>
                      </c:pt>
                      <c:pt idx="2463">
                        <c:v>-1.9480244289999999</c:v>
                      </c:pt>
                      <c:pt idx="2464">
                        <c:v>-1.948009898</c:v>
                      </c:pt>
                      <c:pt idx="2465">
                        <c:v>-1.9479664219999999</c:v>
                      </c:pt>
                      <c:pt idx="2466">
                        <c:v>-1.947951891</c:v>
                      </c:pt>
                      <c:pt idx="2467">
                        <c:v>-1.9479227210000001</c:v>
                      </c:pt>
                      <c:pt idx="2468">
                        <c:v>-1.9479079640000001</c:v>
                      </c:pt>
                      <c:pt idx="2469">
                        <c:v>-1.9478206709999999</c:v>
                      </c:pt>
                      <c:pt idx="2470">
                        <c:v>-1.947718853</c:v>
                      </c:pt>
                      <c:pt idx="2471">
                        <c:v>-1.947617036</c:v>
                      </c:pt>
                      <c:pt idx="2472">
                        <c:v>-1.947587865</c:v>
                      </c:pt>
                      <c:pt idx="2473">
                        <c:v>-1.9475589200000001</c:v>
                      </c:pt>
                      <c:pt idx="2474">
                        <c:v>-1.9475442730000001</c:v>
                      </c:pt>
                      <c:pt idx="2475">
                        <c:v>-1.9475153279999999</c:v>
                      </c:pt>
                      <c:pt idx="2476">
                        <c:v>-1.9474861569999999</c:v>
                      </c:pt>
                      <c:pt idx="2477">
                        <c:v>-1.9474567540000001</c:v>
                      </c:pt>
                      <c:pt idx="2478">
                        <c:v>-1.9474279249999999</c:v>
                      </c:pt>
                      <c:pt idx="2479">
                        <c:v>-1.9474132850000001</c:v>
                      </c:pt>
                      <c:pt idx="2480">
                        <c:v>-1.947398754</c:v>
                      </c:pt>
                      <c:pt idx="2481">
                        <c:v>-1.9473842240000001</c:v>
                      </c:pt>
                      <c:pt idx="2482">
                        <c:v>-1.947384107</c:v>
                      </c:pt>
                      <c:pt idx="2483">
                        <c:v>-1.947369693</c:v>
                      </c:pt>
                      <c:pt idx="2484">
                        <c:v>-1.947311461</c:v>
                      </c:pt>
                      <c:pt idx="2485">
                        <c:v>-1.947253119</c:v>
                      </c:pt>
                      <c:pt idx="2486">
                        <c:v>-1.9472530029999999</c:v>
                      </c:pt>
                      <c:pt idx="2487">
                        <c:v>-1.947238705</c:v>
                      </c:pt>
                      <c:pt idx="2488">
                        <c:v>-1.947224174</c:v>
                      </c:pt>
                      <c:pt idx="2489">
                        <c:v>-1.9472096430000001</c:v>
                      </c:pt>
                      <c:pt idx="2490">
                        <c:v>-1.9471805820000001</c:v>
                      </c:pt>
                      <c:pt idx="2491">
                        <c:v>-1.947136771</c:v>
                      </c:pt>
                      <c:pt idx="2492">
                        <c:v>-1.94710771</c:v>
                      </c:pt>
                      <c:pt idx="2493">
                        <c:v>-1.9470931789999999</c:v>
                      </c:pt>
                      <c:pt idx="2494">
                        <c:v>-1.947078656</c:v>
                      </c:pt>
                      <c:pt idx="2495">
                        <c:v>-1.947064125</c:v>
                      </c:pt>
                      <c:pt idx="2496">
                        <c:v>-1.9470640079999999</c:v>
                      </c:pt>
                      <c:pt idx="2497">
                        <c:v>-1.9470347210000001</c:v>
                      </c:pt>
                      <c:pt idx="2498">
                        <c:v>-1.9470203070000001</c:v>
                      </c:pt>
                      <c:pt idx="2499">
                        <c:v>-1.9470057759999999</c:v>
                      </c:pt>
                      <c:pt idx="2500">
                        <c:v>-1.946991245</c:v>
                      </c:pt>
                      <c:pt idx="2501">
                        <c:v>-1.946976722</c:v>
                      </c:pt>
                      <c:pt idx="2502">
                        <c:v>-1.9469623</c:v>
                      </c:pt>
                      <c:pt idx="2503">
                        <c:v>-1.9469330199999999</c:v>
                      </c:pt>
                      <c:pt idx="2504">
                        <c:v>-1.9469184900000001</c:v>
                      </c:pt>
                      <c:pt idx="2505">
                        <c:v>-1.946904075</c:v>
                      </c:pt>
                      <c:pt idx="2506">
                        <c:v>-1.9468603739999999</c:v>
                      </c:pt>
                      <c:pt idx="2507">
                        <c:v>-1.9468457269999999</c:v>
                      </c:pt>
                      <c:pt idx="2508">
                        <c:v>-1.9468019089999999</c:v>
                      </c:pt>
                      <c:pt idx="2509">
                        <c:v>-1.946772964</c:v>
                      </c:pt>
                      <c:pt idx="2510">
                        <c:v>-1.946744019</c:v>
                      </c:pt>
                      <c:pt idx="2511">
                        <c:v>-1.9467147389999999</c:v>
                      </c:pt>
                      <c:pt idx="2512">
                        <c:v>-1.946685794</c:v>
                      </c:pt>
                      <c:pt idx="2513">
                        <c:v>-1.9466566160000001</c:v>
                      </c:pt>
                      <c:pt idx="2514">
                        <c:v>-1.946642092</c:v>
                      </c:pt>
                      <c:pt idx="2515">
                        <c:v>-1.946598158</c:v>
                      </c:pt>
                      <c:pt idx="2516">
                        <c:v>-1.9465692130000001</c:v>
                      </c:pt>
                      <c:pt idx="2517">
                        <c:v>-1.946554798</c:v>
                      </c:pt>
                      <c:pt idx="2518">
                        <c:v>-1.9465402679999999</c:v>
                      </c:pt>
                      <c:pt idx="2519">
                        <c:v>-1.9465255109999999</c:v>
                      </c:pt>
                      <c:pt idx="2520">
                        <c:v>-1.946496566</c:v>
                      </c:pt>
                      <c:pt idx="2521">
                        <c:v>-1.946452981</c:v>
                      </c:pt>
                      <c:pt idx="2522">
                        <c:v>-1.946438334</c:v>
                      </c:pt>
                      <c:pt idx="2523">
                        <c:v>-1.9463946329999999</c:v>
                      </c:pt>
                      <c:pt idx="2524">
                        <c:v>-1.946365345</c:v>
                      </c:pt>
                      <c:pt idx="2525">
                        <c:v>-1.9463510479999999</c:v>
                      </c:pt>
                      <c:pt idx="2526">
                        <c:v>-1.9463218769999999</c:v>
                      </c:pt>
                      <c:pt idx="2527">
                        <c:v>-1.9463074549999999</c:v>
                      </c:pt>
                      <c:pt idx="2528">
                        <c:v>-1.9462054120000001</c:v>
                      </c:pt>
                      <c:pt idx="2529">
                        <c:v>-1.946190882</c:v>
                      </c:pt>
                      <c:pt idx="2530">
                        <c:v>-1.946059894</c:v>
                      </c:pt>
                      <c:pt idx="2531">
                        <c:v>-1.9459433129999999</c:v>
                      </c:pt>
                      <c:pt idx="2532">
                        <c:v>-1.945885423</c:v>
                      </c:pt>
                      <c:pt idx="2533">
                        <c:v>-1.9458708920000001</c:v>
                      </c:pt>
                      <c:pt idx="2534">
                        <c:v>-1.94578338</c:v>
                      </c:pt>
                      <c:pt idx="2535">
                        <c:v>-1.9456816720000001</c:v>
                      </c:pt>
                      <c:pt idx="2536">
                        <c:v>-1.9456669150000001</c:v>
                      </c:pt>
                      <c:pt idx="2537">
                        <c:v>-1.9456233300000001</c:v>
                      </c:pt>
                      <c:pt idx="2538">
                        <c:v>-1.9455943849999999</c:v>
                      </c:pt>
                      <c:pt idx="2539">
                        <c:v>-1.945550567</c:v>
                      </c:pt>
                      <c:pt idx="2540">
                        <c:v>-1.9455361529999999</c:v>
                      </c:pt>
                      <c:pt idx="2541">
                        <c:v>-1.945521622</c:v>
                      </c:pt>
                      <c:pt idx="2542">
                        <c:v>-1.9455067500000001</c:v>
                      </c:pt>
                      <c:pt idx="2543">
                        <c:v>-1.94549211</c:v>
                      </c:pt>
                      <c:pt idx="2544">
                        <c:v>-1.945477804</c:v>
                      </c:pt>
                      <c:pt idx="2545">
                        <c:v>-1.9454486339999999</c:v>
                      </c:pt>
                      <c:pt idx="2546">
                        <c:v>-1.9453906270000001</c:v>
                      </c:pt>
                      <c:pt idx="2547">
                        <c:v>-1.9453761039999999</c:v>
                      </c:pt>
                      <c:pt idx="2548">
                        <c:v>-1.945361573</c:v>
                      </c:pt>
                      <c:pt idx="2549">
                        <c:v>-1.945288468</c:v>
                      </c:pt>
                      <c:pt idx="2550">
                        <c:v>-1.945274054</c:v>
                      </c:pt>
                      <c:pt idx="2551">
                        <c:v>-1.9452451079999999</c:v>
                      </c:pt>
                      <c:pt idx="2552">
                        <c:v>-1.9452303520000001</c:v>
                      </c:pt>
                      <c:pt idx="2553">
                        <c:v>-1.9452160469999999</c:v>
                      </c:pt>
                      <c:pt idx="2554">
                        <c:v>-1.9452158209999999</c:v>
                      </c:pt>
                      <c:pt idx="2555">
                        <c:v>-1.9449247839999999</c:v>
                      </c:pt>
                      <c:pt idx="2556">
                        <c:v>-1.9448517949999999</c:v>
                      </c:pt>
                      <c:pt idx="2557">
                        <c:v>-1.9447792580000001</c:v>
                      </c:pt>
                      <c:pt idx="2558">
                        <c:v>-1.9446920809999999</c:v>
                      </c:pt>
                      <c:pt idx="2559">
                        <c:v>-1.9446775569999999</c:v>
                      </c:pt>
                      <c:pt idx="2560">
                        <c:v>-1.944663026</c:v>
                      </c:pt>
                      <c:pt idx="2561">
                        <c:v>-1.9446482700000001</c:v>
                      </c:pt>
                      <c:pt idx="2562">
                        <c:v>-1.944459275</c:v>
                      </c:pt>
                      <c:pt idx="2563">
                        <c:v>-1.944430214</c:v>
                      </c:pt>
                      <c:pt idx="2564">
                        <c:v>-1.9443863960000001</c:v>
                      </c:pt>
                      <c:pt idx="2565">
                        <c:v>-1.9442554080000001</c:v>
                      </c:pt>
                      <c:pt idx="2566">
                        <c:v>-1.9441537</c:v>
                      </c:pt>
                      <c:pt idx="2567">
                        <c:v>-1.9441099989999999</c:v>
                      </c:pt>
                      <c:pt idx="2568">
                        <c:v>-1.944109882</c:v>
                      </c:pt>
                      <c:pt idx="2569">
                        <c:v>-1.944080711</c:v>
                      </c:pt>
                      <c:pt idx="2570">
                        <c:v>-1.944037236</c:v>
                      </c:pt>
                      <c:pt idx="2571">
                        <c:v>-1.944022712</c:v>
                      </c:pt>
                      <c:pt idx="2572">
                        <c:v>-1.9439934249999999</c:v>
                      </c:pt>
                      <c:pt idx="2573">
                        <c:v>-1.9439643630000001</c:v>
                      </c:pt>
                      <c:pt idx="2574">
                        <c:v>-1.9439499490000001</c:v>
                      </c:pt>
                      <c:pt idx="2575">
                        <c:v>-1.9439354179999999</c:v>
                      </c:pt>
                      <c:pt idx="2576">
                        <c:v>-1.943920662</c:v>
                      </c:pt>
                      <c:pt idx="2577">
                        <c:v>-1.943906248</c:v>
                      </c:pt>
                      <c:pt idx="2578">
                        <c:v>-1.9439061310000001</c:v>
                      </c:pt>
                      <c:pt idx="2579">
                        <c:v>-1.9438917170000001</c:v>
                      </c:pt>
                      <c:pt idx="2580">
                        <c:v>-1.943877077</c:v>
                      </c:pt>
                      <c:pt idx="2581">
                        <c:v>-1.9438480149999999</c:v>
                      </c:pt>
                      <c:pt idx="2582">
                        <c:v>-1.9438189539999999</c:v>
                      </c:pt>
                      <c:pt idx="2583">
                        <c:v>-1.943673435</c:v>
                      </c:pt>
                      <c:pt idx="2584">
                        <c:v>-1.9436587949999999</c:v>
                      </c:pt>
                      <c:pt idx="2585">
                        <c:v>-1.9436006720000001</c:v>
                      </c:pt>
                      <c:pt idx="2586">
                        <c:v>-1.9435701409999999</c:v>
                      </c:pt>
                      <c:pt idx="2587">
                        <c:v>-1.94351316</c:v>
                      </c:pt>
                      <c:pt idx="2588">
                        <c:v>-1.943469568</c:v>
                      </c:pt>
                      <c:pt idx="2589">
                        <c:v>-1.9433823910000001</c:v>
                      </c:pt>
                      <c:pt idx="2590">
                        <c:v>-1.9432658169999999</c:v>
                      </c:pt>
                      <c:pt idx="2591">
                        <c:v>-1.9432514030000001</c:v>
                      </c:pt>
                      <c:pt idx="2592">
                        <c:v>-1.9432368719999999</c:v>
                      </c:pt>
                      <c:pt idx="2593">
                        <c:v>-1.9432221160000001</c:v>
                      </c:pt>
                      <c:pt idx="2594">
                        <c:v>-1.943207017</c:v>
                      </c:pt>
                      <c:pt idx="2595">
                        <c:v>-1.94319317</c:v>
                      </c:pt>
                      <c:pt idx="2596">
                        <c:v>-1.94317864</c:v>
                      </c:pt>
                      <c:pt idx="2597">
                        <c:v>-1.943149585</c:v>
                      </c:pt>
                      <c:pt idx="2598">
                        <c:v>-1.9430911280000001</c:v>
                      </c:pt>
                      <c:pt idx="2599">
                        <c:v>-1.9430768220000001</c:v>
                      </c:pt>
                      <c:pt idx="2600">
                        <c:v>-1.943047652</c:v>
                      </c:pt>
                      <c:pt idx="2601">
                        <c:v>-1.943033121</c:v>
                      </c:pt>
                      <c:pt idx="2602">
                        <c:v>-1.943003834</c:v>
                      </c:pt>
                      <c:pt idx="2603">
                        <c:v>-1.9429603580000001</c:v>
                      </c:pt>
                      <c:pt idx="2604">
                        <c:v>-1.942916547</c:v>
                      </c:pt>
                      <c:pt idx="2605">
                        <c:v>-1.9428873689999999</c:v>
                      </c:pt>
                      <c:pt idx="2606">
                        <c:v>-1.94288726</c:v>
                      </c:pt>
                      <c:pt idx="2607">
                        <c:v>-1.9428583150000001</c:v>
                      </c:pt>
                      <c:pt idx="2608">
                        <c:v>-1.9428003089999999</c:v>
                      </c:pt>
                      <c:pt idx="2609">
                        <c:v>-1.9427855519999999</c:v>
                      </c:pt>
                      <c:pt idx="2610">
                        <c:v>-1.9427115450000001</c:v>
                      </c:pt>
                      <c:pt idx="2611">
                        <c:v>-1.9426982660000001</c:v>
                      </c:pt>
                      <c:pt idx="2612">
                        <c:v>-1.942683844</c:v>
                      </c:pt>
                      <c:pt idx="2613">
                        <c:v>-1.9426544480000001</c:v>
                      </c:pt>
                      <c:pt idx="2614">
                        <c:v>-1.9426400340000001</c:v>
                      </c:pt>
                      <c:pt idx="2615">
                        <c:v>-1.942625619</c:v>
                      </c:pt>
                      <c:pt idx="2616">
                        <c:v>-1.942610972</c:v>
                      </c:pt>
                      <c:pt idx="2617">
                        <c:v>-1.942596558</c:v>
                      </c:pt>
                      <c:pt idx="2618">
                        <c:v>-1.942582027</c:v>
                      </c:pt>
                      <c:pt idx="2619">
                        <c:v>-1.9425672709999999</c:v>
                      </c:pt>
                      <c:pt idx="2620">
                        <c:v>-1.942552856</c:v>
                      </c:pt>
                      <c:pt idx="2621">
                        <c:v>-1.9425236859999999</c:v>
                      </c:pt>
                      <c:pt idx="2622">
                        <c:v>-1.9425092639999999</c:v>
                      </c:pt>
                      <c:pt idx="2623">
                        <c:v>-1.9424794169999999</c:v>
                      </c:pt>
                      <c:pt idx="2624">
                        <c:v>-1.9423636360000001</c:v>
                      </c:pt>
                      <c:pt idx="2625">
                        <c:v>-1.9423345750000001</c:v>
                      </c:pt>
                      <c:pt idx="2626">
                        <c:v>-1.9422908729999999</c:v>
                      </c:pt>
                      <c:pt idx="2627">
                        <c:v>-1.942275658</c:v>
                      </c:pt>
                      <c:pt idx="2628">
                        <c:v>-1.942274982</c:v>
                      </c:pt>
                      <c:pt idx="2629">
                        <c:v>-1.9421161760000001</c:v>
                      </c:pt>
                      <c:pt idx="2630">
                        <c:v>-1.9420870059999999</c:v>
                      </c:pt>
                      <c:pt idx="2631">
                        <c:v>-1.942057377</c:v>
                      </c:pt>
                      <c:pt idx="2632">
                        <c:v>-1.9420567</c:v>
                      </c:pt>
                      <c:pt idx="2633">
                        <c:v>-1.942014243</c:v>
                      </c:pt>
                      <c:pt idx="2634">
                        <c:v>-1.9419707740000001</c:v>
                      </c:pt>
                      <c:pt idx="2635">
                        <c:v>-1.941941487</c:v>
                      </c:pt>
                      <c:pt idx="2636">
                        <c:v>-1.9419265050000001</c:v>
                      </c:pt>
                      <c:pt idx="2637">
                        <c:v>-1.941912426</c:v>
                      </c:pt>
                      <c:pt idx="2638">
                        <c:v>-1.9418978950000001</c:v>
                      </c:pt>
                      <c:pt idx="2639">
                        <c:v>-1.9418833710000001</c:v>
                      </c:pt>
                      <c:pt idx="2640">
                        <c:v>-1.9418689499999999</c:v>
                      </c:pt>
                      <c:pt idx="2641">
                        <c:v>-1.9418538510000001</c:v>
                      </c:pt>
                      <c:pt idx="2642">
                        <c:v>-1.9418395530000001</c:v>
                      </c:pt>
                      <c:pt idx="2643">
                        <c:v>-1.9418251390000001</c:v>
                      </c:pt>
                      <c:pt idx="2644">
                        <c:v>-1.941795852</c:v>
                      </c:pt>
                      <c:pt idx="2645">
                        <c:v>-1.941767016</c:v>
                      </c:pt>
                      <c:pt idx="2646">
                        <c:v>-1.941752492</c:v>
                      </c:pt>
                      <c:pt idx="2647">
                        <c:v>-1.941723431</c:v>
                      </c:pt>
                      <c:pt idx="2648">
                        <c:v>-1.9417087909999999</c:v>
                      </c:pt>
                      <c:pt idx="2649">
                        <c:v>-1.941694144</c:v>
                      </c:pt>
                      <c:pt idx="2650">
                        <c:v>-1.941665199</c:v>
                      </c:pt>
                      <c:pt idx="2651">
                        <c:v>-1.9416506680000001</c:v>
                      </c:pt>
                      <c:pt idx="2652">
                        <c:v>-1.941635344</c:v>
                      </c:pt>
                      <c:pt idx="2653">
                        <c:v>-1.9416214970000001</c:v>
                      </c:pt>
                      <c:pt idx="2654">
                        <c:v>-1.941592327</c:v>
                      </c:pt>
                      <c:pt idx="2655">
                        <c:v>-1.9415776789999999</c:v>
                      </c:pt>
                      <c:pt idx="2656">
                        <c:v>-1.9415630399999999</c:v>
                      </c:pt>
                      <c:pt idx="2657">
                        <c:v>-1.9415487339999999</c:v>
                      </c:pt>
                      <c:pt idx="2658">
                        <c:v>-1.941534211</c:v>
                      </c:pt>
                      <c:pt idx="2659">
                        <c:v>-1.9415340940000001</c:v>
                      </c:pt>
                      <c:pt idx="2660">
                        <c:v>-1.9415045820000001</c:v>
                      </c:pt>
                      <c:pt idx="2661">
                        <c:v>-1.941388576</c:v>
                      </c:pt>
                      <c:pt idx="2662">
                        <c:v>-1.94124305</c:v>
                      </c:pt>
                      <c:pt idx="2663">
                        <c:v>-1.9410829999999999</c:v>
                      </c:pt>
                      <c:pt idx="2664">
                        <c:v>-1.9410679019999999</c:v>
                      </c:pt>
                      <c:pt idx="2665">
                        <c:v>-1.941053946</c:v>
                      </c:pt>
                      <c:pt idx="2666">
                        <c:v>-1.9410394150000001</c:v>
                      </c:pt>
                      <c:pt idx="2667">
                        <c:v>-1.9410247679999999</c:v>
                      </c:pt>
                      <c:pt idx="2668">
                        <c:v>-1.940995255</c:v>
                      </c:pt>
                      <c:pt idx="2669">
                        <c:v>-1.9409809570000001</c:v>
                      </c:pt>
                      <c:pt idx="2670">
                        <c:v>-1.940922834</c:v>
                      </c:pt>
                      <c:pt idx="2671">
                        <c:v>-1.940893889</c:v>
                      </c:pt>
                      <c:pt idx="2672">
                        <c:v>-1.9408937799999999</c:v>
                      </c:pt>
                      <c:pt idx="2673">
                        <c:v>-1.9408793660000001</c:v>
                      </c:pt>
                      <c:pt idx="2674">
                        <c:v>-1.940821017</c:v>
                      </c:pt>
                      <c:pt idx="2675">
                        <c:v>-1.9408064860000001</c:v>
                      </c:pt>
                      <c:pt idx="2676">
                        <c:v>-1.940791395</c:v>
                      </c:pt>
                      <c:pt idx="2677">
                        <c:v>-1.940762785</c:v>
                      </c:pt>
                      <c:pt idx="2678">
                        <c:v>-1.9406027349999999</c:v>
                      </c:pt>
                      <c:pt idx="2679">
                        <c:v>-1.94052998</c:v>
                      </c:pt>
                      <c:pt idx="2680">
                        <c:v>-1.9404572170000001</c:v>
                      </c:pt>
                      <c:pt idx="2681">
                        <c:v>-1.9404426859999999</c:v>
                      </c:pt>
                      <c:pt idx="2682">
                        <c:v>-1.9404275879999999</c:v>
                      </c:pt>
                      <c:pt idx="2683">
                        <c:v>-1.9404135149999999</c:v>
                      </c:pt>
                      <c:pt idx="2684">
                        <c:v>-1.9403991009999999</c:v>
                      </c:pt>
                      <c:pt idx="2685">
                        <c:v>-1.9403844539999999</c:v>
                      </c:pt>
                      <c:pt idx="2686">
                        <c:v>-1.940369923</c:v>
                      </c:pt>
                      <c:pt idx="2687">
                        <c:v>-1.9403554000000001</c:v>
                      </c:pt>
                      <c:pt idx="2688">
                        <c:v>-1.940340752</c:v>
                      </c:pt>
                      <c:pt idx="2689">
                        <c:v>-1.9402678799999999</c:v>
                      </c:pt>
                      <c:pt idx="2690">
                        <c:v>-1.940195117</c:v>
                      </c:pt>
                      <c:pt idx="2691">
                        <c:v>-1.9401080559999999</c:v>
                      </c:pt>
                      <c:pt idx="2692">
                        <c:v>-1.9400934160000001</c:v>
                      </c:pt>
                      <c:pt idx="2693">
                        <c:v>-1.9400642379999999</c:v>
                      </c:pt>
                      <c:pt idx="2694">
                        <c:v>-1.940035068</c:v>
                      </c:pt>
                      <c:pt idx="2695">
                        <c:v>-1.9400055549999999</c:v>
                      </c:pt>
                      <c:pt idx="2696">
                        <c:v>-1.9399912500000001</c:v>
                      </c:pt>
                      <c:pt idx="2697">
                        <c:v>-1.9399624209999999</c:v>
                      </c:pt>
                      <c:pt idx="2698">
                        <c:v>-1.93994789</c:v>
                      </c:pt>
                      <c:pt idx="2699">
                        <c:v>-1.939932792</c:v>
                      </c:pt>
                      <c:pt idx="2700">
                        <c:v>-1.939918378</c:v>
                      </c:pt>
                      <c:pt idx="2701">
                        <c:v>-1.939729609</c:v>
                      </c:pt>
                      <c:pt idx="2702">
                        <c:v>-1.9396859070000001</c:v>
                      </c:pt>
                      <c:pt idx="2703">
                        <c:v>-1.939453095</c:v>
                      </c:pt>
                      <c:pt idx="2704">
                        <c:v>-1.9393366379999999</c:v>
                      </c:pt>
                      <c:pt idx="2705">
                        <c:v>-1.9391469589999999</c:v>
                      </c:pt>
                      <c:pt idx="2706">
                        <c:v>-1.939132319</c:v>
                      </c:pt>
                      <c:pt idx="2707">
                        <c:v>-1.9391038249999999</c:v>
                      </c:pt>
                      <c:pt idx="2708">
                        <c:v>-1.939089295</c:v>
                      </c:pt>
                      <c:pt idx="2709">
                        <c:v>-1.9390455929999999</c:v>
                      </c:pt>
                      <c:pt idx="2710">
                        <c:v>-1.939016648</c:v>
                      </c:pt>
                      <c:pt idx="2711">
                        <c:v>-1.93900155</c:v>
                      </c:pt>
                      <c:pt idx="2712">
                        <c:v>-1.9389581899999999</c:v>
                      </c:pt>
                      <c:pt idx="2713">
                        <c:v>-1.9389435500000001</c:v>
                      </c:pt>
                      <c:pt idx="2714">
                        <c:v>-1.938914147</c:v>
                      </c:pt>
                      <c:pt idx="2715">
                        <c:v>-1.9388995069999999</c:v>
                      </c:pt>
                      <c:pt idx="2716">
                        <c:v>-1.938870329</c:v>
                      </c:pt>
                      <c:pt idx="2717">
                        <c:v>-1.938856031</c:v>
                      </c:pt>
                      <c:pt idx="2718">
                        <c:v>-1.9388417259999999</c:v>
                      </c:pt>
                      <c:pt idx="2719">
                        <c:v>-1.9387539810000001</c:v>
                      </c:pt>
                      <c:pt idx="2720">
                        <c:v>-1.9387399089999999</c:v>
                      </c:pt>
                      <c:pt idx="2721">
                        <c:v>-1.9387103960000001</c:v>
                      </c:pt>
                      <c:pt idx="2722">
                        <c:v>-1.938681793</c:v>
                      </c:pt>
                      <c:pt idx="2723">
                        <c:v>-1.9386672620000001</c:v>
                      </c:pt>
                      <c:pt idx="2724">
                        <c:v>-1.9386522799999999</c:v>
                      </c:pt>
                      <c:pt idx="2725">
                        <c:v>-1.938637975</c:v>
                      </c:pt>
                      <c:pt idx="2726">
                        <c:v>-1.9386236699999999</c:v>
                      </c:pt>
                      <c:pt idx="2727">
                        <c:v>-1.9386084619999999</c:v>
                      </c:pt>
                      <c:pt idx="2728">
                        <c:v>-1.9385944989999999</c:v>
                      </c:pt>
                      <c:pt idx="2729">
                        <c:v>-1.938579292</c:v>
                      </c:pt>
                      <c:pt idx="2730">
                        <c:v>-1.938564986</c:v>
                      </c:pt>
                      <c:pt idx="2731">
                        <c:v>-1.9385506880000001</c:v>
                      </c:pt>
                      <c:pt idx="2732">
                        <c:v>-1.9385362669999999</c:v>
                      </c:pt>
                      <c:pt idx="2733">
                        <c:v>-1.9385067540000001</c:v>
                      </c:pt>
                      <c:pt idx="2734">
                        <c:v>-1.9384622600000001</c:v>
                      </c:pt>
                      <c:pt idx="2735">
                        <c:v>-1.938389497</c:v>
                      </c:pt>
                      <c:pt idx="2736">
                        <c:v>-1.9381869970000001</c:v>
                      </c:pt>
                      <c:pt idx="2737">
                        <c:v>-1.937866782</c:v>
                      </c:pt>
                      <c:pt idx="2738">
                        <c:v>-1.9376195549999999</c:v>
                      </c:pt>
                      <c:pt idx="2739">
                        <c:v>-1.9372551870000001</c:v>
                      </c:pt>
                      <c:pt idx="2740">
                        <c:v>-1.9372119370000001</c:v>
                      </c:pt>
                      <c:pt idx="2741">
                        <c:v>-1.9371968390000001</c:v>
                      </c:pt>
                      <c:pt idx="2742">
                        <c:v>-1.936934972</c:v>
                      </c:pt>
                      <c:pt idx="2743">
                        <c:v>-1.9369206670000001</c:v>
                      </c:pt>
                      <c:pt idx="2744">
                        <c:v>-1.9369063689999999</c:v>
                      </c:pt>
                      <c:pt idx="2745">
                        <c:v>-1.9368766230000001</c:v>
                      </c:pt>
                      <c:pt idx="2746">
                        <c:v>-1.9368623250000001</c:v>
                      </c:pt>
                      <c:pt idx="2747">
                        <c:v>-1.9368337149999999</c:v>
                      </c:pt>
                      <c:pt idx="2748">
                        <c:v>-1.936818624</c:v>
                      </c:pt>
                      <c:pt idx="2749">
                        <c:v>-1.9367753729999999</c:v>
                      </c:pt>
                      <c:pt idx="2750">
                        <c:v>-1.936716916</c:v>
                      </c:pt>
                      <c:pt idx="2751">
                        <c:v>-1.9366875189999999</c:v>
                      </c:pt>
                      <c:pt idx="2752">
                        <c:v>-1.9366735559999999</c:v>
                      </c:pt>
                      <c:pt idx="2753">
                        <c:v>-1.9366584579999999</c:v>
                      </c:pt>
                      <c:pt idx="2754">
                        <c:v>-1.9366298550000001</c:v>
                      </c:pt>
                      <c:pt idx="2755">
                        <c:v>-1.9366002259999999</c:v>
                      </c:pt>
                      <c:pt idx="2756">
                        <c:v>-1.9365716230000001</c:v>
                      </c:pt>
                      <c:pt idx="2757">
                        <c:v>-1.9365570919999999</c:v>
                      </c:pt>
                      <c:pt idx="2758">
                        <c:v>-1.9365279209999999</c:v>
                      </c:pt>
                      <c:pt idx="2759">
                        <c:v>-1.9365128229999999</c:v>
                      </c:pt>
                      <c:pt idx="2760">
                        <c:v>-1.936512255</c:v>
                      </c:pt>
                      <c:pt idx="2761">
                        <c:v>-1.9364842200000001</c:v>
                      </c:pt>
                      <c:pt idx="2762">
                        <c:v>-1.9364699139999999</c:v>
                      </c:pt>
                      <c:pt idx="2763">
                        <c:v>-1.9364552749999999</c:v>
                      </c:pt>
                      <c:pt idx="2764">
                        <c:v>-1.9364401760000001</c:v>
                      </c:pt>
                      <c:pt idx="2765">
                        <c:v>-1.936411573</c:v>
                      </c:pt>
                      <c:pt idx="2766">
                        <c:v>-1.936382512</c:v>
                      </c:pt>
                      <c:pt idx="2767">
                        <c:v>-1.9363674129999999</c:v>
                      </c:pt>
                      <c:pt idx="2768">
                        <c:v>-1.9363667369999999</c:v>
                      </c:pt>
                      <c:pt idx="2769">
                        <c:v>-1.936353115</c:v>
                      </c:pt>
                      <c:pt idx="2770">
                        <c:v>-1.9363237120000001</c:v>
                      </c:pt>
                      <c:pt idx="2771">
                        <c:v>-1.9363231439999999</c:v>
                      </c:pt>
                      <c:pt idx="2772">
                        <c:v>-1.9361931750000001</c:v>
                      </c:pt>
                      <c:pt idx="2773">
                        <c:v>-1.93617887</c:v>
                      </c:pt>
                      <c:pt idx="2774">
                        <c:v>-1.936163662</c:v>
                      </c:pt>
                      <c:pt idx="2775">
                        <c:v>-1.9361493569999999</c:v>
                      </c:pt>
                      <c:pt idx="2776">
                        <c:v>-1.9361350589999999</c:v>
                      </c:pt>
                      <c:pt idx="2777">
                        <c:v>-1.9361056560000001</c:v>
                      </c:pt>
                      <c:pt idx="2778">
                        <c:v>-1.936076259</c:v>
                      </c:pt>
                      <c:pt idx="2779">
                        <c:v>-1.9360619539999999</c:v>
                      </c:pt>
                      <c:pt idx="2780">
                        <c:v>-1.936047656</c:v>
                      </c:pt>
                      <c:pt idx="2781">
                        <c:v>-1.9360333510000001</c:v>
                      </c:pt>
                      <c:pt idx="2782">
                        <c:v>-1.93598965</c:v>
                      </c:pt>
                      <c:pt idx="2783">
                        <c:v>-1.9356838489999999</c:v>
                      </c:pt>
                      <c:pt idx="2784">
                        <c:v>-1.9356693250000001</c:v>
                      </c:pt>
                      <c:pt idx="2785">
                        <c:v>-1.9355966790000001</c:v>
                      </c:pt>
                      <c:pt idx="2786">
                        <c:v>-1.9353771449999999</c:v>
                      </c:pt>
                      <c:pt idx="2787">
                        <c:v>-1.935363408</c:v>
                      </c:pt>
                      <c:pt idx="2788">
                        <c:v>-1.9351889440000001</c:v>
                      </c:pt>
                      <c:pt idx="2789">
                        <c:v>-1.9351595479999999</c:v>
                      </c:pt>
                      <c:pt idx="2790">
                        <c:v>-1.93502912</c:v>
                      </c:pt>
                      <c:pt idx="2791">
                        <c:v>-1.9348538630000001</c:v>
                      </c:pt>
                      <c:pt idx="2792">
                        <c:v>-1.9348252530000001</c:v>
                      </c:pt>
                      <c:pt idx="2793">
                        <c:v>-1.9347958569999999</c:v>
                      </c:pt>
                      <c:pt idx="2794">
                        <c:v>-1.9347815509999999</c:v>
                      </c:pt>
                      <c:pt idx="2795">
                        <c:v>-1.934767253</c:v>
                      </c:pt>
                      <c:pt idx="2796">
                        <c:v>-1.934752155</c:v>
                      </c:pt>
                      <c:pt idx="2797">
                        <c:v>-1.934737741</c:v>
                      </c:pt>
                      <c:pt idx="2798">
                        <c:v>-1.9347235519999999</c:v>
                      </c:pt>
                      <c:pt idx="2799">
                        <c:v>-1.9346941479999999</c:v>
                      </c:pt>
                      <c:pt idx="2800">
                        <c:v>-1.93467985</c:v>
                      </c:pt>
                      <c:pt idx="2801">
                        <c:v>-1.934664752</c:v>
                      </c:pt>
                      <c:pt idx="2802">
                        <c:v>-1.934650105</c:v>
                      </c:pt>
                      <c:pt idx="2803">
                        <c:v>-1.9346495370000001</c:v>
                      </c:pt>
                      <c:pt idx="2804">
                        <c:v>-1.934635807</c:v>
                      </c:pt>
                      <c:pt idx="2805">
                        <c:v>-1.9346215019999999</c:v>
                      </c:pt>
                      <c:pt idx="2806">
                        <c:v>-1.934607204</c:v>
                      </c:pt>
                      <c:pt idx="2807">
                        <c:v>-1.934592557</c:v>
                      </c:pt>
                      <c:pt idx="2808">
                        <c:v>-1.9345634949999999</c:v>
                      </c:pt>
                      <c:pt idx="2809">
                        <c:v>-1.9345484040000001</c:v>
                      </c:pt>
                      <c:pt idx="2810">
                        <c:v>-1.9344903980000001</c:v>
                      </c:pt>
                      <c:pt idx="2811">
                        <c:v>-1.9344760919999999</c:v>
                      </c:pt>
                      <c:pt idx="2812">
                        <c:v>-1.934446696</c:v>
                      </c:pt>
                      <c:pt idx="2813">
                        <c:v>-1.9344173</c:v>
                      </c:pt>
                      <c:pt idx="2814">
                        <c:v>-1.9344029949999999</c:v>
                      </c:pt>
                      <c:pt idx="2815">
                        <c:v>-1.934344879</c:v>
                      </c:pt>
                      <c:pt idx="2816">
                        <c:v>-1.9339807360000001</c:v>
                      </c:pt>
                      <c:pt idx="2817">
                        <c:v>-1.933966431</c:v>
                      </c:pt>
                      <c:pt idx="2818">
                        <c:v>-1.9339521260000001</c:v>
                      </c:pt>
                      <c:pt idx="2819">
                        <c:v>-1.9339227299999999</c:v>
                      </c:pt>
                      <c:pt idx="2820">
                        <c:v>-1.9338941270000001</c:v>
                      </c:pt>
                      <c:pt idx="2821">
                        <c:v>-1.933820796</c:v>
                      </c:pt>
                      <c:pt idx="2822">
                        <c:v>-1.933806382</c:v>
                      </c:pt>
                      <c:pt idx="2823">
                        <c:v>-1.933645423</c:v>
                      </c:pt>
                      <c:pt idx="2824">
                        <c:v>-1.9334569960000001</c:v>
                      </c:pt>
                      <c:pt idx="2825">
                        <c:v>-1.9333556300000001</c:v>
                      </c:pt>
                      <c:pt idx="2826">
                        <c:v>-1.933311703</c:v>
                      </c:pt>
                      <c:pt idx="2827">
                        <c:v>-1.933282867</c:v>
                      </c:pt>
                      <c:pt idx="2828">
                        <c:v>-1.9332680010000001</c:v>
                      </c:pt>
                      <c:pt idx="2829">
                        <c:v>-1.9331215660000001</c:v>
                      </c:pt>
                      <c:pt idx="2830">
                        <c:v>-1.9330935300000001</c:v>
                      </c:pt>
                      <c:pt idx="2831">
                        <c:v>-1.933020432</c:v>
                      </c:pt>
                      <c:pt idx="2832">
                        <c:v>-1.9329045359999999</c:v>
                      </c:pt>
                      <c:pt idx="2833">
                        <c:v>-1.9328171329999999</c:v>
                      </c:pt>
                      <c:pt idx="2834">
                        <c:v>-1.932714064</c:v>
                      </c:pt>
                      <c:pt idx="2835">
                        <c:v>-1.9326279129999999</c:v>
                      </c:pt>
                      <c:pt idx="2836">
                        <c:v>-1.9325984</c:v>
                      </c:pt>
                      <c:pt idx="2837">
                        <c:v>-1.9325840949999999</c:v>
                      </c:pt>
                      <c:pt idx="2838">
                        <c:v>-1.9325546979999999</c:v>
                      </c:pt>
                      <c:pt idx="2839">
                        <c:v>-1.9325260879999999</c:v>
                      </c:pt>
                      <c:pt idx="2840">
                        <c:v>-1.9325109899999999</c:v>
                      </c:pt>
                      <c:pt idx="2841">
                        <c:v>-1.9324823870000001</c:v>
                      </c:pt>
                      <c:pt idx="2842">
                        <c:v>-1.932467972</c:v>
                      </c:pt>
                      <c:pt idx="2843">
                        <c:v>-1.932438576</c:v>
                      </c:pt>
                      <c:pt idx="2844">
                        <c:v>-1.93243846</c:v>
                      </c:pt>
                      <c:pt idx="2845">
                        <c:v>-1.9324242709999999</c:v>
                      </c:pt>
                      <c:pt idx="2846">
                        <c:v>-1.9324096310000001</c:v>
                      </c:pt>
                      <c:pt idx="2847">
                        <c:v>-1.932394875</c:v>
                      </c:pt>
                      <c:pt idx="2848">
                        <c:v>-1.932380569</c:v>
                      </c:pt>
                      <c:pt idx="2849">
                        <c:v>-1.932365471</c:v>
                      </c:pt>
                      <c:pt idx="2850">
                        <c:v>-1.9323647939999999</c:v>
                      </c:pt>
                      <c:pt idx="2851">
                        <c:v>-1.9322347090000001</c:v>
                      </c:pt>
                      <c:pt idx="2852">
                        <c:v>-1.932030157</c:v>
                      </c:pt>
                      <c:pt idx="2853">
                        <c:v>-1.9319440059999999</c:v>
                      </c:pt>
                      <c:pt idx="2854">
                        <c:v>-1.9319282310000001</c:v>
                      </c:pt>
                      <c:pt idx="2855">
                        <c:v>-1.9319003050000001</c:v>
                      </c:pt>
                      <c:pt idx="2856">
                        <c:v>-1.9318709080000001</c:v>
                      </c:pt>
                      <c:pt idx="2857">
                        <c:v>-1.9318272000000001</c:v>
                      </c:pt>
                      <c:pt idx="2858">
                        <c:v>-1.9316674920000001</c:v>
                      </c:pt>
                      <c:pt idx="2859">
                        <c:v>-1.931565333</c:v>
                      </c:pt>
                      <c:pt idx="2860">
                        <c:v>-1.931536162</c:v>
                      </c:pt>
                      <c:pt idx="2861">
                        <c:v>-1.9314780460000001</c:v>
                      </c:pt>
                      <c:pt idx="2862">
                        <c:v>-1.931463741</c:v>
                      </c:pt>
                      <c:pt idx="2863">
                        <c:v>-1.9313469350000001</c:v>
                      </c:pt>
                      <c:pt idx="2864">
                        <c:v>-1.9312015330000001</c:v>
                      </c:pt>
                      <c:pt idx="2865">
                        <c:v>-1.9311872269999999</c:v>
                      </c:pt>
                      <c:pt idx="2866">
                        <c:v>-1.9311721289999999</c:v>
                      </c:pt>
                      <c:pt idx="2867">
                        <c:v>-1.9311574890000001</c:v>
                      </c:pt>
                      <c:pt idx="2868">
                        <c:v>-1.9311570309999999</c:v>
                      </c:pt>
                      <c:pt idx="2869">
                        <c:v>-1.931143184</c:v>
                      </c:pt>
                      <c:pt idx="2870">
                        <c:v>-1.931128886</c:v>
                      </c:pt>
                      <c:pt idx="2871">
                        <c:v>-1.9311145810000001</c:v>
                      </c:pt>
                      <c:pt idx="2872">
                        <c:v>-1.931099941</c:v>
                      </c:pt>
                      <c:pt idx="2873">
                        <c:v>-1.931070879</c:v>
                      </c:pt>
                      <c:pt idx="2874">
                        <c:v>-1.9310271779999999</c:v>
                      </c:pt>
                      <c:pt idx="2875">
                        <c:v>-1.9309977819999999</c:v>
                      </c:pt>
                      <c:pt idx="2876">
                        <c:v>-1.930983476</c:v>
                      </c:pt>
                      <c:pt idx="2877">
                        <c:v>-1.930968378</c:v>
                      </c:pt>
                      <c:pt idx="2878">
                        <c:v>-1.9309397749999999</c:v>
                      </c:pt>
                      <c:pt idx="2879">
                        <c:v>-1.9309246769999999</c:v>
                      </c:pt>
                      <c:pt idx="2880">
                        <c:v>-1.930924109</c:v>
                      </c:pt>
                      <c:pt idx="2881">
                        <c:v>-1.930896073</c:v>
                      </c:pt>
                      <c:pt idx="2882">
                        <c:v>-1.9308523719999999</c:v>
                      </c:pt>
                      <c:pt idx="2883">
                        <c:v>-1.9308229690000001</c:v>
                      </c:pt>
                      <c:pt idx="2884">
                        <c:v>-1.930692206</c:v>
                      </c:pt>
                      <c:pt idx="2885">
                        <c:v>-1.9306779009999999</c:v>
                      </c:pt>
                      <c:pt idx="2886">
                        <c:v>-1.930648505</c:v>
                      </c:pt>
                      <c:pt idx="2887">
                        <c:v>-1.930604803</c:v>
                      </c:pt>
                      <c:pt idx="2888">
                        <c:v>-1.9305904979999999</c:v>
                      </c:pt>
                      <c:pt idx="2889">
                        <c:v>-1.9305754070000001</c:v>
                      </c:pt>
                      <c:pt idx="2890">
                        <c:v>-1.930531706</c:v>
                      </c:pt>
                      <c:pt idx="2891">
                        <c:v>-1.9305174000000001</c:v>
                      </c:pt>
                      <c:pt idx="2892">
                        <c:v>-1.9305030949999999</c:v>
                      </c:pt>
                      <c:pt idx="2893">
                        <c:v>-1.930342027</c:v>
                      </c:pt>
                      <c:pt idx="2894">
                        <c:v>-1.930255643</c:v>
                      </c:pt>
                      <c:pt idx="2895">
                        <c:v>-1.9302413380000001</c:v>
                      </c:pt>
                      <c:pt idx="2896">
                        <c:v>-1.9302268140000001</c:v>
                      </c:pt>
                      <c:pt idx="2897">
                        <c:v>-1.930211941</c:v>
                      </c:pt>
                      <c:pt idx="2898">
                        <c:v>-1.9301976359999999</c:v>
                      </c:pt>
                      <c:pt idx="2899">
                        <c:v>-1.930110233</c:v>
                      </c:pt>
                      <c:pt idx="2900">
                        <c:v>-1.9300665319999999</c:v>
                      </c:pt>
                      <c:pt idx="2901">
                        <c:v>-1.9300522339999999</c:v>
                      </c:pt>
                      <c:pt idx="2902">
                        <c:v>-1.9300371359999999</c:v>
                      </c:pt>
                      <c:pt idx="2903">
                        <c:v>-1.9299791289999999</c:v>
                      </c:pt>
                      <c:pt idx="2904">
                        <c:v>-1.9299648309999999</c:v>
                      </c:pt>
                      <c:pt idx="2905">
                        <c:v>-1.929935427</c:v>
                      </c:pt>
                      <c:pt idx="2906">
                        <c:v>-1.9299211300000001</c:v>
                      </c:pt>
                      <c:pt idx="2907">
                        <c:v>-1.929906031</c:v>
                      </c:pt>
                      <c:pt idx="2908">
                        <c:v>-1.9298917259999999</c:v>
                      </c:pt>
                      <c:pt idx="2909">
                        <c:v>-1.929877428</c:v>
                      </c:pt>
                      <c:pt idx="2910">
                        <c:v>-1.929848483</c:v>
                      </c:pt>
                      <c:pt idx="2911">
                        <c:v>-1.929819079</c:v>
                      </c:pt>
                      <c:pt idx="2912">
                        <c:v>-1.929425766</c:v>
                      </c:pt>
                      <c:pt idx="2913">
                        <c:v>-1.9294253079999999</c:v>
                      </c:pt>
                      <c:pt idx="2914">
                        <c:v>-1.929382516</c:v>
                      </c:pt>
                      <c:pt idx="2915">
                        <c:v>-1.9293682110000001</c:v>
                      </c:pt>
                      <c:pt idx="2916">
                        <c:v>-1.9293536870000001</c:v>
                      </c:pt>
                      <c:pt idx="2917">
                        <c:v>-1.9293388149999999</c:v>
                      </c:pt>
                      <c:pt idx="2918">
                        <c:v>-1.929308851</c:v>
                      </c:pt>
                      <c:pt idx="2919">
                        <c:v>-1.9287558229999999</c:v>
                      </c:pt>
                      <c:pt idx="2920">
                        <c:v>-1.928727788</c:v>
                      </c:pt>
                      <c:pt idx="2921">
                        <c:v>-1.9286685290000001</c:v>
                      </c:pt>
                      <c:pt idx="2922">
                        <c:v>-1.928654683</c:v>
                      </c:pt>
                      <c:pt idx="2923">
                        <c:v>-1.928509389</c:v>
                      </c:pt>
                      <c:pt idx="2924">
                        <c:v>-1.9284950919999999</c:v>
                      </c:pt>
                      <c:pt idx="2925">
                        <c:v>-1.928465688</c:v>
                      </c:pt>
                      <c:pt idx="2926">
                        <c:v>-1.9283345839999999</c:v>
                      </c:pt>
                      <c:pt idx="2927">
                        <c:v>-1.9283051870000001</c:v>
                      </c:pt>
                      <c:pt idx="2928">
                        <c:v>-1.9283047289999999</c:v>
                      </c:pt>
                      <c:pt idx="2929">
                        <c:v>-1.928290882</c:v>
                      </c:pt>
                      <c:pt idx="2930">
                        <c:v>-1.9282765770000001</c:v>
                      </c:pt>
                      <c:pt idx="2931">
                        <c:v>-1.9282621630000001</c:v>
                      </c:pt>
                      <c:pt idx="2932">
                        <c:v>-1.9282471809999999</c:v>
                      </c:pt>
                      <c:pt idx="2933">
                        <c:v>-1.9282185780000001</c:v>
                      </c:pt>
                      <c:pt idx="2934">
                        <c:v>-1.9281891739999999</c:v>
                      </c:pt>
                      <c:pt idx="2935">
                        <c:v>-1.9281167530000001</c:v>
                      </c:pt>
                      <c:pt idx="2936">
                        <c:v>-1.9280871310000001</c:v>
                      </c:pt>
                      <c:pt idx="2937">
                        <c:v>-1.928058528</c:v>
                      </c:pt>
                      <c:pt idx="2938">
                        <c:v>-1.92804343</c:v>
                      </c:pt>
                      <c:pt idx="2939">
                        <c:v>-1.928042746</c:v>
                      </c:pt>
                      <c:pt idx="2940">
                        <c:v>-1.9279997280000001</c:v>
                      </c:pt>
                      <c:pt idx="2941">
                        <c:v>-1.927956027</c:v>
                      </c:pt>
                      <c:pt idx="2942">
                        <c:v>-1.9279417219999999</c:v>
                      </c:pt>
                      <c:pt idx="2943">
                        <c:v>-1.927912326</c:v>
                      </c:pt>
                      <c:pt idx="2944">
                        <c:v>-1.92789802</c:v>
                      </c:pt>
                      <c:pt idx="2945">
                        <c:v>-1.9278837150000001</c:v>
                      </c:pt>
                      <c:pt idx="2946">
                        <c:v>-1.927868624</c:v>
                      </c:pt>
                      <c:pt idx="2947">
                        <c:v>-1.927840014</c:v>
                      </c:pt>
                      <c:pt idx="2948">
                        <c:v>-1.9278399049999999</c:v>
                      </c:pt>
                      <c:pt idx="2949">
                        <c:v>-1.927518896</c:v>
                      </c:pt>
                      <c:pt idx="2950">
                        <c:v>-1.9274034499999999</c:v>
                      </c:pt>
                      <c:pt idx="2951">
                        <c:v>-1.9273454510000001</c:v>
                      </c:pt>
                      <c:pt idx="2952">
                        <c:v>-1.927301749</c:v>
                      </c:pt>
                      <c:pt idx="2953">
                        <c:v>-1.9272723460000001</c:v>
                      </c:pt>
                      <c:pt idx="2954">
                        <c:v>-1.9272580479999999</c:v>
                      </c:pt>
                      <c:pt idx="2955">
                        <c:v>-1.927213888</c:v>
                      </c:pt>
                      <c:pt idx="2956">
                        <c:v>-1.927185285</c:v>
                      </c:pt>
                      <c:pt idx="2957">
                        <c:v>-1.927155889</c:v>
                      </c:pt>
                      <c:pt idx="2958">
                        <c:v>-1.9271415839999999</c:v>
                      </c:pt>
                      <c:pt idx="2959">
                        <c:v>-1.927097882</c:v>
                      </c:pt>
                      <c:pt idx="2960">
                        <c:v>-1.927082784</c:v>
                      </c:pt>
                      <c:pt idx="2961">
                        <c:v>-1.9270684789999999</c:v>
                      </c:pt>
                      <c:pt idx="2962">
                        <c:v>-1.9270390820000001</c:v>
                      </c:pt>
                      <c:pt idx="2963">
                        <c:v>-1.927024777</c:v>
                      </c:pt>
                      <c:pt idx="2964">
                        <c:v>-1.9269961739999999</c:v>
                      </c:pt>
                      <c:pt idx="2965">
                        <c:v>-1.9269810759999999</c:v>
                      </c:pt>
                      <c:pt idx="2966">
                        <c:v>-1.926952131</c:v>
                      </c:pt>
                      <c:pt idx="2967">
                        <c:v>-1.9269087709999999</c:v>
                      </c:pt>
                      <c:pt idx="2968">
                        <c:v>-1.9268793749999999</c:v>
                      </c:pt>
                      <c:pt idx="2969">
                        <c:v>-1.926835673</c:v>
                      </c:pt>
                      <c:pt idx="2970">
                        <c:v>-1.9268062699999999</c:v>
                      </c:pt>
                      <c:pt idx="2971">
                        <c:v>-1.926792423</c:v>
                      </c:pt>
                      <c:pt idx="2972">
                        <c:v>-1.926777325</c:v>
                      </c:pt>
                      <c:pt idx="2973">
                        <c:v>-1.9265596110000001</c:v>
                      </c:pt>
                      <c:pt idx="2974">
                        <c:v>-1.926530214</c:v>
                      </c:pt>
                      <c:pt idx="2975">
                        <c:v>-1.9265008109999999</c:v>
                      </c:pt>
                      <c:pt idx="2976">
                        <c:v>-1.926486513</c:v>
                      </c:pt>
                      <c:pt idx="2977">
                        <c:v>-1.9264722080000001</c:v>
                      </c:pt>
                      <c:pt idx="2978">
                        <c:v>-1.9264428119999999</c:v>
                      </c:pt>
                      <c:pt idx="2979">
                        <c:v>-1.92639911</c:v>
                      </c:pt>
                      <c:pt idx="2980">
                        <c:v>-1.9263558599999999</c:v>
                      </c:pt>
                      <c:pt idx="2981">
                        <c:v>-1.926340194</c:v>
                      </c:pt>
                      <c:pt idx="2982">
                        <c:v>-1.926326464</c:v>
                      </c:pt>
                      <c:pt idx="2983">
                        <c:v>-1.9262976279999999</c:v>
                      </c:pt>
                      <c:pt idx="2984">
                        <c:v>-1.9262825290000001</c:v>
                      </c:pt>
                      <c:pt idx="2985">
                        <c:v>-1.926253926</c:v>
                      </c:pt>
                      <c:pt idx="2986">
                        <c:v>-1.9261371270000001</c:v>
                      </c:pt>
                      <c:pt idx="2987">
                        <c:v>-1.926035419</c:v>
                      </c:pt>
                      <c:pt idx="2988">
                        <c:v>-1.926006023</c:v>
                      </c:pt>
                      <c:pt idx="2989">
                        <c:v>-1.925991717</c:v>
                      </c:pt>
                      <c:pt idx="2990">
                        <c:v>-1.9259774119999999</c:v>
                      </c:pt>
                      <c:pt idx="2991">
                        <c:v>-1.925962314</c:v>
                      </c:pt>
                      <c:pt idx="2992">
                        <c:v>-1.925948016</c:v>
                      </c:pt>
                      <c:pt idx="2993">
                        <c:v>-1.9257880759999999</c:v>
                      </c:pt>
                      <c:pt idx="2994">
                        <c:v>-1.9257150869999999</c:v>
                      </c:pt>
                      <c:pt idx="2995">
                        <c:v>-1.925685691</c:v>
                      </c:pt>
                      <c:pt idx="2996">
                        <c:v>-1.9256570879999999</c:v>
                      </c:pt>
                      <c:pt idx="2997">
                        <c:v>-1.925642557</c:v>
                      </c:pt>
                      <c:pt idx="2998">
                        <c:v>-1.9256424409999999</c:v>
                      </c:pt>
                      <c:pt idx="2999">
                        <c:v>-1.925627684</c:v>
                      </c:pt>
                      <c:pt idx="3000">
                        <c:v>-1.9255839830000001</c:v>
                      </c:pt>
                      <c:pt idx="3001">
                        <c:v>-1.925583415</c:v>
                      </c:pt>
                      <c:pt idx="3002">
                        <c:v>-1.92555538</c:v>
                      </c:pt>
                      <c:pt idx="3003">
                        <c:v>-1.925525983</c:v>
                      </c:pt>
                      <c:pt idx="3004">
                        <c:v>-1.925511569</c:v>
                      </c:pt>
                      <c:pt idx="3005">
                        <c:v>-1.9254827329999999</c:v>
                      </c:pt>
                      <c:pt idx="3006">
                        <c:v>-1.925467635</c:v>
                      </c:pt>
                      <c:pt idx="3007">
                        <c:v>-1.925453337</c:v>
                      </c:pt>
                      <c:pt idx="3008">
                        <c:v>-1.9254390320000001</c:v>
                      </c:pt>
                      <c:pt idx="3009">
                        <c:v>-1.925424501</c:v>
                      </c:pt>
                      <c:pt idx="3010">
                        <c:v>-1.9254096350000001</c:v>
                      </c:pt>
                      <c:pt idx="3011">
                        <c:v>-1.92539533</c:v>
                      </c:pt>
                      <c:pt idx="3012">
                        <c:v>-1.925380232</c:v>
                      </c:pt>
                      <c:pt idx="3013">
                        <c:v>-1.925365934</c:v>
                      </c:pt>
                      <c:pt idx="3014">
                        <c:v>-1.9253516289999999</c:v>
                      </c:pt>
                      <c:pt idx="3015">
                        <c:v>-1.925307927</c:v>
                      </c:pt>
                      <c:pt idx="3016">
                        <c:v>-1.9252785240000001</c:v>
                      </c:pt>
                      <c:pt idx="3017">
                        <c:v>-1.9252642259999999</c:v>
                      </c:pt>
                      <c:pt idx="3018">
                        <c:v>-1.9252059939999999</c:v>
                      </c:pt>
                      <c:pt idx="3019">
                        <c:v>-1.9251468519999999</c:v>
                      </c:pt>
                      <c:pt idx="3020">
                        <c:v>-1.9251188159999999</c:v>
                      </c:pt>
                      <c:pt idx="3021">
                        <c:v>-1.9250450349999999</c:v>
                      </c:pt>
                      <c:pt idx="3022">
                        <c:v>-1.925002468</c:v>
                      </c:pt>
                      <c:pt idx="3023">
                        <c:v>-1.924885669</c:v>
                      </c:pt>
                      <c:pt idx="3024">
                        <c:v>-1.92476943</c:v>
                      </c:pt>
                      <c:pt idx="3025">
                        <c:v>-1.9246667040000001</c:v>
                      </c:pt>
                      <c:pt idx="3026">
                        <c:v>-1.9245222040000001</c:v>
                      </c:pt>
                      <c:pt idx="3027">
                        <c:v>-1.924507105</c:v>
                      </c:pt>
                      <c:pt idx="3028">
                        <c:v>-1.924492807</c:v>
                      </c:pt>
                      <c:pt idx="3029">
                        <c:v>-1.9244634039999999</c:v>
                      </c:pt>
                      <c:pt idx="3030">
                        <c:v>-1.924449106</c:v>
                      </c:pt>
                      <c:pt idx="3031">
                        <c:v>-1.9244348010000001</c:v>
                      </c:pt>
                      <c:pt idx="3032">
                        <c:v>-1.9243755499999999</c:v>
                      </c:pt>
                      <c:pt idx="3033">
                        <c:v>-1.924303696</c:v>
                      </c:pt>
                      <c:pt idx="3034">
                        <c:v>-1.9242737249999999</c:v>
                      </c:pt>
                      <c:pt idx="3035">
                        <c:v>-1.92417225</c:v>
                      </c:pt>
                      <c:pt idx="3036">
                        <c:v>-1.924143647</c:v>
                      </c:pt>
                      <c:pt idx="3037">
                        <c:v>-1.924114243</c:v>
                      </c:pt>
                      <c:pt idx="3038">
                        <c:v>-1.924099945</c:v>
                      </c:pt>
                      <c:pt idx="3039">
                        <c:v>-1.9240856399999999</c:v>
                      </c:pt>
                      <c:pt idx="3040">
                        <c:v>-1.9240705419999999</c:v>
                      </c:pt>
                      <c:pt idx="3041">
                        <c:v>-1.924041822</c:v>
                      </c:pt>
                      <c:pt idx="3042">
                        <c:v>-1.9239982369999999</c:v>
                      </c:pt>
                      <c:pt idx="3043">
                        <c:v>-1.923983139</c:v>
                      </c:pt>
                      <c:pt idx="3044">
                        <c:v>-1.9239394379999999</c:v>
                      </c:pt>
                      <c:pt idx="3045">
                        <c:v>-1.9238671329999999</c:v>
                      </c:pt>
                      <c:pt idx="3046">
                        <c:v>-1.923852828</c:v>
                      </c:pt>
                      <c:pt idx="3047">
                        <c:v>-1.9238377289999999</c:v>
                      </c:pt>
                      <c:pt idx="3048">
                        <c:v>-1.9238091260000001</c:v>
                      </c:pt>
                      <c:pt idx="3049">
                        <c:v>-1.9237797299999999</c:v>
                      </c:pt>
                      <c:pt idx="3050">
                        <c:v>-1.923765425</c:v>
                      </c:pt>
                      <c:pt idx="3051">
                        <c:v>-1.9237498749999999</c:v>
                      </c:pt>
                      <c:pt idx="3052">
                        <c:v>-1.9236338690000001</c:v>
                      </c:pt>
                      <c:pt idx="3053">
                        <c:v>-1.923619564</c:v>
                      </c:pt>
                      <c:pt idx="3054">
                        <c:v>-1.9236052589999999</c:v>
                      </c:pt>
                      <c:pt idx="3055">
                        <c:v>-1.9235758629999999</c:v>
                      </c:pt>
                      <c:pt idx="3056">
                        <c:v>-1.9235464659999999</c:v>
                      </c:pt>
                      <c:pt idx="3057">
                        <c:v>-1.9235178559999999</c:v>
                      </c:pt>
                      <c:pt idx="3058">
                        <c:v>-1.92348846</c:v>
                      </c:pt>
                      <c:pt idx="3059">
                        <c:v>-1.9234741550000001</c:v>
                      </c:pt>
                      <c:pt idx="3060">
                        <c:v>-1.9234304529999999</c:v>
                      </c:pt>
                      <c:pt idx="3061">
                        <c:v>-1.923416155</c:v>
                      </c:pt>
                      <c:pt idx="3062">
                        <c:v>-1.9233867520000001</c:v>
                      </c:pt>
                      <c:pt idx="3063">
                        <c:v>-1.923372337</c:v>
                      </c:pt>
                      <c:pt idx="3064">
                        <c:v>-1.923357355</c:v>
                      </c:pt>
                      <c:pt idx="3065">
                        <c:v>-1.923313654</c:v>
                      </c:pt>
                      <c:pt idx="3066">
                        <c:v>-1.923299807</c:v>
                      </c:pt>
                      <c:pt idx="3067">
                        <c:v>-1.923284709</c:v>
                      </c:pt>
                      <c:pt idx="3068">
                        <c:v>-1.923256106</c:v>
                      </c:pt>
                      <c:pt idx="3069">
                        <c:v>-1.9232123969999999</c:v>
                      </c:pt>
                      <c:pt idx="3070">
                        <c:v>-1.9231973060000001</c:v>
                      </c:pt>
                      <c:pt idx="3071">
                        <c:v>-1.9231968479999999</c:v>
                      </c:pt>
                      <c:pt idx="3072">
                        <c:v>-1.9231686960000001</c:v>
                      </c:pt>
                      <c:pt idx="3073">
                        <c:v>-1.923139299</c:v>
                      </c:pt>
                      <c:pt idx="3074">
                        <c:v>-1.9231249939999999</c:v>
                      </c:pt>
                      <c:pt idx="3075">
                        <c:v>-1.9231099030000001</c:v>
                      </c:pt>
                      <c:pt idx="3076">
                        <c:v>-1.9230812930000001</c:v>
                      </c:pt>
                      <c:pt idx="3077">
                        <c:v>-1.923051896</c:v>
                      </c:pt>
                      <c:pt idx="3078">
                        <c:v>-1.923051329</c:v>
                      </c:pt>
                      <c:pt idx="3079">
                        <c:v>-1.923023068</c:v>
                      </c:pt>
                      <c:pt idx="3080">
                        <c:v>-1.9229795919999999</c:v>
                      </c:pt>
                      <c:pt idx="3081">
                        <c:v>-1.9229644939999999</c:v>
                      </c:pt>
                      <c:pt idx="3082">
                        <c:v>-1.9229501879999999</c:v>
                      </c:pt>
                      <c:pt idx="3083">
                        <c:v>-1.92293589</c:v>
                      </c:pt>
                      <c:pt idx="3084">
                        <c:v>-1.922920792</c:v>
                      </c:pt>
                      <c:pt idx="3085">
                        <c:v>-1.9228921889999999</c:v>
                      </c:pt>
                      <c:pt idx="3086">
                        <c:v>-1.922848146</c:v>
                      </c:pt>
                      <c:pt idx="3087">
                        <c:v>-1.922819542</c:v>
                      </c:pt>
                      <c:pt idx="3088">
                        <c:v>-1.922805012</c:v>
                      </c:pt>
                      <c:pt idx="3089">
                        <c:v>-1.9227758340000001</c:v>
                      </c:pt>
                      <c:pt idx="3090">
                        <c:v>-1.922760743</c:v>
                      </c:pt>
                      <c:pt idx="3091">
                        <c:v>-1.922746437</c:v>
                      </c:pt>
                      <c:pt idx="3092">
                        <c:v>-1.9227321319999999</c:v>
                      </c:pt>
                      <c:pt idx="3093">
                        <c:v>-1.922702736</c:v>
                      </c:pt>
                      <c:pt idx="3094">
                        <c:v>-1.92267334</c:v>
                      </c:pt>
                      <c:pt idx="3095">
                        <c:v>-1.9226729979999999</c:v>
                      </c:pt>
                      <c:pt idx="3096">
                        <c:v>-1.9226447289999999</c:v>
                      </c:pt>
                      <c:pt idx="3097">
                        <c:v>-1.9226296380000001</c:v>
                      </c:pt>
                      <c:pt idx="3098">
                        <c:v>-1.922615333</c:v>
                      </c:pt>
                      <c:pt idx="3099">
                        <c:v>-1.9225865040000001</c:v>
                      </c:pt>
                      <c:pt idx="3100">
                        <c:v>-1.922557326</c:v>
                      </c:pt>
                      <c:pt idx="3101">
                        <c:v>-1.9225136249999999</c:v>
                      </c:pt>
                      <c:pt idx="3102">
                        <c:v>-1.9224993269999999</c:v>
                      </c:pt>
                      <c:pt idx="3103">
                        <c:v>-1.9224699240000001</c:v>
                      </c:pt>
                      <c:pt idx="3104">
                        <c:v>-1.9224556260000001</c:v>
                      </c:pt>
                      <c:pt idx="3105">
                        <c:v>-1.9224115820000001</c:v>
                      </c:pt>
                      <c:pt idx="3106">
                        <c:v>-1.922382979</c:v>
                      </c:pt>
                      <c:pt idx="3107">
                        <c:v>-1.9223535759999999</c:v>
                      </c:pt>
                      <c:pt idx="3108">
                        <c:v>-1.9223241790000001</c:v>
                      </c:pt>
                      <c:pt idx="3109">
                        <c:v>-1.922309874</c:v>
                      </c:pt>
                      <c:pt idx="3110">
                        <c:v>-1.9222661729999999</c:v>
                      </c:pt>
                      <c:pt idx="3111">
                        <c:v>-1.9222367760000001</c:v>
                      </c:pt>
                      <c:pt idx="3112">
                        <c:v>-1.9222081660000001</c:v>
                      </c:pt>
                      <c:pt idx="3113">
                        <c:v>-1.922193075</c:v>
                      </c:pt>
                      <c:pt idx="3114">
                        <c:v>-1.922178202</c:v>
                      </c:pt>
                      <c:pt idx="3115">
                        <c:v>-1.922164465</c:v>
                      </c:pt>
                      <c:pt idx="3116">
                        <c:v>-1.922149941</c:v>
                      </c:pt>
                      <c:pt idx="3117">
                        <c:v>-1.922135068</c:v>
                      </c:pt>
                      <c:pt idx="3118">
                        <c:v>-1.9221207629999999</c:v>
                      </c:pt>
                      <c:pt idx="3119">
                        <c:v>-1.9221064649999999</c:v>
                      </c:pt>
                      <c:pt idx="3120">
                        <c:v>-1.9220913669999999</c:v>
                      </c:pt>
                      <c:pt idx="3121">
                        <c:v>-1.9220333599999999</c:v>
                      </c:pt>
                      <c:pt idx="3122">
                        <c:v>-1.921975019</c:v>
                      </c:pt>
                      <c:pt idx="3123">
                        <c:v>-1.9219607139999999</c:v>
                      </c:pt>
                      <c:pt idx="3124">
                        <c:v>-1.9217561700000001</c:v>
                      </c:pt>
                      <c:pt idx="3125">
                        <c:v>-1.9216699020000001</c:v>
                      </c:pt>
                      <c:pt idx="3126">
                        <c:v>-1.9216548040000001</c:v>
                      </c:pt>
                      <c:pt idx="3127">
                        <c:v>-1.9216404979999999</c:v>
                      </c:pt>
                      <c:pt idx="3128">
                        <c:v>-1.9215967970000001</c:v>
                      </c:pt>
                      <c:pt idx="3129">
                        <c:v>-1.9215824990000001</c:v>
                      </c:pt>
                      <c:pt idx="3130">
                        <c:v>-1.9215823830000001</c:v>
                      </c:pt>
                      <c:pt idx="3131">
                        <c:v>-1.9215674009999999</c:v>
                      </c:pt>
                      <c:pt idx="3132">
                        <c:v>-1.9215669419999999</c:v>
                      </c:pt>
                      <c:pt idx="3133">
                        <c:v>-1.9215527530000001</c:v>
                      </c:pt>
                      <c:pt idx="3134">
                        <c:v>-1.921538456</c:v>
                      </c:pt>
                      <c:pt idx="3135">
                        <c:v>-1.92152415</c:v>
                      </c:pt>
                      <c:pt idx="3136">
                        <c:v>-1.9213930459999999</c:v>
                      </c:pt>
                      <c:pt idx="3137">
                        <c:v>-1.9213350389999999</c:v>
                      </c:pt>
                      <c:pt idx="3138">
                        <c:v>-1.9213199480000001</c:v>
                      </c:pt>
                      <c:pt idx="3139">
                        <c:v>-1.9212913380000001</c:v>
                      </c:pt>
                      <c:pt idx="3140">
                        <c:v>-1.9212619419999999</c:v>
                      </c:pt>
                      <c:pt idx="3141">
                        <c:v>-1.9212476359999999</c:v>
                      </c:pt>
                      <c:pt idx="3142">
                        <c:v>-1.921233339</c:v>
                      </c:pt>
                      <c:pt idx="3143">
                        <c:v>-1.9212039350000001</c:v>
                      </c:pt>
                      <c:pt idx="3144">
                        <c:v>-1.9211745389999999</c:v>
                      </c:pt>
                      <c:pt idx="3145">
                        <c:v>-1.921160234</c:v>
                      </c:pt>
                      <c:pt idx="3146">
                        <c:v>-1.9211459360000001</c:v>
                      </c:pt>
                      <c:pt idx="3147">
                        <c:v>-1.921130837</c:v>
                      </c:pt>
                      <c:pt idx="3148">
                        <c:v>-1.9210875869999999</c:v>
                      </c:pt>
                      <c:pt idx="3149">
                        <c:v>-1.921058191</c:v>
                      </c:pt>
                      <c:pt idx="3150">
                        <c:v>-1.9210438860000001</c:v>
                      </c:pt>
                      <c:pt idx="3151">
                        <c:v>-1.9210295879999999</c:v>
                      </c:pt>
                      <c:pt idx="3152">
                        <c:v>-1.9208984760000001</c:v>
                      </c:pt>
                      <c:pt idx="3153">
                        <c:v>-1.920883385</c:v>
                      </c:pt>
                      <c:pt idx="3154">
                        <c:v>-1.9208401349999999</c:v>
                      </c:pt>
                      <c:pt idx="3155">
                        <c:v>-1.920781109</c:v>
                      </c:pt>
                      <c:pt idx="3156">
                        <c:v>-1.9206510240000001</c:v>
                      </c:pt>
                      <c:pt idx="3157">
                        <c:v>-1.9204036879999999</c:v>
                      </c:pt>
                      <c:pt idx="3158">
                        <c:v>-1.9203888149999999</c:v>
                      </c:pt>
                      <c:pt idx="3159">
                        <c:v>-1.920388247</c:v>
                      </c:pt>
                      <c:pt idx="3160">
                        <c:v>-1.92037451</c:v>
                      </c:pt>
                      <c:pt idx="3161">
                        <c:v>-1.9203602120000001</c:v>
                      </c:pt>
                      <c:pt idx="3162">
                        <c:v>-1.9203451140000001</c:v>
                      </c:pt>
                      <c:pt idx="3163">
                        <c:v>-1.9203014119999999</c:v>
                      </c:pt>
                      <c:pt idx="3164">
                        <c:v>-1.9202577110000001</c:v>
                      </c:pt>
                      <c:pt idx="3165">
                        <c:v>-1.9202572520000001</c:v>
                      </c:pt>
                      <c:pt idx="3166">
                        <c:v>-1.920243747</c:v>
                      </c:pt>
                      <c:pt idx="3167">
                        <c:v>-1.920243631</c:v>
                      </c:pt>
                      <c:pt idx="3168">
                        <c:v>-1.920214351</c:v>
                      </c:pt>
                      <c:pt idx="3169">
                        <c:v>-1.9201849479999999</c:v>
                      </c:pt>
                      <c:pt idx="3170">
                        <c:v>-1.92014065</c:v>
                      </c:pt>
                      <c:pt idx="3171">
                        <c:v>-1.920141246</c:v>
                      </c:pt>
                      <c:pt idx="3172">
                        <c:v>-1.920112643</c:v>
                      </c:pt>
                      <c:pt idx="3173">
                        <c:v>-1.9200689419999999</c:v>
                      </c:pt>
                      <c:pt idx="3174">
                        <c:v>-1.9200395379999999</c:v>
                      </c:pt>
                      <c:pt idx="3175">
                        <c:v>-1.920025015</c:v>
                      </c:pt>
                      <c:pt idx="3176">
                        <c:v>-1.920010709</c:v>
                      </c:pt>
                      <c:pt idx="3177">
                        <c:v>-1.919967008</c:v>
                      </c:pt>
                      <c:pt idx="3178">
                        <c:v>-1.919879605</c:v>
                      </c:pt>
                      <c:pt idx="3179">
                        <c:v>-1.919850209</c:v>
                      </c:pt>
                      <c:pt idx="3180">
                        <c:v>-1.919821598</c:v>
                      </c:pt>
                      <c:pt idx="3181">
                        <c:v>-1.9198071839999999</c:v>
                      </c:pt>
                      <c:pt idx="3182">
                        <c:v>-1.9197634830000001</c:v>
                      </c:pt>
                      <c:pt idx="3183">
                        <c:v>-1.9197340860000001</c:v>
                      </c:pt>
                      <c:pt idx="3184">
                        <c:v>-1.919719781</c:v>
                      </c:pt>
                      <c:pt idx="3185">
                        <c:v>-1.919704683</c:v>
                      </c:pt>
                      <c:pt idx="3186">
                        <c:v>-1.919690385</c:v>
                      </c:pt>
                      <c:pt idx="3187">
                        <c:v>-1.9196760799999999</c:v>
                      </c:pt>
                      <c:pt idx="3188">
                        <c:v>-1.9196466830000001</c:v>
                      </c:pt>
                      <c:pt idx="3189">
                        <c:v>-1.919632378</c:v>
                      </c:pt>
                      <c:pt idx="3190">
                        <c:v>-1.91961728</c:v>
                      </c:pt>
                      <c:pt idx="3191">
                        <c:v>-1.9196029750000001</c:v>
                      </c:pt>
                      <c:pt idx="3192">
                        <c:v>-1.9194136449999999</c:v>
                      </c:pt>
                      <c:pt idx="3193">
                        <c:v>-1.9193850349999999</c:v>
                      </c:pt>
                      <c:pt idx="3194">
                        <c:v>-1.919355522</c:v>
                      </c:pt>
                      <c:pt idx="3195">
                        <c:v>-1.919326919</c:v>
                      </c:pt>
                      <c:pt idx="3196">
                        <c:v>-1.919297523</c:v>
                      </c:pt>
                      <c:pt idx="3197">
                        <c:v>-1.9192538219999999</c:v>
                      </c:pt>
                      <c:pt idx="3198">
                        <c:v>-1.919224418</c:v>
                      </c:pt>
                      <c:pt idx="3199">
                        <c:v>-1.9191958149999999</c:v>
                      </c:pt>
                      <c:pt idx="3200">
                        <c:v>-1.919166419</c:v>
                      </c:pt>
                      <c:pt idx="3201">
                        <c:v>-1.9191517709999999</c:v>
                      </c:pt>
                      <c:pt idx="3202">
                        <c:v>-1.919123168</c:v>
                      </c:pt>
                      <c:pt idx="3203">
                        <c:v>-1.919093765</c:v>
                      </c:pt>
                      <c:pt idx="3204">
                        <c:v>-1.919079467</c:v>
                      </c:pt>
                      <c:pt idx="3205">
                        <c:v>-1.919050063</c:v>
                      </c:pt>
                      <c:pt idx="3206">
                        <c:v>-1.918992064</c:v>
                      </c:pt>
                      <c:pt idx="3207">
                        <c:v>-1.9189483629999999</c:v>
                      </c:pt>
                      <c:pt idx="3208">
                        <c:v>-1.918904661</c:v>
                      </c:pt>
                      <c:pt idx="3209">
                        <c:v>-1.9186429039999999</c:v>
                      </c:pt>
                      <c:pt idx="3210">
                        <c:v>-1.918599202</c:v>
                      </c:pt>
                      <c:pt idx="3211">
                        <c:v>-1.918584104</c:v>
                      </c:pt>
                      <c:pt idx="3212">
                        <c:v>-1.9185837619999999</c:v>
                      </c:pt>
                      <c:pt idx="3213">
                        <c:v>-1.9185697989999999</c:v>
                      </c:pt>
                      <c:pt idx="3214">
                        <c:v>-1.9185555009999999</c:v>
                      </c:pt>
                      <c:pt idx="3215">
                        <c:v>-1.9185404020000001</c:v>
                      </c:pt>
                      <c:pt idx="3216">
                        <c:v>-1.918526097</c:v>
                      </c:pt>
                      <c:pt idx="3217">
                        <c:v>-1.9184536759999999</c:v>
                      </c:pt>
                      <c:pt idx="3218">
                        <c:v>-1.918133235</c:v>
                      </c:pt>
                      <c:pt idx="3219">
                        <c:v>-1.918118937</c:v>
                      </c:pt>
                      <c:pt idx="3220">
                        <c:v>-1.9181034969999999</c:v>
                      </c:pt>
                      <c:pt idx="3221">
                        <c:v>-1.9180895339999999</c:v>
                      </c:pt>
                      <c:pt idx="3222">
                        <c:v>-1.918060138</c:v>
                      </c:pt>
                      <c:pt idx="3223">
                        <c:v>-1.918031534</c:v>
                      </c:pt>
                      <c:pt idx="3224">
                        <c:v>-1.9180172289999999</c:v>
                      </c:pt>
                      <c:pt idx="3225">
                        <c:v>-1.9180016799999999</c:v>
                      </c:pt>
                      <c:pt idx="3226">
                        <c:v>-1.917987833</c:v>
                      </c:pt>
                      <c:pt idx="3227">
                        <c:v>-1.9179735280000001</c:v>
                      </c:pt>
                      <c:pt idx="3228">
                        <c:v>-1.9179441319999999</c:v>
                      </c:pt>
                      <c:pt idx="3229">
                        <c:v>-1.9178861250000001</c:v>
                      </c:pt>
                      <c:pt idx="3230">
                        <c:v>-1.917870685</c:v>
                      </c:pt>
                      <c:pt idx="3231">
                        <c:v>-1.9178567289999999</c:v>
                      </c:pt>
                      <c:pt idx="3232">
                        <c:v>-1.917813478</c:v>
                      </c:pt>
                      <c:pt idx="3233">
                        <c:v>-1.917797929</c:v>
                      </c:pt>
                      <c:pt idx="3234">
                        <c:v>-1.9177840749999999</c:v>
                      </c:pt>
                      <c:pt idx="3235">
                        <c:v>-1.917754679</c:v>
                      </c:pt>
                      <c:pt idx="3236">
                        <c:v>-1.917710977</c:v>
                      </c:pt>
                      <c:pt idx="3237">
                        <c:v>-1.9176966719999999</c:v>
                      </c:pt>
                      <c:pt idx="3238">
                        <c:v>-1.917667276</c:v>
                      </c:pt>
                      <c:pt idx="3239">
                        <c:v>-1.9176669340000001</c:v>
                      </c:pt>
                      <c:pt idx="3240">
                        <c:v>-1.91765297</c:v>
                      </c:pt>
                      <c:pt idx="3241">
                        <c:v>-1.9176235740000001</c:v>
                      </c:pt>
                      <c:pt idx="3242">
                        <c:v>-1.9176092689999999</c:v>
                      </c:pt>
                      <c:pt idx="3243">
                        <c:v>-1.9175512699999999</c:v>
                      </c:pt>
                      <c:pt idx="3244">
                        <c:v>-1.917536964</c:v>
                      </c:pt>
                      <c:pt idx="3245">
                        <c:v>-1.9175368479999999</c:v>
                      </c:pt>
                      <c:pt idx="3246">
                        <c:v>-1.917521866</c:v>
                      </c:pt>
                      <c:pt idx="3247">
                        <c:v>-1.917521415</c:v>
                      </c:pt>
                      <c:pt idx="3248">
                        <c:v>-1.917507568</c:v>
                      </c:pt>
                      <c:pt idx="3249">
                        <c:v>-1.9174931470000001</c:v>
                      </c:pt>
                      <c:pt idx="3250">
                        <c:v>-1.917347519</c:v>
                      </c:pt>
                      <c:pt idx="3251">
                        <c:v>-1.9173040429999999</c:v>
                      </c:pt>
                      <c:pt idx="3252">
                        <c:v>-1.917187695</c:v>
                      </c:pt>
                      <c:pt idx="3253">
                        <c:v>-1.917143993</c:v>
                      </c:pt>
                      <c:pt idx="3254">
                        <c:v>-1.9171288950000001</c:v>
                      </c:pt>
                      <c:pt idx="3255">
                        <c:v>-1.9171002850000001</c:v>
                      </c:pt>
                      <c:pt idx="3256">
                        <c:v>-1.917085194</c:v>
                      </c:pt>
                      <c:pt idx="3257">
                        <c:v>-1.917070888</c:v>
                      </c:pt>
                      <c:pt idx="3258">
                        <c:v>-1.9170565829999999</c:v>
                      </c:pt>
                      <c:pt idx="3259">
                        <c:v>-1.9168672470000001</c:v>
                      </c:pt>
                      <c:pt idx="3260">
                        <c:v>-1.916837508</c:v>
                      </c:pt>
                      <c:pt idx="3261">
                        <c:v>-1.9166773500000001</c:v>
                      </c:pt>
                      <c:pt idx="3262">
                        <c:v>-1.9166637289999999</c:v>
                      </c:pt>
                      <c:pt idx="3263">
                        <c:v>-1.9166200200000001</c:v>
                      </c:pt>
                      <c:pt idx="3264">
                        <c:v>-1.9165612270000001</c:v>
                      </c:pt>
                      <c:pt idx="3265">
                        <c:v>-1.916546922</c:v>
                      </c:pt>
                      <c:pt idx="3266">
                        <c:v>-1.916474392</c:v>
                      </c:pt>
                      <c:pt idx="3267">
                        <c:v>-1.9164449889999999</c:v>
                      </c:pt>
                      <c:pt idx="3268">
                        <c:v>-1.916430691</c:v>
                      </c:pt>
                      <c:pt idx="3269">
                        <c:v>-1.916416385</c:v>
                      </c:pt>
                      <c:pt idx="3270">
                        <c:v>-1.916401287</c:v>
                      </c:pt>
                      <c:pt idx="3271">
                        <c:v>-1.9163869819999999</c:v>
                      </c:pt>
                      <c:pt idx="3272">
                        <c:v>-1.9163575859999999</c:v>
                      </c:pt>
                      <c:pt idx="3273">
                        <c:v>-1.9162851649999999</c:v>
                      </c:pt>
                      <c:pt idx="3274">
                        <c:v>-1.916212067</c:v>
                      </c:pt>
                      <c:pt idx="3275">
                        <c:v>-1.9161977619999999</c:v>
                      </c:pt>
                      <c:pt idx="3276">
                        <c:v>-1.9161683650000001</c:v>
                      </c:pt>
                      <c:pt idx="3277">
                        <c:v>-1.91615406</c:v>
                      </c:pt>
                      <c:pt idx="3278">
                        <c:v>-1.9161534929999999</c:v>
                      </c:pt>
                      <c:pt idx="3279">
                        <c:v>-1.9161397549999999</c:v>
                      </c:pt>
                      <c:pt idx="3280">
                        <c:v>-1.916066206</c:v>
                      </c:pt>
                      <c:pt idx="3281">
                        <c:v>-1.9158624479999999</c:v>
                      </c:pt>
                      <c:pt idx="3282">
                        <c:v>-1.915848601</c:v>
                      </c:pt>
                      <c:pt idx="3283">
                        <c:v>-1.915819205</c:v>
                      </c:pt>
                      <c:pt idx="3284">
                        <c:v>-1.9158048999999999</c:v>
                      </c:pt>
                      <c:pt idx="3285">
                        <c:v>-1.915790602</c:v>
                      </c:pt>
                      <c:pt idx="3286">
                        <c:v>-1.9157314599999999</c:v>
                      </c:pt>
                      <c:pt idx="3287">
                        <c:v>-1.9157031920000001</c:v>
                      </c:pt>
                      <c:pt idx="3288">
                        <c:v>-1.915688101</c:v>
                      </c:pt>
                      <c:pt idx="3289">
                        <c:v>-1.915673795</c:v>
                      </c:pt>
                      <c:pt idx="3290">
                        <c:v>-1.9156592649999999</c:v>
                      </c:pt>
                      <c:pt idx="3291">
                        <c:v>-1.915644967</c:v>
                      </c:pt>
                      <c:pt idx="3292">
                        <c:v>-1.9156298679999999</c:v>
                      </c:pt>
                      <c:pt idx="3293">
                        <c:v>-1.9156012650000001</c:v>
                      </c:pt>
                      <c:pt idx="3294">
                        <c:v>-1.9155714109999999</c:v>
                      </c:pt>
                      <c:pt idx="3295">
                        <c:v>-1.915557564</c:v>
                      </c:pt>
                      <c:pt idx="3296">
                        <c:v>-1.9155432590000001</c:v>
                      </c:pt>
                      <c:pt idx="3297">
                        <c:v>-1.91552816</c:v>
                      </c:pt>
                      <c:pt idx="3298">
                        <c:v>-1.915527709</c:v>
                      </c:pt>
                      <c:pt idx="3299">
                        <c:v>-1.9155138549999999</c:v>
                      </c:pt>
                      <c:pt idx="3300">
                        <c:v>-1.915484459</c:v>
                      </c:pt>
                      <c:pt idx="3301">
                        <c:v>-1.9154701540000001</c:v>
                      </c:pt>
                      <c:pt idx="3302">
                        <c:v>-1.9154695859999999</c:v>
                      </c:pt>
                      <c:pt idx="3303">
                        <c:v>-1.9154558559999999</c:v>
                      </c:pt>
                      <c:pt idx="3304">
                        <c:v>-1.915382642</c:v>
                      </c:pt>
                      <c:pt idx="3305">
                        <c:v>-1.915368336</c:v>
                      </c:pt>
                      <c:pt idx="3306">
                        <c:v>-1.9153540389999999</c:v>
                      </c:pt>
                      <c:pt idx="3307">
                        <c:v>-1.91533894</c:v>
                      </c:pt>
                      <c:pt idx="3308">
                        <c:v>-1.915295239</c:v>
                      </c:pt>
                      <c:pt idx="3309">
                        <c:v>-1.9152809340000001</c:v>
                      </c:pt>
                      <c:pt idx="3310">
                        <c:v>-1.915106695</c:v>
                      </c:pt>
                      <c:pt idx="3311">
                        <c:v>-1.915091597</c:v>
                      </c:pt>
                      <c:pt idx="3312">
                        <c:v>-1.9150629939999999</c:v>
                      </c:pt>
                      <c:pt idx="3313">
                        <c:v>-1.9150478959999999</c:v>
                      </c:pt>
                      <c:pt idx="3314">
                        <c:v>-1.91503359</c:v>
                      </c:pt>
                      <c:pt idx="3315">
                        <c:v>-1.9150330229999999</c:v>
                      </c:pt>
                      <c:pt idx="3316">
                        <c:v>-1.9150040779999999</c:v>
                      </c:pt>
                      <c:pt idx="3317">
                        <c:v>-1.914989321</c:v>
                      </c:pt>
                      <c:pt idx="3318">
                        <c:v>-1.9149611769999999</c:v>
                      </c:pt>
                      <c:pt idx="3319">
                        <c:v>-1.9149317729999999</c:v>
                      </c:pt>
                      <c:pt idx="3320">
                        <c:v>-1.914902377</c:v>
                      </c:pt>
                      <c:pt idx="3321">
                        <c:v>-1.9148586750000001</c:v>
                      </c:pt>
                      <c:pt idx="3322">
                        <c:v>-1.9148300650000001</c:v>
                      </c:pt>
                      <c:pt idx="3323">
                        <c:v>-1.914814974</c:v>
                      </c:pt>
                      <c:pt idx="3324">
                        <c:v>-1.9148006689999999</c:v>
                      </c:pt>
                      <c:pt idx="3325">
                        <c:v>-1.914800101</c:v>
                      </c:pt>
                      <c:pt idx="3326">
                        <c:v>-1.91477184</c:v>
                      </c:pt>
                      <c:pt idx="3327">
                        <c:v>-1.914756742</c:v>
                      </c:pt>
                      <c:pt idx="3328">
                        <c:v>-1.9147424369999999</c:v>
                      </c:pt>
                      <c:pt idx="3329">
                        <c:v>-1.9147281389999999</c:v>
                      </c:pt>
                      <c:pt idx="3330">
                        <c:v>-1.9147130400000001</c:v>
                      </c:pt>
                      <c:pt idx="3331">
                        <c:v>-1.914698735</c:v>
                      </c:pt>
                      <c:pt idx="3332">
                        <c:v>-1.9146701319999999</c:v>
                      </c:pt>
                      <c:pt idx="3333">
                        <c:v>-1.9146700160000001</c:v>
                      </c:pt>
                      <c:pt idx="3334">
                        <c:v>-1.9146550339999999</c:v>
                      </c:pt>
                      <c:pt idx="3335">
                        <c:v>-1.9146545829999999</c:v>
                      </c:pt>
                      <c:pt idx="3336">
                        <c:v>-1.9146264310000001</c:v>
                      </c:pt>
                      <c:pt idx="3337">
                        <c:v>-1.914611332</c:v>
                      </c:pt>
                      <c:pt idx="3338">
                        <c:v>-1.9145963500000001</c:v>
                      </c:pt>
                      <c:pt idx="3339">
                        <c:v>-1.9145827289999999</c:v>
                      </c:pt>
                      <c:pt idx="3340">
                        <c:v>-1.914567514</c:v>
                      </c:pt>
                      <c:pt idx="3341">
                        <c:v>-1.914524613</c:v>
                      </c:pt>
                      <c:pt idx="3342">
                        <c:v>-1.914509515</c:v>
                      </c:pt>
                      <c:pt idx="3343">
                        <c:v>-1.9144952099999999</c:v>
                      </c:pt>
                      <c:pt idx="3344">
                        <c:v>-1.9144809119999999</c:v>
                      </c:pt>
                      <c:pt idx="3345">
                        <c:v>-1.914451508</c:v>
                      </c:pt>
                      <c:pt idx="3346">
                        <c:v>-1.91443721</c:v>
                      </c:pt>
                      <c:pt idx="3347">
                        <c:v>-1.9143784109999999</c:v>
                      </c:pt>
                      <c:pt idx="3348">
                        <c:v>-1.9143495749999999</c:v>
                      </c:pt>
                      <c:pt idx="3349">
                        <c:v>-1.9143053059999999</c:v>
                      </c:pt>
                      <c:pt idx="3350">
                        <c:v>-1.914291575</c:v>
                      </c:pt>
                      <c:pt idx="3351">
                        <c:v>-1.914276251</c:v>
                      </c:pt>
                      <c:pt idx="3352">
                        <c:v>-1.9142621719999999</c:v>
                      </c:pt>
                      <c:pt idx="3353">
                        <c:v>-1.9141744270000001</c:v>
                      </c:pt>
                      <c:pt idx="3354">
                        <c:v>-1.9140142680000001</c:v>
                      </c:pt>
                      <c:pt idx="3355">
                        <c:v>-1.913825608</c:v>
                      </c:pt>
                      <c:pt idx="3356">
                        <c:v>-1.91381131</c:v>
                      </c:pt>
                      <c:pt idx="3357">
                        <c:v>-1.9137819069999999</c:v>
                      </c:pt>
                      <c:pt idx="3358">
                        <c:v>-1.913767609</c:v>
                      </c:pt>
                      <c:pt idx="3359">
                        <c:v>-1.9137533040000001</c:v>
                      </c:pt>
                      <c:pt idx="3360">
                        <c:v>-1.9137382060000001</c:v>
                      </c:pt>
                      <c:pt idx="3361">
                        <c:v>-1.9137239079999999</c:v>
                      </c:pt>
                      <c:pt idx="3362">
                        <c:v>-1.913709602</c:v>
                      </c:pt>
                      <c:pt idx="3363">
                        <c:v>-1.9136950720000001</c:v>
                      </c:pt>
                      <c:pt idx="3364">
                        <c:v>-1.9136076689999999</c:v>
                      </c:pt>
                      <c:pt idx="3365">
                        <c:v>-1.913577705</c:v>
                      </c:pt>
                      <c:pt idx="3366">
                        <c:v>-1.913548869</c:v>
                      </c:pt>
                      <c:pt idx="3367">
                        <c:v>-1.9135202659999999</c:v>
                      </c:pt>
                      <c:pt idx="3368">
                        <c:v>-1.913447052</c:v>
                      </c:pt>
                      <c:pt idx="3369">
                        <c:v>-1.9134327470000001</c:v>
                      </c:pt>
                      <c:pt idx="3370">
                        <c:v>-1.913389045</c:v>
                      </c:pt>
                      <c:pt idx="3371">
                        <c:v>-1.9133166239999999</c:v>
                      </c:pt>
                      <c:pt idx="3372">
                        <c:v>-1.9133015330000001</c:v>
                      </c:pt>
                      <c:pt idx="3373">
                        <c:v>-1.9132729230000001</c:v>
                      </c:pt>
                      <c:pt idx="3374">
                        <c:v>-1.913258508</c:v>
                      </c:pt>
                      <c:pt idx="3375">
                        <c:v>-1.9132430680000001</c:v>
                      </c:pt>
                      <c:pt idx="3376">
                        <c:v>-1.913229112</c:v>
                      </c:pt>
                      <c:pt idx="3377">
                        <c:v>-1.913200276</c:v>
                      </c:pt>
                      <c:pt idx="3378">
                        <c:v>-1.9131854109999999</c:v>
                      </c:pt>
                      <c:pt idx="3379">
                        <c:v>-1.913141709</c:v>
                      </c:pt>
                      <c:pt idx="3380">
                        <c:v>-1.9131274039999999</c:v>
                      </c:pt>
                      <c:pt idx="3381">
                        <c:v>-1.913083702</c:v>
                      </c:pt>
                      <c:pt idx="3382">
                        <c:v>-1.913068604</c:v>
                      </c:pt>
                      <c:pt idx="3383">
                        <c:v>-1.913054306</c:v>
                      </c:pt>
                      <c:pt idx="3384">
                        <c:v>-1.9130397750000001</c:v>
                      </c:pt>
                      <c:pt idx="3385">
                        <c:v>-1.913010372</c:v>
                      </c:pt>
                      <c:pt idx="3386">
                        <c:v>-1.912996074</c:v>
                      </c:pt>
                      <c:pt idx="3387">
                        <c:v>-1.9129817689999999</c:v>
                      </c:pt>
                      <c:pt idx="3388">
                        <c:v>-1.9129674640000001</c:v>
                      </c:pt>
                      <c:pt idx="3389">
                        <c:v>-1.9126471389999999</c:v>
                      </c:pt>
                      <c:pt idx="3390">
                        <c:v>-1.912545205</c:v>
                      </c:pt>
                      <c:pt idx="3391">
                        <c:v>-1.9124871990000001</c:v>
                      </c:pt>
                      <c:pt idx="3392">
                        <c:v>-1.9124717659999999</c:v>
                      </c:pt>
                      <c:pt idx="3393">
                        <c:v>-1.9124578029999999</c:v>
                      </c:pt>
                      <c:pt idx="3394">
                        <c:v>-1.9124434969999999</c:v>
                      </c:pt>
                      <c:pt idx="3395">
                        <c:v>-1.9123853820000001</c:v>
                      </c:pt>
                      <c:pt idx="3396">
                        <c:v>-1.912370283</c:v>
                      </c:pt>
                      <c:pt idx="3397">
                        <c:v>-1.9121952520000001</c:v>
                      </c:pt>
                      <c:pt idx="3398">
                        <c:v>-1.9120649409999999</c:v>
                      </c:pt>
                      <c:pt idx="3399">
                        <c:v>-1.9120642569999999</c:v>
                      </c:pt>
                      <c:pt idx="3400">
                        <c:v>-1.912021239</c:v>
                      </c:pt>
                      <c:pt idx="3401">
                        <c:v>-1.911991843</c:v>
                      </c:pt>
                      <c:pt idx="3402">
                        <c:v>-1.9119915009999999</c:v>
                      </c:pt>
                      <c:pt idx="3403">
                        <c:v>-1.911963233</c:v>
                      </c:pt>
                      <c:pt idx="3404">
                        <c:v>-1.9119488179999999</c:v>
                      </c:pt>
                      <c:pt idx="3405">
                        <c:v>-1.911919422</c:v>
                      </c:pt>
                      <c:pt idx="3406">
                        <c:v>-1.9119051170000001</c:v>
                      </c:pt>
                      <c:pt idx="3407">
                        <c:v>-1.9118757209999999</c:v>
                      </c:pt>
                      <c:pt idx="3408">
                        <c:v>-1.911861415</c:v>
                      </c:pt>
                      <c:pt idx="3409">
                        <c:v>-1.911846317</c:v>
                      </c:pt>
                      <c:pt idx="3410">
                        <c:v>-1.9118026159999999</c:v>
                      </c:pt>
                      <c:pt idx="3411">
                        <c:v>-1.9117883179999999</c:v>
                      </c:pt>
                      <c:pt idx="3412">
                        <c:v>-1.911758914</c:v>
                      </c:pt>
                      <c:pt idx="3413">
                        <c:v>-1.911744616</c:v>
                      </c:pt>
                      <c:pt idx="3414">
                        <c:v>-1.9117296269999999</c:v>
                      </c:pt>
                      <c:pt idx="3415">
                        <c:v>-1.91171578</c:v>
                      </c:pt>
                      <c:pt idx="3416">
                        <c:v>-1.911700682</c:v>
                      </c:pt>
                      <c:pt idx="3417">
                        <c:v>-1.9116859260000001</c:v>
                      </c:pt>
                      <c:pt idx="3418">
                        <c:v>-1.9116720789999999</c:v>
                      </c:pt>
                      <c:pt idx="3419">
                        <c:v>-1.9116569800000001</c:v>
                      </c:pt>
                      <c:pt idx="3420">
                        <c:v>-1.911628377</c:v>
                      </c:pt>
                      <c:pt idx="3421">
                        <c:v>-1.9116140720000001</c:v>
                      </c:pt>
                      <c:pt idx="3422">
                        <c:v>-1.9115846759999999</c:v>
                      </c:pt>
                      <c:pt idx="3423">
                        <c:v>-1.91155528</c:v>
                      </c:pt>
                      <c:pt idx="3424">
                        <c:v>-1.9115549380000001</c:v>
                      </c:pt>
                      <c:pt idx="3425">
                        <c:v>-1.911540974</c:v>
                      </c:pt>
                      <c:pt idx="3426">
                        <c:v>-1.9115266689999999</c:v>
                      </c:pt>
                      <c:pt idx="3427">
                        <c:v>-1.911511462</c:v>
                      </c:pt>
                      <c:pt idx="3428">
                        <c:v>-1.9114828589999999</c:v>
                      </c:pt>
                      <c:pt idx="3429">
                        <c:v>-1.9114540229999999</c:v>
                      </c:pt>
                      <c:pt idx="3430">
                        <c:v>-1.911439157</c:v>
                      </c:pt>
                      <c:pt idx="3431">
                        <c:v>-1.9114248519999999</c:v>
                      </c:pt>
                      <c:pt idx="3432">
                        <c:v>-1.9113954559999999</c:v>
                      </c:pt>
                      <c:pt idx="3433">
                        <c:v>-1.911366052</c:v>
                      </c:pt>
                      <c:pt idx="3434">
                        <c:v>-1.911351754</c:v>
                      </c:pt>
                      <c:pt idx="3435">
                        <c:v>-1.9113374489999999</c:v>
                      </c:pt>
                      <c:pt idx="3436">
                        <c:v>-1.911308053</c:v>
                      </c:pt>
                      <c:pt idx="3437">
                        <c:v>-1.911293522</c:v>
                      </c:pt>
                      <c:pt idx="3438">
                        <c:v>-1.9112792169999999</c:v>
                      </c:pt>
                      <c:pt idx="3439">
                        <c:v>-1.911235515</c:v>
                      </c:pt>
                      <c:pt idx="3440">
                        <c:v>-1.911206119</c:v>
                      </c:pt>
                      <c:pt idx="3441">
                        <c:v>-1.9111775090000001</c:v>
                      </c:pt>
                      <c:pt idx="3442">
                        <c:v>-1.9111481130000001</c:v>
                      </c:pt>
                      <c:pt idx="3443">
                        <c:v>-1.9111044109999999</c:v>
                      </c:pt>
                      <c:pt idx="3444">
                        <c:v>-1.9110168919999999</c:v>
                      </c:pt>
                      <c:pt idx="3445">
                        <c:v>-1.910958892</c:v>
                      </c:pt>
                      <c:pt idx="3446">
                        <c:v>-1.9109294889999999</c:v>
                      </c:pt>
                      <c:pt idx="3447">
                        <c:v>-1.9109008860000001</c:v>
                      </c:pt>
                      <c:pt idx="3448">
                        <c:v>-1.910885787</c:v>
                      </c:pt>
                      <c:pt idx="3449">
                        <c:v>-1.910827555</c:v>
                      </c:pt>
                      <c:pt idx="3450">
                        <c:v>-1.910813257</c:v>
                      </c:pt>
                      <c:pt idx="3451">
                        <c:v>-1.9107552510000001</c:v>
                      </c:pt>
                      <c:pt idx="3452">
                        <c:v>-1.9107409449999999</c:v>
                      </c:pt>
                      <c:pt idx="3453">
                        <c:v>-1.9106678479999999</c:v>
                      </c:pt>
                      <c:pt idx="3454">
                        <c:v>-1.910638335</c:v>
                      </c:pt>
                      <c:pt idx="3455">
                        <c:v>-1.910580328</c:v>
                      </c:pt>
                      <c:pt idx="3456">
                        <c:v>-1.9105366269999999</c:v>
                      </c:pt>
                      <c:pt idx="3457">
                        <c:v>-1.910522329</c:v>
                      </c:pt>
                      <c:pt idx="3458">
                        <c:v>-1.9104929260000001</c:v>
                      </c:pt>
                      <c:pt idx="3459">
                        <c:v>-1.9104786279999999</c:v>
                      </c:pt>
                      <c:pt idx="3460">
                        <c:v>-1.9104492239999999</c:v>
                      </c:pt>
                      <c:pt idx="3461">
                        <c:v>-1.9104060899999999</c:v>
                      </c:pt>
                      <c:pt idx="3462">
                        <c:v>-1.910376694</c:v>
                      </c:pt>
                      <c:pt idx="3463">
                        <c:v>-1.9103623890000001</c:v>
                      </c:pt>
                      <c:pt idx="3464">
                        <c:v>-1.91034729</c:v>
                      </c:pt>
                      <c:pt idx="3465">
                        <c:v>-1.9102749859999999</c:v>
                      </c:pt>
                      <c:pt idx="3466">
                        <c:v>-1.9102169790000001</c:v>
                      </c:pt>
                      <c:pt idx="3467">
                        <c:v>-1.9102024559999999</c:v>
                      </c:pt>
                      <c:pt idx="3468">
                        <c:v>-1.910173052</c:v>
                      </c:pt>
                      <c:pt idx="3469">
                        <c:v>-1.9101724849999999</c:v>
                      </c:pt>
                      <c:pt idx="3470">
                        <c:v>-1.910158754</c:v>
                      </c:pt>
                      <c:pt idx="3471">
                        <c:v>-1.9101293509999999</c:v>
                      </c:pt>
                      <c:pt idx="3472">
                        <c:v>-1.910128783</c:v>
                      </c:pt>
                      <c:pt idx="3473">
                        <c:v>-1.910056253</c:v>
                      </c:pt>
                      <c:pt idx="3474">
                        <c:v>-1.9100419479999999</c:v>
                      </c:pt>
                      <c:pt idx="3475">
                        <c:v>-1.9100414969999999</c:v>
                      </c:pt>
                      <c:pt idx="3476">
                        <c:v>-1.9100276430000001</c:v>
                      </c:pt>
                      <c:pt idx="3477">
                        <c:v>-1.910012552</c:v>
                      </c:pt>
                      <c:pt idx="3478">
                        <c:v>-1.909983832</c:v>
                      </c:pt>
                      <c:pt idx="3479">
                        <c:v>-1.9099695269999999</c:v>
                      </c:pt>
                      <c:pt idx="3480">
                        <c:v>-1.9099401309999999</c:v>
                      </c:pt>
                      <c:pt idx="3481">
                        <c:v>-1.909910502</c:v>
                      </c:pt>
                      <c:pt idx="3482">
                        <c:v>-1.9098670259999999</c:v>
                      </c:pt>
                      <c:pt idx="3483">
                        <c:v>-1.9098527279999999</c:v>
                      </c:pt>
                      <c:pt idx="3484">
                        <c:v>-1.9098522689999999</c:v>
                      </c:pt>
                      <c:pt idx="3485">
                        <c:v>-1.9098383059999999</c:v>
                      </c:pt>
                      <c:pt idx="3486">
                        <c:v>-1.909824008</c:v>
                      </c:pt>
                      <c:pt idx="3487">
                        <c:v>-1.90980891</c:v>
                      </c:pt>
                      <c:pt idx="3488">
                        <c:v>-1.9098086839999999</c:v>
                      </c:pt>
                      <c:pt idx="3489">
                        <c:v>-1.9097946050000001</c:v>
                      </c:pt>
                      <c:pt idx="3490">
                        <c:v>-1.9097941540000001</c:v>
                      </c:pt>
                      <c:pt idx="3491">
                        <c:v>-1.9097803069999999</c:v>
                      </c:pt>
                      <c:pt idx="3492">
                        <c:v>-1.909750794</c:v>
                      </c:pt>
                      <c:pt idx="3493">
                        <c:v>-1.9097364889999999</c:v>
                      </c:pt>
                      <c:pt idx="3494">
                        <c:v>-1.909722191</c:v>
                      </c:pt>
                      <c:pt idx="3495">
                        <c:v>-1.909678489</c:v>
                      </c:pt>
                      <c:pt idx="3496">
                        <c:v>-1.90961969</c:v>
                      </c:pt>
                      <c:pt idx="3497">
                        <c:v>-1.9094011820000001</c:v>
                      </c:pt>
                      <c:pt idx="3498">
                        <c:v>-1.9092856279999999</c:v>
                      </c:pt>
                      <c:pt idx="3499">
                        <c:v>-1.9091683699999999</c:v>
                      </c:pt>
                      <c:pt idx="3500">
                        <c:v>-1.9089354409999999</c:v>
                      </c:pt>
                      <c:pt idx="3501">
                        <c:v>-1.9089210270000001</c:v>
                      </c:pt>
                      <c:pt idx="3502">
                        <c:v>-1.908849064</c:v>
                      </c:pt>
                      <c:pt idx="3503">
                        <c:v>-1.9085572260000001</c:v>
                      </c:pt>
                      <c:pt idx="3504">
                        <c:v>-1.9084989939999999</c:v>
                      </c:pt>
                      <c:pt idx="3505">
                        <c:v>-1.908484354</c:v>
                      </c:pt>
                      <c:pt idx="3506">
                        <c:v>-1.9084706170000001</c:v>
                      </c:pt>
                      <c:pt idx="3507">
                        <c:v>-1.9084267989999999</c:v>
                      </c:pt>
                      <c:pt idx="3508">
                        <c:v>-1.9084125009999999</c:v>
                      </c:pt>
                      <c:pt idx="3509">
                        <c:v>-1.908368799</c:v>
                      </c:pt>
                      <c:pt idx="3510">
                        <c:v>-1.9083250979999999</c:v>
                      </c:pt>
                      <c:pt idx="3511">
                        <c:v>-1.90831</c:v>
                      </c:pt>
                      <c:pt idx="3512">
                        <c:v>-1.9082813970000001</c:v>
                      </c:pt>
                      <c:pt idx="3513">
                        <c:v>-1.9082519929999999</c:v>
                      </c:pt>
                      <c:pt idx="3514">
                        <c:v>-1.9082232729999999</c:v>
                      </c:pt>
                      <c:pt idx="3515">
                        <c:v>-1.908193877</c:v>
                      </c:pt>
                      <c:pt idx="3516">
                        <c:v>-1.9081644740000001</c:v>
                      </c:pt>
                      <c:pt idx="3517">
                        <c:v>-1.9081501759999999</c:v>
                      </c:pt>
                      <c:pt idx="3518">
                        <c:v>-1.908062656</c:v>
                      </c:pt>
                      <c:pt idx="3519">
                        <c:v>-1.908034053</c:v>
                      </c:pt>
                      <c:pt idx="3520">
                        <c:v>-1.9080188389999999</c:v>
                      </c:pt>
                      <c:pt idx="3521">
                        <c:v>-1.907990235</c:v>
                      </c:pt>
                      <c:pt idx="3522">
                        <c:v>-1.9079465339999999</c:v>
                      </c:pt>
                      <c:pt idx="3523">
                        <c:v>-1.9079322359999999</c:v>
                      </c:pt>
                      <c:pt idx="3524">
                        <c:v>-1.9078885350000001</c:v>
                      </c:pt>
                      <c:pt idx="3525">
                        <c:v>-1.9078591309999999</c:v>
                      </c:pt>
                      <c:pt idx="3526">
                        <c:v>-1.907829735</c:v>
                      </c:pt>
                      <c:pt idx="3527">
                        <c:v>-1.9078149790000001</c:v>
                      </c:pt>
                      <c:pt idx="3528">
                        <c:v>-1.907801015</c:v>
                      </c:pt>
                      <c:pt idx="3529">
                        <c:v>-1.907669453</c:v>
                      </c:pt>
                      <c:pt idx="3530">
                        <c:v>-1.907654929</c:v>
                      </c:pt>
                      <c:pt idx="3531">
                        <c:v>-1.9073644519999999</c:v>
                      </c:pt>
                      <c:pt idx="3532">
                        <c:v>-1.9072046279999999</c:v>
                      </c:pt>
                      <c:pt idx="3533">
                        <c:v>-1.9071019010000001</c:v>
                      </c:pt>
                      <c:pt idx="3534">
                        <c:v>-1.906927772</c:v>
                      </c:pt>
                      <c:pt idx="3535">
                        <c:v>-1.906898376</c:v>
                      </c:pt>
                      <c:pt idx="3536">
                        <c:v>-1.9068697729999999</c:v>
                      </c:pt>
                      <c:pt idx="3537">
                        <c:v>-1.906840369</c:v>
                      </c:pt>
                      <c:pt idx="3538">
                        <c:v>-1.906826071</c:v>
                      </c:pt>
                      <c:pt idx="3539">
                        <c:v>-1.906781802</c:v>
                      </c:pt>
                      <c:pt idx="3540">
                        <c:v>-1.9067528570000001</c:v>
                      </c:pt>
                      <c:pt idx="3541">
                        <c:v>-1.906738552</c:v>
                      </c:pt>
                      <c:pt idx="3542">
                        <c:v>-1.9067242470000001</c:v>
                      </c:pt>
                      <c:pt idx="3543">
                        <c:v>-1.906709491</c:v>
                      </c:pt>
                      <c:pt idx="3544">
                        <c:v>-1.906665338</c:v>
                      </c:pt>
                      <c:pt idx="3545">
                        <c:v>-1.9059814310000001</c:v>
                      </c:pt>
                      <c:pt idx="3546">
                        <c:v>-1.905953054</c:v>
                      </c:pt>
                      <c:pt idx="3547">
                        <c:v>-1.9055302279999999</c:v>
                      </c:pt>
                      <c:pt idx="3548">
                        <c:v>-1.9053998000000001</c:v>
                      </c:pt>
                      <c:pt idx="3549">
                        <c:v>-1.9053408919999999</c:v>
                      </c:pt>
                      <c:pt idx="3550">
                        <c:v>-1.9053267030000001</c:v>
                      </c:pt>
                      <c:pt idx="3551">
                        <c:v>-1.905312398</c:v>
                      </c:pt>
                      <c:pt idx="3552">
                        <c:v>-1.9052981</c:v>
                      </c:pt>
                      <c:pt idx="3553">
                        <c:v>-1.905268696</c:v>
                      </c:pt>
                      <c:pt idx="3554">
                        <c:v>-1.9052399769999999</c:v>
                      </c:pt>
                      <c:pt idx="3555">
                        <c:v>-1.9052246530000001</c:v>
                      </c:pt>
                      <c:pt idx="3556">
                        <c:v>-1.905196275</c:v>
                      </c:pt>
                      <c:pt idx="3557">
                        <c:v>-1.905166879</c:v>
                      </c:pt>
                      <c:pt idx="3558">
                        <c:v>-1.9051231769999999</c:v>
                      </c:pt>
                      <c:pt idx="3559">
                        <c:v>-1.9050942319999999</c:v>
                      </c:pt>
                      <c:pt idx="3560">
                        <c:v>-1.9050799270000001</c:v>
                      </c:pt>
                      <c:pt idx="3561">
                        <c:v>-1.9050505310000001</c:v>
                      </c:pt>
                      <c:pt idx="3562">
                        <c:v>-1.9050216950000001</c:v>
                      </c:pt>
                      <c:pt idx="3563">
                        <c:v>-1.905006604</c:v>
                      </c:pt>
                      <c:pt idx="3564">
                        <c:v>-1.9049779929999999</c:v>
                      </c:pt>
                      <c:pt idx="3565">
                        <c:v>-1.904773566</c:v>
                      </c:pt>
                      <c:pt idx="3566">
                        <c:v>-1.9045700409999999</c:v>
                      </c:pt>
                      <c:pt idx="3567">
                        <c:v>-1.9045414300000001</c:v>
                      </c:pt>
                      <c:pt idx="3568">
                        <c:v>-1.9044833139999999</c:v>
                      </c:pt>
                      <c:pt idx="3569">
                        <c:v>-1.904453918</c:v>
                      </c:pt>
                      <c:pt idx="3570">
                        <c:v>-1.9044245150000001</c:v>
                      </c:pt>
                      <c:pt idx="3571">
                        <c:v>-1.9043959109999999</c:v>
                      </c:pt>
                      <c:pt idx="3572">
                        <c:v>-1.904380813</c:v>
                      </c:pt>
                      <c:pt idx="3573">
                        <c:v>-1.904380588</c:v>
                      </c:pt>
                      <c:pt idx="3574">
                        <c:v>-1.904366515</c:v>
                      </c:pt>
                      <c:pt idx="3575">
                        <c:v>-1.9043660570000001</c:v>
                      </c:pt>
                      <c:pt idx="3576">
                        <c:v>-1.9043371120000001</c:v>
                      </c:pt>
                      <c:pt idx="3577">
                        <c:v>-1.9043083919999999</c:v>
                      </c:pt>
                      <c:pt idx="3578">
                        <c:v>-1.9043078250000001</c:v>
                      </c:pt>
                      <c:pt idx="3579">
                        <c:v>-1.904061056</c:v>
                      </c:pt>
                      <c:pt idx="3580">
                        <c:v>-1.9040467510000001</c:v>
                      </c:pt>
                      <c:pt idx="3581">
                        <c:v>-1.90400305</c:v>
                      </c:pt>
                      <c:pt idx="3582">
                        <c:v>-1.903973653</c:v>
                      </c:pt>
                      <c:pt idx="3583">
                        <c:v>-1.9039593480000001</c:v>
                      </c:pt>
                      <c:pt idx="3584">
                        <c:v>-1.9039442499999999</c:v>
                      </c:pt>
                      <c:pt idx="3585">
                        <c:v>-1.9039299519999999</c:v>
                      </c:pt>
                      <c:pt idx="3586">
                        <c:v>-1.9039294929999999</c:v>
                      </c:pt>
                      <c:pt idx="3587">
                        <c:v>-1.903915647</c:v>
                      </c:pt>
                      <c:pt idx="3588">
                        <c:v>-1.9038422070000001</c:v>
                      </c:pt>
                      <c:pt idx="3589">
                        <c:v>-1.903712005</c:v>
                      </c:pt>
                      <c:pt idx="3590">
                        <c:v>-1.903696681</c:v>
                      </c:pt>
                      <c:pt idx="3591">
                        <c:v>-1.903536632</c:v>
                      </c:pt>
                      <c:pt idx="3592">
                        <c:v>-1.9034786319999999</c:v>
                      </c:pt>
                      <c:pt idx="3593">
                        <c:v>-1.9033335650000001</c:v>
                      </c:pt>
                      <c:pt idx="3594">
                        <c:v>-1.9032891789999999</c:v>
                      </c:pt>
                      <c:pt idx="3595">
                        <c:v>-1.903173282</c:v>
                      </c:pt>
                      <c:pt idx="3596">
                        <c:v>-1.9031581909999999</c:v>
                      </c:pt>
                      <c:pt idx="3597">
                        <c:v>-1.9031580749999999</c:v>
                      </c:pt>
                      <c:pt idx="3598">
                        <c:v>-1.9031438860000001</c:v>
                      </c:pt>
                      <c:pt idx="3599">
                        <c:v>-1.903129581</c:v>
                      </c:pt>
                      <c:pt idx="3600">
                        <c:v>-1.9031291299999999</c:v>
                      </c:pt>
                      <c:pt idx="3601">
                        <c:v>-1.903100185</c:v>
                      </c:pt>
                      <c:pt idx="3602">
                        <c:v>-1.9029697569999999</c:v>
                      </c:pt>
                      <c:pt idx="3603">
                        <c:v>-1.9028526160000001</c:v>
                      </c:pt>
                      <c:pt idx="3604">
                        <c:v>-1.902823787</c:v>
                      </c:pt>
                      <c:pt idx="3605">
                        <c:v>-1.9028094820000001</c:v>
                      </c:pt>
                      <c:pt idx="3606">
                        <c:v>-1.902795177</c:v>
                      </c:pt>
                      <c:pt idx="3607">
                        <c:v>-1.9023869980000001</c:v>
                      </c:pt>
                      <c:pt idx="3608">
                        <c:v>-1.9023586210000001</c:v>
                      </c:pt>
                      <c:pt idx="3609">
                        <c:v>-1.9023432899999999</c:v>
                      </c:pt>
                      <c:pt idx="3610">
                        <c:v>-1.9021832400000001</c:v>
                      </c:pt>
                      <c:pt idx="3611">
                        <c:v>-1.902023875</c:v>
                      </c:pt>
                      <c:pt idx="3612">
                        <c:v>-1.9018630249999999</c:v>
                      </c:pt>
                      <c:pt idx="3613">
                        <c:v>-1.9018485009999999</c:v>
                      </c:pt>
                      <c:pt idx="3614">
                        <c:v>-1.901673921</c:v>
                      </c:pt>
                      <c:pt idx="3615">
                        <c:v>-1.9015283949999999</c:v>
                      </c:pt>
                      <c:pt idx="3616">
                        <c:v>-1.901513872</c:v>
                      </c:pt>
                      <c:pt idx="3617">
                        <c:v>-1.9014997920000001</c:v>
                      </c:pt>
                      <c:pt idx="3618">
                        <c:v>-1.9014706210000001</c:v>
                      </c:pt>
                      <c:pt idx="3619">
                        <c:v>-1.901456316</c:v>
                      </c:pt>
                      <c:pt idx="3620">
                        <c:v>-1.90142692</c:v>
                      </c:pt>
                      <c:pt idx="3621">
                        <c:v>-1.9014117049999999</c:v>
                      </c:pt>
                      <c:pt idx="3622">
                        <c:v>-1.9013975160000001</c:v>
                      </c:pt>
                      <c:pt idx="3623">
                        <c:v>-1.9013832180000001</c:v>
                      </c:pt>
                      <c:pt idx="3624">
                        <c:v>-1.901382876</c:v>
                      </c:pt>
                      <c:pt idx="3625">
                        <c:v>-1.901353815</c:v>
                      </c:pt>
                      <c:pt idx="3626">
                        <c:v>-1.9013252119999999</c:v>
                      </c:pt>
                      <c:pt idx="3627">
                        <c:v>-1.9012958149999999</c:v>
                      </c:pt>
                      <c:pt idx="3628">
                        <c:v>-1.9012378089999999</c:v>
                      </c:pt>
                      <c:pt idx="3629">
                        <c:v>-1.901208413</c:v>
                      </c:pt>
                      <c:pt idx="3630">
                        <c:v>-1.9011793509999999</c:v>
                      </c:pt>
                      <c:pt idx="3631">
                        <c:v>-1.901165046</c:v>
                      </c:pt>
                      <c:pt idx="3632">
                        <c:v>-1.9011356500000001</c:v>
                      </c:pt>
                      <c:pt idx="3633">
                        <c:v>-1.901034058</c:v>
                      </c:pt>
                      <c:pt idx="3634">
                        <c:v>-1.9010197529999999</c:v>
                      </c:pt>
                      <c:pt idx="3635">
                        <c:v>-1.9010046620000001</c:v>
                      </c:pt>
                      <c:pt idx="3636">
                        <c:v>-1.900989898</c:v>
                      </c:pt>
                      <c:pt idx="3637">
                        <c:v>-1.9009751420000001</c:v>
                      </c:pt>
                      <c:pt idx="3638">
                        <c:v>-1.900946655</c:v>
                      </c:pt>
                      <c:pt idx="3639">
                        <c:v>-1.9009172510000001</c:v>
                      </c:pt>
                      <c:pt idx="3640">
                        <c:v>-1.900902954</c:v>
                      </c:pt>
                      <c:pt idx="3641">
                        <c:v>-1.900874234</c:v>
                      </c:pt>
                      <c:pt idx="3642">
                        <c:v>-1.900859136</c:v>
                      </c:pt>
                      <c:pt idx="3643">
                        <c:v>-1.9008154340000001</c:v>
                      </c:pt>
                      <c:pt idx="3644">
                        <c:v>-1.900771733</c:v>
                      </c:pt>
                      <c:pt idx="3645">
                        <c:v>-1.9007427880000001</c:v>
                      </c:pt>
                      <c:pt idx="3646">
                        <c:v>-1.900714185</c:v>
                      </c:pt>
                      <c:pt idx="3647">
                        <c:v>-1.9006990859999999</c:v>
                      </c:pt>
                      <c:pt idx="3648">
                        <c:v>-1.9006702579999999</c:v>
                      </c:pt>
                      <c:pt idx="3649">
                        <c:v>-1.9006559519999999</c:v>
                      </c:pt>
                      <c:pt idx="3650">
                        <c:v>-1.9006408539999999</c:v>
                      </c:pt>
                      <c:pt idx="3651">
                        <c:v>-1.9006406280000001</c:v>
                      </c:pt>
                      <c:pt idx="3652">
                        <c:v>-1.9006115669999999</c:v>
                      </c:pt>
                      <c:pt idx="3653">
                        <c:v>-1.900597495</c:v>
                      </c:pt>
                      <c:pt idx="3654">
                        <c:v>-1.900583189</c:v>
                      </c:pt>
                      <c:pt idx="3655">
                        <c:v>-1.900466048</c:v>
                      </c:pt>
                      <c:pt idx="3656">
                        <c:v>-1.900451517</c:v>
                      </c:pt>
                      <c:pt idx="3657">
                        <c:v>-1.9003351690000001</c:v>
                      </c:pt>
                      <c:pt idx="3658">
                        <c:v>-1.90033506</c:v>
                      </c:pt>
                      <c:pt idx="3659">
                        <c:v>-1.9003062239999999</c:v>
                      </c:pt>
                      <c:pt idx="3660">
                        <c:v>-1.9002919190000001</c:v>
                      </c:pt>
                      <c:pt idx="3661">
                        <c:v>-1.9002625230000001</c:v>
                      </c:pt>
                      <c:pt idx="3662">
                        <c:v>-1.900233694</c:v>
                      </c:pt>
                      <c:pt idx="3663">
                        <c:v>-1.9002193890000001</c:v>
                      </c:pt>
                      <c:pt idx="3664">
                        <c:v>-1.9002042910000001</c:v>
                      </c:pt>
                      <c:pt idx="3665">
                        <c:v>-1.9002040650000001</c:v>
                      </c:pt>
                      <c:pt idx="3666">
                        <c:v>-1.900175688</c:v>
                      </c:pt>
                      <c:pt idx="3667">
                        <c:v>-1.9001466259999999</c:v>
                      </c:pt>
                      <c:pt idx="3668">
                        <c:v>-1.900102022</c:v>
                      </c:pt>
                      <c:pt idx="3669">
                        <c:v>-1.9000585459999999</c:v>
                      </c:pt>
                      <c:pt idx="3670">
                        <c:v>-1.900044125</c:v>
                      </c:pt>
                      <c:pt idx="3671">
                        <c:v>-1.900029827</c:v>
                      </c:pt>
                      <c:pt idx="3672">
                        <c:v>-1.900001107</c:v>
                      </c:pt>
                      <c:pt idx="3673">
                        <c:v>-1.899986009</c:v>
                      </c:pt>
                      <c:pt idx="3674">
                        <c:v>-1.8999717110000001</c:v>
                      </c:pt>
                      <c:pt idx="3675">
                        <c:v>-1.8997384399999999</c:v>
                      </c:pt>
                      <c:pt idx="3676">
                        <c:v>-1.899724368</c:v>
                      </c:pt>
                      <c:pt idx="3677">
                        <c:v>-1.8997100629999999</c:v>
                      </c:pt>
                      <c:pt idx="3678">
                        <c:v>-1.8996806660000001</c:v>
                      </c:pt>
                      <c:pt idx="3679">
                        <c:v>-1.8996654589999999</c:v>
                      </c:pt>
                      <c:pt idx="3680">
                        <c:v>-1.8996512699999999</c:v>
                      </c:pt>
                      <c:pt idx="3681">
                        <c:v>-1.8996219830000001</c:v>
                      </c:pt>
                      <c:pt idx="3682">
                        <c:v>-1.8995929220000001</c:v>
                      </c:pt>
                      <c:pt idx="3683">
                        <c:v>-1.8995056349999999</c:v>
                      </c:pt>
                      <c:pt idx="3684">
                        <c:v>-1.8994914460000001</c:v>
                      </c:pt>
                      <c:pt idx="3685">
                        <c:v>-1.899477141</c:v>
                      </c:pt>
                      <c:pt idx="3686">
                        <c:v>-1.899476457</c:v>
                      </c:pt>
                      <c:pt idx="3687">
                        <c:v>-1.899462043</c:v>
                      </c:pt>
                      <c:pt idx="3688">
                        <c:v>-1.899447745</c:v>
                      </c:pt>
                      <c:pt idx="3689">
                        <c:v>-1.8994188000000001</c:v>
                      </c:pt>
                      <c:pt idx="3690">
                        <c:v>-1.899375091</c:v>
                      </c:pt>
                      <c:pt idx="3691">
                        <c:v>-1.8993462619999999</c:v>
                      </c:pt>
                      <c:pt idx="3692">
                        <c:v>-1.8993311639999999</c:v>
                      </c:pt>
                      <c:pt idx="3693">
                        <c:v>-1.8993025610000001</c:v>
                      </c:pt>
                      <c:pt idx="3694">
                        <c:v>-1.8992878049999999</c:v>
                      </c:pt>
                      <c:pt idx="3695">
                        <c:v>-1.899273499</c:v>
                      </c:pt>
                      <c:pt idx="3696">
                        <c:v>-1.8992584079999999</c:v>
                      </c:pt>
                      <c:pt idx="3697">
                        <c:v>-1.8992581749999999</c:v>
                      </c:pt>
                      <c:pt idx="3698">
                        <c:v>-1.899244103</c:v>
                      </c:pt>
                      <c:pt idx="3699">
                        <c:v>-1.899243652</c:v>
                      </c:pt>
                      <c:pt idx="3700">
                        <c:v>-1.8992288960000001</c:v>
                      </c:pt>
                      <c:pt idx="3701">
                        <c:v>-1.8992147070000001</c:v>
                      </c:pt>
                      <c:pt idx="3702">
                        <c:v>-1.899200402</c:v>
                      </c:pt>
                      <c:pt idx="3703">
                        <c:v>-1.899186096</c:v>
                      </c:pt>
                      <c:pt idx="3704">
                        <c:v>-1.899170998</c:v>
                      </c:pt>
                      <c:pt idx="3705">
                        <c:v>-1.899141827</c:v>
                      </c:pt>
                      <c:pt idx="3706">
                        <c:v>-1.8991279809999999</c:v>
                      </c:pt>
                      <c:pt idx="3707">
                        <c:v>-1.8990985840000001</c:v>
                      </c:pt>
                      <c:pt idx="3708">
                        <c:v>-1.8990981259999999</c:v>
                      </c:pt>
                      <c:pt idx="3709">
                        <c:v>-1.899054883</c:v>
                      </c:pt>
                      <c:pt idx="3710">
                        <c:v>-1.8990405779999999</c:v>
                      </c:pt>
                      <c:pt idx="3711">
                        <c:v>-1.8989965339999999</c:v>
                      </c:pt>
                      <c:pt idx="3712">
                        <c:v>-1.8989528330000001</c:v>
                      </c:pt>
                      <c:pt idx="3713">
                        <c:v>-1.8989240039999999</c:v>
                      </c:pt>
                      <c:pt idx="3714">
                        <c:v>-1.8988946010000001</c:v>
                      </c:pt>
                      <c:pt idx="3715">
                        <c:v>-1.8988659969999999</c:v>
                      </c:pt>
                      <c:pt idx="3716">
                        <c:v>-1.898836143</c:v>
                      </c:pt>
                      <c:pt idx="3717">
                        <c:v>-1.8988218450000001</c:v>
                      </c:pt>
                      <c:pt idx="3718">
                        <c:v>-1.8988070889999999</c:v>
                      </c:pt>
                      <c:pt idx="3719">
                        <c:v>-1.898792332</c:v>
                      </c:pt>
                      <c:pt idx="3720">
                        <c:v>-1.8986906240000001</c:v>
                      </c:pt>
                      <c:pt idx="3721">
                        <c:v>-1.8985456730000001</c:v>
                      </c:pt>
                      <c:pt idx="3722">
                        <c:v>-1.8985162689999999</c:v>
                      </c:pt>
                      <c:pt idx="3723">
                        <c:v>-1.898516044</c:v>
                      </c:pt>
                      <c:pt idx="3724">
                        <c:v>-1.898501513</c:v>
                      </c:pt>
                      <c:pt idx="3725">
                        <c:v>-1.8984874410000001</c:v>
                      </c:pt>
                      <c:pt idx="3726">
                        <c:v>-1.898414678</c:v>
                      </c:pt>
                      <c:pt idx="3727">
                        <c:v>-1.898385282</c:v>
                      </c:pt>
                      <c:pt idx="3728">
                        <c:v>-1.898327275</c:v>
                      </c:pt>
                      <c:pt idx="3729">
                        <c:v>-1.898297879</c:v>
                      </c:pt>
                      <c:pt idx="3730">
                        <c:v>-1.898035779</c:v>
                      </c:pt>
                      <c:pt idx="3731">
                        <c:v>-1.897934413</c:v>
                      </c:pt>
                      <c:pt idx="3732">
                        <c:v>-1.8979338450000001</c:v>
                      </c:pt>
                      <c:pt idx="3733">
                        <c:v>-1.8979192060000001</c:v>
                      </c:pt>
                      <c:pt idx="3734">
                        <c:v>-1.897905017</c:v>
                      </c:pt>
                      <c:pt idx="3735">
                        <c:v>-1.8978902600000001</c:v>
                      </c:pt>
                      <c:pt idx="3736">
                        <c:v>-1.8978613150000001</c:v>
                      </c:pt>
                      <c:pt idx="3737">
                        <c:v>-1.897832596</c:v>
                      </c:pt>
                      <c:pt idx="3738">
                        <c:v>-1.8978174969999999</c:v>
                      </c:pt>
                      <c:pt idx="3739">
                        <c:v>-1.897803192</c:v>
                      </c:pt>
                      <c:pt idx="3740">
                        <c:v>-1.897774589</c:v>
                      </c:pt>
                      <c:pt idx="3741">
                        <c:v>-1.897759491</c:v>
                      </c:pt>
                      <c:pt idx="3742">
                        <c:v>-1.8977156799999999</c:v>
                      </c:pt>
                      <c:pt idx="3743">
                        <c:v>-1.897701149</c:v>
                      </c:pt>
                      <c:pt idx="3744">
                        <c:v>-1.897424636</c:v>
                      </c:pt>
                      <c:pt idx="3745">
                        <c:v>-1.897395465</c:v>
                      </c:pt>
                      <c:pt idx="3746">
                        <c:v>-1.897322927</c:v>
                      </c:pt>
                      <c:pt idx="3747">
                        <c:v>-1.8973227020000001</c:v>
                      </c:pt>
                      <c:pt idx="3748">
                        <c:v>-1.8973086299999999</c:v>
                      </c:pt>
                      <c:pt idx="3749">
                        <c:v>-1.8973081709999999</c:v>
                      </c:pt>
                      <c:pt idx="3750">
                        <c:v>-1.897294324</c:v>
                      </c:pt>
                      <c:pt idx="3751">
                        <c:v>-1.897279226</c:v>
                      </c:pt>
                      <c:pt idx="3752">
                        <c:v>-1.8972215610000001</c:v>
                      </c:pt>
                      <c:pt idx="3753">
                        <c:v>-1.897162652</c:v>
                      </c:pt>
                      <c:pt idx="3754">
                        <c:v>-1.8971483469999999</c:v>
                      </c:pt>
                      <c:pt idx="3755">
                        <c:v>-1.8971049879999999</c:v>
                      </c:pt>
                      <c:pt idx="3756">
                        <c:v>-1.897075592</c:v>
                      </c:pt>
                      <c:pt idx="3757">
                        <c:v>-1.897075359</c:v>
                      </c:pt>
                      <c:pt idx="3758">
                        <c:v>-1.897061286</c:v>
                      </c:pt>
                      <c:pt idx="3759">
                        <c:v>-1.8970460790000001</c:v>
                      </c:pt>
                      <c:pt idx="3760">
                        <c:v>-1.8970318900000001</c:v>
                      </c:pt>
                      <c:pt idx="3761">
                        <c:v>-1.8970171339999999</c:v>
                      </c:pt>
                      <c:pt idx="3762">
                        <c:v>-1.8969880720000001</c:v>
                      </c:pt>
                      <c:pt idx="3763">
                        <c:v>-1.896959469</c:v>
                      </c:pt>
                      <c:pt idx="3764">
                        <c:v>-1.8969300659999999</c:v>
                      </c:pt>
                      <c:pt idx="3765">
                        <c:v>-1.8969157679999999</c:v>
                      </c:pt>
                      <c:pt idx="3766">
                        <c:v>-1.896886364</c:v>
                      </c:pt>
                      <c:pt idx="3767">
                        <c:v>-1.896872066</c:v>
                      </c:pt>
                      <c:pt idx="3768">
                        <c:v>-1.8967988520000001</c:v>
                      </c:pt>
                      <c:pt idx="3769">
                        <c:v>-1.8966823880000001</c:v>
                      </c:pt>
                      <c:pt idx="3770">
                        <c:v>-1.896667857</c:v>
                      </c:pt>
                      <c:pt idx="3771">
                        <c:v>-1.8966242719999999</c:v>
                      </c:pt>
                      <c:pt idx="3772">
                        <c:v>-1.896435503</c:v>
                      </c:pt>
                      <c:pt idx="3773">
                        <c:v>-1.896391801</c:v>
                      </c:pt>
                      <c:pt idx="3774">
                        <c:v>-1.8963770449999999</c:v>
                      </c:pt>
                      <c:pt idx="3775">
                        <c:v>-1.89636274</c:v>
                      </c:pt>
                      <c:pt idx="3776">
                        <c:v>-1.8963484349999999</c:v>
                      </c:pt>
                      <c:pt idx="3777">
                        <c:v>-1.8963046240000001</c:v>
                      </c:pt>
                      <c:pt idx="3778">
                        <c:v>-1.8962895259999999</c:v>
                      </c:pt>
                      <c:pt idx="3779">
                        <c:v>-1.896216763</c:v>
                      </c:pt>
                      <c:pt idx="3780">
                        <c:v>-1.895852962</c:v>
                      </c:pt>
                      <c:pt idx="3781">
                        <c:v>-1.8957801990000001</c:v>
                      </c:pt>
                      <c:pt idx="3782">
                        <c:v>-1.8957074439999999</c:v>
                      </c:pt>
                      <c:pt idx="3783">
                        <c:v>-1.8956927969999999</c:v>
                      </c:pt>
                      <c:pt idx="3784">
                        <c:v>-1.895678499</c:v>
                      </c:pt>
                      <c:pt idx="3785">
                        <c:v>-1.895664193</c:v>
                      </c:pt>
                      <c:pt idx="3786">
                        <c:v>-1.895649779</c:v>
                      </c:pt>
                      <c:pt idx="3787">
                        <c:v>-1.895634681</c:v>
                      </c:pt>
                      <c:pt idx="3788">
                        <c:v>-1.8956201500000001</c:v>
                      </c:pt>
                      <c:pt idx="3789">
                        <c:v>-1.8955909790000001</c:v>
                      </c:pt>
                      <c:pt idx="3790">
                        <c:v>-1.895562376</c:v>
                      </c:pt>
                      <c:pt idx="3791">
                        <c:v>-1.8954163989999999</c:v>
                      </c:pt>
                      <c:pt idx="3792">
                        <c:v>-1.8951258129999999</c:v>
                      </c:pt>
                      <c:pt idx="3793">
                        <c:v>-1.895096409</c:v>
                      </c:pt>
                      <c:pt idx="3794">
                        <c:v>-1.895096184</c:v>
                      </c:pt>
                      <c:pt idx="3795">
                        <c:v>-1.89505305</c:v>
                      </c:pt>
                      <c:pt idx="3796">
                        <c:v>-1.8949949340000001</c:v>
                      </c:pt>
                      <c:pt idx="3797">
                        <c:v>-1.894951233</c:v>
                      </c:pt>
                      <c:pt idx="3798">
                        <c:v>-1.8946160350000001</c:v>
                      </c:pt>
                      <c:pt idx="3799">
                        <c:v>-1.8944122839999999</c:v>
                      </c:pt>
                      <c:pt idx="3800">
                        <c:v>-1.894339521</c:v>
                      </c:pt>
                      <c:pt idx="3801">
                        <c:v>-1.894179472</c:v>
                      </c:pt>
                      <c:pt idx="3802">
                        <c:v>-1.8941648250000001</c:v>
                      </c:pt>
                      <c:pt idx="3803">
                        <c:v>-1.8941065930000001</c:v>
                      </c:pt>
                      <c:pt idx="3804">
                        <c:v>-1.894092069</c:v>
                      </c:pt>
                      <c:pt idx="3805">
                        <c:v>-1.8940779889999999</c:v>
                      </c:pt>
                      <c:pt idx="3806">
                        <c:v>-1.894004775</c:v>
                      </c:pt>
                      <c:pt idx="3807">
                        <c:v>-1.8936414260000001</c:v>
                      </c:pt>
                      <c:pt idx="3808">
                        <c:v>-1.8936263280000001</c:v>
                      </c:pt>
                      <c:pt idx="3809">
                        <c:v>-1.8936262189999999</c:v>
                      </c:pt>
                      <c:pt idx="3810">
                        <c:v>-1.893597274</c:v>
                      </c:pt>
                      <c:pt idx="3811">
                        <c:v>-1.8935686700000001</c:v>
                      </c:pt>
                      <c:pt idx="3812">
                        <c:v>-1.8935682119999999</c:v>
                      </c:pt>
                      <c:pt idx="3813">
                        <c:v>-1.893524969</c:v>
                      </c:pt>
                      <c:pt idx="3814">
                        <c:v>-1.8935106639999999</c:v>
                      </c:pt>
                      <c:pt idx="3815">
                        <c:v>-1.893495565</c:v>
                      </c:pt>
                      <c:pt idx="3816">
                        <c:v>-1.8934668459999999</c:v>
                      </c:pt>
                      <c:pt idx="3817">
                        <c:v>-1.89343745</c:v>
                      </c:pt>
                      <c:pt idx="3818">
                        <c:v>-1.893422693</c:v>
                      </c:pt>
                      <c:pt idx="3819">
                        <c:v>-1.893408046</c:v>
                      </c:pt>
                      <c:pt idx="3820">
                        <c:v>-1.893393748</c:v>
                      </c:pt>
                      <c:pt idx="3821">
                        <c:v>-1.8933794429999999</c:v>
                      </c:pt>
                      <c:pt idx="3822">
                        <c:v>-1.8933499300000001</c:v>
                      </c:pt>
                      <c:pt idx="3823">
                        <c:v>-1.8933357420000001</c:v>
                      </c:pt>
                      <c:pt idx="3824">
                        <c:v>-1.8933067960000001</c:v>
                      </c:pt>
                      <c:pt idx="3825">
                        <c:v>-1.893271266</c:v>
                      </c:pt>
                      <c:pt idx="3826">
                        <c:v>-1.8932481130000001</c:v>
                      </c:pt>
                      <c:pt idx="3827">
                        <c:v>-1.893233808</c:v>
                      </c:pt>
                      <c:pt idx="3828">
                        <c:v>-1.89321951</c:v>
                      </c:pt>
                      <c:pt idx="3829">
                        <c:v>-1.893204412</c:v>
                      </c:pt>
                      <c:pt idx="3830">
                        <c:v>-1.893190106</c:v>
                      </c:pt>
                      <c:pt idx="3831">
                        <c:v>-1.8931758089999999</c:v>
                      </c:pt>
                      <c:pt idx="3832">
                        <c:v>-1.8931753499999999</c:v>
                      </c:pt>
                      <c:pt idx="3833">
                        <c:v>-1.893146405</c:v>
                      </c:pt>
                      <c:pt idx="3834">
                        <c:v>-1.893132107</c:v>
                      </c:pt>
                      <c:pt idx="3835">
                        <c:v>-1.8931168920000001</c:v>
                      </c:pt>
                      <c:pt idx="3836">
                        <c:v>-1.8930884059999999</c:v>
                      </c:pt>
                      <c:pt idx="3837">
                        <c:v>-1.8930741</c:v>
                      </c:pt>
                      <c:pt idx="3838">
                        <c:v>-1.893059002</c:v>
                      </c:pt>
                      <c:pt idx="3839">
                        <c:v>-1.8930302830000001</c:v>
                      </c:pt>
                      <c:pt idx="3840">
                        <c:v>-1.8929865809999999</c:v>
                      </c:pt>
                      <c:pt idx="3841">
                        <c:v>-1.892957636</c:v>
                      </c:pt>
                      <c:pt idx="3842">
                        <c:v>-1.892913367</c:v>
                      </c:pt>
                      <c:pt idx="3843">
                        <c:v>-1.8928845379999999</c:v>
                      </c:pt>
                      <c:pt idx="3844">
                        <c:v>-1.892870233</c:v>
                      </c:pt>
                      <c:pt idx="3845">
                        <c:v>-1.892855135</c:v>
                      </c:pt>
                      <c:pt idx="3846">
                        <c:v>-1.8928408370000001</c:v>
                      </c:pt>
                      <c:pt idx="3847">
                        <c:v>-1.892826532</c:v>
                      </c:pt>
                      <c:pt idx="3848">
                        <c:v>-1.892796903</c:v>
                      </c:pt>
                      <c:pt idx="3849">
                        <c:v>-1.8927826050000001</c:v>
                      </c:pt>
                      <c:pt idx="3850">
                        <c:v>-1.8927532010000001</c:v>
                      </c:pt>
                      <c:pt idx="3851">
                        <c:v>-1.892724147</c:v>
                      </c:pt>
                      <c:pt idx="3852">
                        <c:v>-1.8927098419999999</c:v>
                      </c:pt>
                      <c:pt idx="3853">
                        <c:v>-1.8926803290000001</c:v>
                      </c:pt>
                      <c:pt idx="3854">
                        <c:v>-1.89266614</c:v>
                      </c:pt>
                      <c:pt idx="3855">
                        <c:v>-1.892651842</c:v>
                      </c:pt>
                      <c:pt idx="3856">
                        <c:v>-1.892636744</c:v>
                      </c:pt>
                      <c:pt idx="3857">
                        <c:v>-1.892636628</c:v>
                      </c:pt>
                      <c:pt idx="3858">
                        <c:v>-1.892608141</c:v>
                      </c:pt>
                      <c:pt idx="3859">
                        <c:v>-1.892578621</c:v>
                      </c:pt>
                      <c:pt idx="3860">
                        <c:v>-1.892564323</c:v>
                      </c:pt>
                      <c:pt idx="3861">
                        <c:v>-1.8925500179999999</c:v>
                      </c:pt>
                      <c:pt idx="3862">
                        <c:v>-1.8925495670000001</c:v>
                      </c:pt>
                      <c:pt idx="3863">
                        <c:v>-1.892534919</c:v>
                      </c:pt>
                      <c:pt idx="3864">
                        <c:v>-1.8925348099999999</c:v>
                      </c:pt>
                      <c:pt idx="3865">
                        <c:v>-1.8925206219999999</c:v>
                      </c:pt>
                      <c:pt idx="3866">
                        <c:v>-1.892389517</c:v>
                      </c:pt>
                      <c:pt idx="3867">
                        <c:v>-1.8923603389999999</c:v>
                      </c:pt>
                      <c:pt idx="3868">
                        <c:v>-1.892273053</c:v>
                      </c:pt>
                      <c:pt idx="3869">
                        <c:v>-1.8922293509999999</c:v>
                      </c:pt>
                      <c:pt idx="3870">
                        <c:v>-1.8922000640000001</c:v>
                      </c:pt>
                      <c:pt idx="3871">
                        <c:v>-1.892171577</c:v>
                      </c:pt>
                      <c:pt idx="3872">
                        <c:v>-1.8921571559999999</c:v>
                      </c:pt>
                      <c:pt idx="3873">
                        <c:v>-1.892156588</c:v>
                      </c:pt>
                      <c:pt idx="3874">
                        <c:v>-1.892113454</c:v>
                      </c:pt>
                      <c:pt idx="3875">
                        <c:v>-1.892098356</c:v>
                      </c:pt>
                      <c:pt idx="3876">
                        <c:v>-1.892084058</c:v>
                      </c:pt>
                      <c:pt idx="3877">
                        <c:v>-1.891982008</c:v>
                      </c:pt>
                      <c:pt idx="3878">
                        <c:v>-1.8918800739999999</c:v>
                      </c:pt>
                      <c:pt idx="3879">
                        <c:v>-1.89185102</c:v>
                      </c:pt>
                      <c:pt idx="3880">
                        <c:v>-1.891822417</c:v>
                      </c:pt>
                      <c:pt idx="3881">
                        <c:v>-1.8918072020000001</c:v>
                      </c:pt>
                      <c:pt idx="3882">
                        <c:v>-1.891793013</c:v>
                      </c:pt>
                      <c:pt idx="3883">
                        <c:v>-1.8917636170000001</c:v>
                      </c:pt>
                      <c:pt idx="3884">
                        <c:v>-1.891735014</c:v>
                      </c:pt>
                      <c:pt idx="3885">
                        <c:v>-1.8917205930000001</c:v>
                      </c:pt>
                      <c:pt idx="3886">
                        <c:v>-1.8917055009999999</c:v>
                      </c:pt>
                      <c:pt idx="3887">
                        <c:v>-1.891691196</c:v>
                      </c:pt>
                      <c:pt idx="3888">
                        <c:v>-1.891560543</c:v>
                      </c:pt>
                      <c:pt idx="3889">
                        <c:v>-1.891545445</c:v>
                      </c:pt>
                      <c:pt idx="3890">
                        <c:v>-1.891531147</c:v>
                      </c:pt>
                      <c:pt idx="3891">
                        <c:v>-1.891502311</c:v>
                      </c:pt>
                      <c:pt idx="3892">
                        <c:v>-1.8914872199999999</c:v>
                      </c:pt>
                      <c:pt idx="3893">
                        <c:v>-1.891429555</c:v>
                      </c:pt>
                      <c:pt idx="3894">
                        <c:v>-1.891414457</c:v>
                      </c:pt>
                      <c:pt idx="3895">
                        <c:v>-1.8914001519999999</c:v>
                      </c:pt>
                      <c:pt idx="3896">
                        <c:v>-1.8913858539999999</c:v>
                      </c:pt>
                      <c:pt idx="3897">
                        <c:v>-1.891342152</c:v>
                      </c:pt>
                      <c:pt idx="3898">
                        <c:v>-1.8913416940000001</c:v>
                      </c:pt>
                      <c:pt idx="3899">
                        <c:v>-1.891327054</c:v>
                      </c:pt>
                      <c:pt idx="3900">
                        <c:v>-1.8913127489999999</c:v>
                      </c:pt>
                      <c:pt idx="3901">
                        <c:v>-1.8912984509999999</c:v>
                      </c:pt>
                      <c:pt idx="3902">
                        <c:v>-1.8912840289999999</c:v>
                      </c:pt>
                      <c:pt idx="3903">
                        <c:v>-1.8912834620000001</c:v>
                      </c:pt>
                      <c:pt idx="3904">
                        <c:v>-1.8912689380000001</c:v>
                      </c:pt>
                      <c:pt idx="3905">
                        <c:v>-1.891254633</c:v>
                      </c:pt>
                      <c:pt idx="3906">
                        <c:v>-1.8912544069999999</c:v>
                      </c:pt>
                      <c:pt idx="3907">
                        <c:v>-1.8912403280000001</c:v>
                      </c:pt>
                      <c:pt idx="3908">
                        <c:v>-1.891225229</c:v>
                      </c:pt>
                      <c:pt idx="3909">
                        <c:v>-1.8911815279999999</c:v>
                      </c:pt>
                      <c:pt idx="3910">
                        <c:v>-1.891123871</c:v>
                      </c:pt>
                      <c:pt idx="3911">
                        <c:v>-1.8910801690000001</c:v>
                      </c:pt>
                      <c:pt idx="3912">
                        <c:v>-1.8910657470000001</c:v>
                      </c:pt>
                      <c:pt idx="3913">
                        <c:v>-1.890774368</c:v>
                      </c:pt>
                      <c:pt idx="3914">
                        <c:v>-1.890774143</c:v>
                      </c:pt>
                      <c:pt idx="3915">
                        <c:v>-1.8907600630000001</c:v>
                      </c:pt>
                      <c:pt idx="3916">
                        <c:v>-1.8907449650000001</c:v>
                      </c:pt>
                      <c:pt idx="3917">
                        <c:v>-1.8907448549999999</c:v>
                      </c:pt>
                      <c:pt idx="3918">
                        <c:v>-1.890628617</c:v>
                      </c:pt>
                      <c:pt idx="3919">
                        <c:v>-1.8905703920000001</c:v>
                      </c:pt>
                      <c:pt idx="3920">
                        <c:v>-1.890512269</c:v>
                      </c:pt>
                      <c:pt idx="3921">
                        <c:v>-1.890381281</c:v>
                      </c:pt>
                      <c:pt idx="3922">
                        <c:v>-1.890323048</c:v>
                      </c:pt>
                      <c:pt idx="3923">
                        <c:v>-1.890308401</c:v>
                      </c:pt>
                      <c:pt idx="3924">
                        <c:v>-1.8902797979999999</c:v>
                      </c:pt>
                      <c:pt idx="3925">
                        <c:v>-1.890265042</c:v>
                      </c:pt>
                      <c:pt idx="3926">
                        <c:v>-1.890250744</c:v>
                      </c:pt>
                      <c:pt idx="3927">
                        <c:v>-1.8902213400000001</c:v>
                      </c:pt>
                      <c:pt idx="3928">
                        <c:v>-1.8900757050000001</c:v>
                      </c:pt>
                      <c:pt idx="3929">
                        <c:v>-1.889784777</c:v>
                      </c:pt>
                      <c:pt idx="3930">
                        <c:v>-1.889784551</c:v>
                      </c:pt>
                      <c:pt idx="3931">
                        <c:v>-1.8895808009999999</c:v>
                      </c:pt>
                      <c:pt idx="3932">
                        <c:v>-1.889522685</c:v>
                      </c:pt>
                      <c:pt idx="3933">
                        <c:v>-1.8895083800000001</c:v>
                      </c:pt>
                      <c:pt idx="3934">
                        <c:v>-1.8895081540000001</c:v>
                      </c:pt>
                      <c:pt idx="3935">
                        <c:v>-1.8894935070000001</c:v>
                      </c:pt>
                      <c:pt idx="3936">
                        <c:v>-1.889464678</c:v>
                      </c:pt>
                      <c:pt idx="3937">
                        <c:v>-1.889435282</c:v>
                      </c:pt>
                      <c:pt idx="3938">
                        <c:v>-1.8894066709999999</c:v>
                      </c:pt>
                      <c:pt idx="3939">
                        <c:v>-1.889391915</c:v>
                      </c:pt>
                      <c:pt idx="3940">
                        <c:v>-1.8893625190000001</c:v>
                      </c:pt>
                      <c:pt idx="3941">
                        <c:v>-1.889348214</c:v>
                      </c:pt>
                      <c:pt idx="3942">
                        <c:v>-1.889333916</c:v>
                      </c:pt>
                      <c:pt idx="3943">
                        <c:v>-1.8892899809999999</c:v>
                      </c:pt>
                      <c:pt idx="3944">
                        <c:v>-1.8892607020000001</c:v>
                      </c:pt>
                      <c:pt idx="3945">
                        <c:v>-1.8892461709999999</c:v>
                      </c:pt>
                      <c:pt idx="3946">
                        <c:v>-1.8891588770000001</c:v>
                      </c:pt>
                      <c:pt idx="3947">
                        <c:v>-1.8890569429999999</c:v>
                      </c:pt>
                      <c:pt idx="3948">
                        <c:v>-1.8890278890000001</c:v>
                      </c:pt>
                      <c:pt idx="3949">
                        <c:v>-1.888998602</c:v>
                      </c:pt>
                      <c:pt idx="3950">
                        <c:v>-1.8888391200000001</c:v>
                      </c:pt>
                      <c:pt idx="3951">
                        <c:v>-1.8888386619999999</c:v>
                      </c:pt>
                      <c:pt idx="3952">
                        <c:v>-1.8888241379999999</c:v>
                      </c:pt>
                      <c:pt idx="3953">
                        <c:v>-1.8888101749999999</c:v>
                      </c:pt>
                      <c:pt idx="3954">
                        <c:v>-1.8887950769999999</c:v>
                      </c:pt>
                      <c:pt idx="3955">
                        <c:v>-1.8887806620000001</c:v>
                      </c:pt>
                      <c:pt idx="3956">
                        <c:v>-1.888634911</c:v>
                      </c:pt>
                      <c:pt idx="3957">
                        <c:v>-1.888475087</c:v>
                      </c:pt>
                      <c:pt idx="3958">
                        <c:v>-1.8884603310000001</c:v>
                      </c:pt>
                      <c:pt idx="3959">
                        <c:v>-1.8884462580000001</c:v>
                      </c:pt>
                      <c:pt idx="3960">
                        <c:v>-1.888402557</c:v>
                      </c:pt>
                      <c:pt idx="3961">
                        <c:v>-1.888373495</c:v>
                      </c:pt>
                      <c:pt idx="3962">
                        <c:v>-1.888358397</c:v>
                      </c:pt>
                      <c:pt idx="3963">
                        <c:v>-1.888344099</c:v>
                      </c:pt>
                      <c:pt idx="3964">
                        <c:v>-1.8883297939999999</c:v>
                      </c:pt>
                      <c:pt idx="3965">
                        <c:v>-1.8883145859999999</c:v>
                      </c:pt>
                      <c:pt idx="3966">
                        <c:v>-1.8883003979999999</c:v>
                      </c:pt>
                      <c:pt idx="3967">
                        <c:v>-1.888286092</c:v>
                      </c:pt>
                      <c:pt idx="3968">
                        <c:v>-1.8882857500000001</c:v>
                      </c:pt>
                      <c:pt idx="3969">
                        <c:v>-1.8882423909999999</c:v>
                      </c:pt>
                      <c:pt idx="3970">
                        <c:v>-1.8882279769999999</c:v>
                      </c:pt>
                      <c:pt idx="3971">
                        <c:v>-1.888212878</c:v>
                      </c:pt>
                      <c:pt idx="3972">
                        <c:v>-1.8881985729999999</c:v>
                      </c:pt>
                      <c:pt idx="3973">
                        <c:v>-1.8881983470000001</c:v>
                      </c:pt>
                      <c:pt idx="3974">
                        <c:v>-1.888169293</c:v>
                      </c:pt>
                      <c:pt idx="3975">
                        <c:v>-1.888096872</c:v>
                      </c:pt>
                      <c:pt idx="3976">
                        <c:v>-1.888067927</c:v>
                      </c:pt>
                      <c:pt idx="3977">
                        <c:v>-1.8880385239999999</c:v>
                      </c:pt>
                      <c:pt idx="3978">
                        <c:v>-1.888023767</c:v>
                      </c:pt>
                      <c:pt idx="3979">
                        <c:v>-1.888009695</c:v>
                      </c:pt>
                      <c:pt idx="3980">
                        <c:v>-1.8879945970000001</c:v>
                      </c:pt>
                      <c:pt idx="3981">
                        <c:v>-1.887965535</c:v>
                      </c:pt>
                      <c:pt idx="3982">
                        <c:v>-1.8878202420000001</c:v>
                      </c:pt>
                      <c:pt idx="3983">
                        <c:v>-1.887805486</c:v>
                      </c:pt>
                      <c:pt idx="3984">
                        <c:v>-1.887791413</c:v>
                      </c:pt>
                      <c:pt idx="3985">
                        <c:v>-1.887776315</c:v>
                      </c:pt>
                      <c:pt idx="3986">
                        <c:v>-1.8877477119999999</c:v>
                      </c:pt>
                      <c:pt idx="3987">
                        <c:v>-1.887718308</c:v>
                      </c:pt>
                      <c:pt idx="3988">
                        <c:v>-1.88770401</c:v>
                      </c:pt>
                      <c:pt idx="3989">
                        <c:v>-1.8876456619999999</c:v>
                      </c:pt>
                      <c:pt idx="3990">
                        <c:v>-1.887631364</c:v>
                      </c:pt>
                      <c:pt idx="3991">
                        <c:v>-1.887573132</c:v>
                      </c:pt>
                      <c:pt idx="3992">
                        <c:v>-1.887543728</c:v>
                      </c:pt>
                      <c:pt idx="3993">
                        <c:v>-1.8875003690000001</c:v>
                      </c:pt>
                      <c:pt idx="3994">
                        <c:v>-1.88748527</c:v>
                      </c:pt>
                      <c:pt idx="3995">
                        <c:v>-1.887470972</c:v>
                      </c:pt>
                      <c:pt idx="3996">
                        <c:v>-1.88744146</c:v>
                      </c:pt>
                      <c:pt idx="3997">
                        <c:v>-1.887427271</c:v>
                      </c:pt>
                      <c:pt idx="3998">
                        <c:v>-1.8874271540000001</c:v>
                      </c:pt>
                      <c:pt idx="3999">
                        <c:v>-1.8874129660000001</c:v>
                      </c:pt>
                      <c:pt idx="4000">
                        <c:v>-1.887397867</c:v>
                      </c:pt>
                      <c:pt idx="4001">
                        <c:v>-1.8870633539999999</c:v>
                      </c:pt>
                      <c:pt idx="4002">
                        <c:v>-1.886961304</c:v>
                      </c:pt>
                      <c:pt idx="4003">
                        <c:v>-1.886903188</c:v>
                      </c:pt>
                      <c:pt idx="4004">
                        <c:v>-1.8868888829999999</c:v>
                      </c:pt>
                      <c:pt idx="4005">
                        <c:v>-1.8868594869999999</c:v>
                      </c:pt>
                      <c:pt idx="4006">
                        <c:v>-1.8868304250000001</c:v>
                      </c:pt>
                      <c:pt idx="4007">
                        <c:v>-1.8868159019999999</c:v>
                      </c:pt>
                      <c:pt idx="4008">
                        <c:v>-1.8866703760000001</c:v>
                      </c:pt>
                      <c:pt idx="4009">
                        <c:v>-1.8866563030000001</c:v>
                      </c:pt>
                      <c:pt idx="4010">
                        <c:v>-1.8866412050000001</c:v>
                      </c:pt>
                      <c:pt idx="4011">
                        <c:v>-1.8866272420000001</c:v>
                      </c:pt>
                      <c:pt idx="4012">
                        <c:v>-1.8865978459999999</c:v>
                      </c:pt>
                      <c:pt idx="4013">
                        <c:v>-1.8865835399999999</c:v>
                      </c:pt>
                      <c:pt idx="4014">
                        <c:v>-1.8865830889999999</c:v>
                      </c:pt>
                      <c:pt idx="4015">
                        <c:v>-1.886554144</c:v>
                      </c:pt>
                      <c:pt idx="4016">
                        <c:v>-1.8865398390000001</c:v>
                      </c:pt>
                      <c:pt idx="4017">
                        <c:v>-1.8865104429999999</c:v>
                      </c:pt>
                      <c:pt idx="4018">
                        <c:v>-1.8864817229999999</c:v>
                      </c:pt>
                      <c:pt idx="4019">
                        <c:v>-1.8864523200000001</c:v>
                      </c:pt>
                      <c:pt idx="4020">
                        <c:v>-1.886422923</c:v>
                      </c:pt>
                      <c:pt idx="4021">
                        <c:v>-1.8864086179999999</c:v>
                      </c:pt>
                      <c:pt idx="4022">
                        <c:v>-1.886379222</c:v>
                      </c:pt>
                      <c:pt idx="4023">
                        <c:v>-1.8863506189999999</c:v>
                      </c:pt>
                      <c:pt idx="4024">
                        <c:v>-1.8863359719999999</c:v>
                      </c:pt>
                      <c:pt idx="4025">
                        <c:v>-1.8863216739999999</c:v>
                      </c:pt>
                      <c:pt idx="4026">
                        <c:v>-1.886292045</c:v>
                      </c:pt>
                      <c:pt idx="4027">
                        <c:v>-1.8862776299999999</c:v>
                      </c:pt>
                      <c:pt idx="4028">
                        <c:v>-1.886263325</c:v>
                      </c:pt>
                      <c:pt idx="4029">
                        <c:v>-1.886262874</c:v>
                      </c:pt>
                      <c:pt idx="4030">
                        <c:v>-1.886248234</c:v>
                      </c:pt>
                      <c:pt idx="4031">
                        <c:v>-1.8862339290000001</c:v>
                      </c:pt>
                      <c:pt idx="4032">
                        <c:v>-1.886233812</c:v>
                      </c:pt>
                      <c:pt idx="4033">
                        <c:v>-1.886219624</c:v>
                      </c:pt>
                      <c:pt idx="4034">
                        <c:v>-1.886190679</c:v>
                      </c:pt>
                      <c:pt idx="4035">
                        <c:v>-1.88617558</c:v>
                      </c:pt>
                      <c:pt idx="4036">
                        <c:v>-1.886161282</c:v>
                      </c:pt>
                      <c:pt idx="4037">
                        <c:v>-1.8860880680000001</c:v>
                      </c:pt>
                      <c:pt idx="4038">
                        <c:v>-1.886059232</c:v>
                      </c:pt>
                      <c:pt idx="4039">
                        <c:v>-1.8860300619999999</c:v>
                      </c:pt>
                      <c:pt idx="4040">
                        <c:v>-1.886001</c:v>
                      </c:pt>
                      <c:pt idx="4041">
                        <c:v>-1.8861763760000001</c:v>
                      </c:pt>
                      <c:pt idx="4042">
                        <c:v>-1.886437562</c:v>
                      </c:pt>
                      <c:pt idx="4043">
                        <c:v>-1.886481155</c:v>
                      </c:pt>
                      <c:pt idx="4044">
                        <c:v>-1.8865250760000001</c:v>
                      </c:pt>
                      <c:pt idx="4045">
                        <c:v>-1.8868305320000001</c:v>
                      </c:pt>
                      <c:pt idx="4046">
                        <c:v>-1.886872772</c:v>
                      </c:pt>
                      <c:pt idx="4047">
                        <c:v>-1.8869183949999999</c:v>
                      </c:pt>
                      <c:pt idx="4048">
                        <c:v>-1.886960634</c:v>
                      </c:pt>
                      <c:pt idx="4049">
                        <c:v>-1.8870488240000001</c:v>
                      </c:pt>
                      <c:pt idx="4050">
                        <c:v>-1.8870920680000001</c:v>
                      </c:pt>
                      <c:pt idx="4051">
                        <c:v>-1.887134984</c:v>
                      </c:pt>
                      <c:pt idx="4052">
                        <c:v>-1.8872664180000001</c:v>
                      </c:pt>
                      <c:pt idx="4053">
                        <c:v>-1.887309334</c:v>
                      </c:pt>
                      <c:pt idx="4054">
                        <c:v>-1.8873546299999999</c:v>
                      </c:pt>
                      <c:pt idx="4055">
                        <c:v>-1.8873975460000001</c:v>
                      </c:pt>
                      <c:pt idx="4056">
                        <c:v>-1.8873982229999999</c:v>
                      </c:pt>
                      <c:pt idx="4057">
                        <c:v>-1.8874857359999999</c:v>
                      </c:pt>
                      <c:pt idx="4058">
                        <c:v>-1.8875286520000001</c:v>
                      </c:pt>
                      <c:pt idx="4059">
                        <c:v>-1.8875715470000001</c:v>
                      </c:pt>
                      <c:pt idx="4060">
                        <c:v>-1.8876158160000001</c:v>
                      </c:pt>
                      <c:pt idx="4061">
                        <c:v>-1.8876587330000001</c:v>
                      </c:pt>
                      <c:pt idx="4062">
                        <c:v>-1.8876600859999999</c:v>
                      </c:pt>
                      <c:pt idx="4063">
                        <c:v>-1.8877040279999999</c:v>
                      </c:pt>
                      <c:pt idx="4064">
                        <c:v>-1.8877469229999999</c:v>
                      </c:pt>
                      <c:pt idx="4065">
                        <c:v>-1.887833082</c:v>
                      </c:pt>
                      <c:pt idx="4066">
                        <c:v>-1.8878783779999999</c:v>
                      </c:pt>
                      <c:pt idx="4067">
                        <c:v>-1.8879216219999999</c:v>
                      </c:pt>
                      <c:pt idx="4068">
                        <c:v>-1.8879645380000001</c:v>
                      </c:pt>
                      <c:pt idx="4069">
                        <c:v>-1.8881395649999999</c:v>
                      </c:pt>
                      <c:pt idx="4070">
                        <c:v>-1.8881402410000001</c:v>
                      </c:pt>
                      <c:pt idx="4071">
                        <c:v>-1.8882706709999999</c:v>
                      </c:pt>
                      <c:pt idx="4072">
                        <c:v>-1.8883135870000001</c:v>
                      </c:pt>
                      <c:pt idx="4073">
                        <c:v>-1.888358883</c:v>
                      </c:pt>
                      <c:pt idx="4074">
                        <c:v>-1.8884017769999999</c:v>
                      </c:pt>
                      <c:pt idx="4075">
                        <c:v>-1.8884446930000001</c:v>
                      </c:pt>
                      <c:pt idx="4076">
                        <c:v>-1.8884879370000001</c:v>
                      </c:pt>
                      <c:pt idx="4077">
                        <c:v>-1.8885761270000001</c:v>
                      </c:pt>
                      <c:pt idx="4078">
                        <c:v>-1.8886190430000001</c:v>
                      </c:pt>
                      <c:pt idx="4079">
                        <c:v>-1.888620397</c:v>
                      </c:pt>
                      <c:pt idx="4080">
                        <c:v>-1.8887072549999999</c:v>
                      </c:pt>
                      <c:pt idx="4081">
                        <c:v>-1.8887501499999999</c:v>
                      </c:pt>
                      <c:pt idx="4082">
                        <c:v>-1.888795445</c:v>
                      </c:pt>
                      <c:pt idx="4083">
                        <c:v>-1.888883308</c:v>
                      </c:pt>
                      <c:pt idx="4084">
                        <c:v>-1.8889684419999999</c:v>
                      </c:pt>
                      <c:pt idx="4085">
                        <c:v>-1.889013737</c:v>
                      </c:pt>
                      <c:pt idx="4086">
                        <c:v>-1.889100574</c:v>
                      </c:pt>
                      <c:pt idx="4087">
                        <c:v>-1.889581057</c:v>
                      </c:pt>
                      <c:pt idx="4088">
                        <c:v>-1.889668592</c:v>
                      </c:pt>
                      <c:pt idx="4089">
                        <c:v>-1.889711487</c:v>
                      </c:pt>
                      <c:pt idx="4090">
                        <c:v>-1.8898000260000001</c:v>
                      </c:pt>
                      <c:pt idx="4091">
                        <c:v>-1.889842942</c:v>
                      </c:pt>
                      <c:pt idx="4092">
                        <c:v>-1.889886186</c:v>
                      </c:pt>
                      <c:pt idx="4093">
                        <c:v>-1.889973699</c:v>
                      </c:pt>
                      <c:pt idx="4094">
                        <c:v>-1.890061212</c:v>
                      </c:pt>
                      <c:pt idx="4095">
                        <c:v>-1.890104805</c:v>
                      </c:pt>
                      <c:pt idx="4096">
                        <c:v>-1.890147045</c:v>
                      </c:pt>
                      <c:pt idx="4097">
                        <c:v>-1.8902362610000001</c:v>
                      </c:pt>
                      <c:pt idx="4098">
                        <c:v>-1.890279177</c:v>
                      </c:pt>
                      <c:pt idx="4099">
                        <c:v>-1.8902795050000001</c:v>
                      </c:pt>
                      <c:pt idx="4100">
                        <c:v>-1.8903673670000001</c:v>
                      </c:pt>
                      <c:pt idx="4101">
                        <c:v>-1.890410283</c:v>
                      </c:pt>
                      <c:pt idx="4102">
                        <c:v>-1.8904984730000001</c:v>
                      </c:pt>
                      <c:pt idx="4103">
                        <c:v>-1.890628226</c:v>
                      </c:pt>
                      <c:pt idx="4104">
                        <c:v>-1.8907160670000001</c:v>
                      </c:pt>
                      <c:pt idx="4105">
                        <c:v>-1.8907600090000001</c:v>
                      </c:pt>
                      <c:pt idx="4106">
                        <c:v>-1.8908900900000001</c:v>
                      </c:pt>
                      <c:pt idx="4107">
                        <c:v>-1.890933006</c:v>
                      </c:pt>
                      <c:pt idx="4108">
                        <c:v>-1.8909783010000001</c:v>
                      </c:pt>
                      <c:pt idx="4109">
                        <c:v>-1.8910211960000001</c:v>
                      </c:pt>
                      <c:pt idx="4110">
                        <c:v>-1.8910651380000001</c:v>
                      </c:pt>
                      <c:pt idx="4111">
                        <c:v>-1.8910654659999999</c:v>
                      </c:pt>
                      <c:pt idx="4112">
                        <c:v>-1.8911526510000001</c:v>
                      </c:pt>
                      <c:pt idx="4113">
                        <c:v>-1.8911965719999999</c:v>
                      </c:pt>
                      <c:pt idx="4114">
                        <c:v>-1.8912834080000001</c:v>
                      </c:pt>
                      <c:pt idx="4115">
                        <c:v>-1.8913280269999999</c:v>
                      </c:pt>
                      <c:pt idx="4116">
                        <c:v>-1.8913709219999999</c:v>
                      </c:pt>
                      <c:pt idx="4117">
                        <c:v>-1.8914148639999999</c:v>
                      </c:pt>
                      <c:pt idx="4118">
                        <c:v>-1.8914577800000001</c:v>
                      </c:pt>
                      <c:pt idx="4119">
                        <c:v>-1.891502727</c:v>
                      </c:pt>
                      <c:pt idx="4120">
                        <c:v>-1.8915449440000001</c:v>
                      </c:pt>
                      <c:pt idx="4121">
                        <c:v>-1.89158786</c:v>
                      </c:pt>
                      <c:pt idx="4122">
                        <c:v>-1.8917199929999999</c:v>
                      </c:pt>
                      <c:pt idx="4123">
                        <c:v>-1.8917203199999999</c:v>
                      </c:pt>
                      <c:pt idx="4124">
                        <c:v>-1.8917625600000001</c:v>
                      </c:pt>
                      <c:pt idx="4125">
                        <c:v>-1.8918507499999999</c:v>
                      </c:pt>
                      <c:pt idx="4126">
                        <c:v>-1.8918936660000001</c:v>
                      </c:pt>
                      <c:pt idx="4127">
                        <c:v>-1.892288338</c:v>
                      </c:pt>
                      <c:pt idx="4128">
                        <c:v>-1.892419444</c:v>
                      </c:pt>
                      <c:pt idx="4129">
                        <c:v>-1.892812436</c:v>
                      </c:pt>
                      <c:pt idx="4130">
                        <c:v>-1.894513761</c:v>
                      </c:pt>
                      <c:pt idx="4131">
                        <c:v>-1.8946887880000001</c:v>
                      </c:pt>
                      <c:pt idx="4132">
                        <c:v>-1.8951256999999999</c:v>
                      </c:pt>
                      <c:pt idx="4133">
                        <c:v>-1.8952125360000001</c:v>
                      </c:pt>
                      <c:pt idx="4134">
                        <c:v>-1.8953433150000001</c:v>
                      </c:pt>
                      <c:pt idx="4135">
                        <c:v>-1.8953436429999999</c:v>
                      </c:pt>
                      <c:pt idx="4136">
                        <c:v>-1.895516988</c:v>
                      </c:pt>
                      <c:pt idx="4137">
                        <c:v>-1.8955183419999999</c:v>
                      </c:pt>
                      <c:pt idx="4138">
                        <c:v>-1.8955622839999999</c:v>
                      </c:pt>
                      <c:pt idx="4139">
                        <c:v>-1.8956491209999999</c:v>
                      </c:pt>
                      <c:pt idx="4140">
                        <c:v>-1.8956916880000001</c:v>
                      </c:pt>
                      <c:pt idx="4141">
                        <c:v>-1.8956930409999999</c:v>
                      </c:pt>
                      <c:pt idx="4142">
                        <c:v>-1.896086709</c:v>
                      </c:pt>
                      <c:pt idx="4143">
                        <c:v>-1.896304303</c:v>
                      </c:pt>
                      <c:pt idx="4144">
                        <c:v>-1.896392165</c:v>
                      </c:pt>
                      <c:pt idx="4145">
                        <c:v>-1.896435409</c:v>
                      </c:pt>
                      <c:pt idx="4146">
                        <c:v>-1.896653701</c:v>
                      </c:pt>
                      <c:pt idx="4147">
                        <c:v>-1.8970013969999999</c:v>
                      </c:pt>
                      <c:pt idx="4148">
                        <c:v>-1.897133857</c:v>
                      </c:pt>
                      <c:pt idx="4149">
                        <c:v>-1.897396418</c:v>
                      </c:pt>
                      <c:pt idx="4150">
                        <c:v>-1.897438636</c:v>
                      </c:pt>
                      <c:pt idx="4151">
                        <c:v>-1.8974815519999999</c:v>
                      </c:pt>
                      <c:pt idx="4152">
                        <c:v>-1.897526826</c:v>
                      </c:pt>
                      <c:pt idx="4153">
                        <c:v>-1.897919468</c:v>
                      </c:pt>
                      <c:pt idx="4154">
                        <c:v>-1.8979637380000001</c:v>
                      </c:pt>
                      <c:pt idx="4155">
                        <c:v>-1.898006654</c:v>
                      </c:pt>
                      <c:pt idx="4156">
                        <c:v>-1.898093491</c:v>
                      </c:pt>
                      <c:pt idx="4157">
                        <c:v>-1.8981387860000001</c:v>
                      </c:pt>
                      <c:pt idx="4158">
                        <c:v>-1.8982252740000001</c:v>
                      </c:pt>
                      <c:pt idx="4159">
                        <c:v>-1.898311106</c:v>
                      </c:pt>
                      <c:pt idx="4160">
                        <c:v>-1.8983563800000001</c:v>
                      </c:pt>
                      <c:pt idx="4161">
                        <c:v>-1.898399296</c:v>
                      </c:pt>
                      <c:pt idx="4162">
                        <c:v>-1.898442213</c:v>
                      </c:pt>
                      <c:pt idx="4163">
                        <c:v>-1.898660483</c:v>
                      </c:pt>
                      <c:pt idx="4164">
                        <c:v>-1.8987061279999999</c:v>
                      </c:pt>
                      <c:pt idx="4165">
                        <c:v>-1.8987483460000001</c:v>
                      </c:pt>
                      <c:pt idx="4166">
                        <c:v>-1.8987936409999999</c:v>
                      </c:pt>
                      <c:pt idx="4167">
                        <c:v>-1.8988365359999999</c:v>
                      </c:pt>
                      <c:pt idx="4168">
                        <c:v>-1.8988794520000001</c:v>
                      </c:pt>
                      <c:pt idx="4169">
                        <c:v>-1.8989237210000001</c:v>
                      </c:pt>
                      <c:pt idx="4170">
                        <c:v>-1.898965961</c:v>
                      </c:pt>
                      <c:pt idx="4171">
                        <c:v>-1.899097067</c:v>
                      </c:pt>
                      <c:pt idx="4172">
                        <c:v>-1.8990984209999999</c:v>
                      </c:pt>
                      <c:pt idx="4173">
                        <c:v>-1.8991856069999999</c:v>
                      </c:pt>
                      <c:pt idx="4174">
                        <c:v>-1.8995785759999999</c:v>
                      </c:pt>
                      <c:pt idx="4175">
                        <c:v>-1.8996647360000001</c:v>
                      </c:pt>
                      <c:pt idx="4176">
                        <c:v>-1.899710032</c:v>
                      </c:pt>
                      <c:pt idx="4177">
                        <c:v>-1.899841465</c:v>
                      </c:pt>
                      <c:pt idx="4178">
                        <c:v>-1.8999701920000001</c:v>
                      </c:pt>
                      <c:pt idx="4179">
                        <c:v>-1.900015837</c:v>
                      </c:pt>
                      <c:pt idx="4180">
                        <c:v>-1.9001023239999999</c:v>
                      </c:pt>
                      <c:pt idx="4181">
                        <c:v>-1.9001452409999999</c:v>
                      </c:pt>
                      <c:pt idx="4182">
                        <c:v>-1.900146245</c:v>
                      </c:pt>
                      <c:pt idx="4183">
                        <c:v>-1.900233431</c:v>
                      </c:pt>
                      <c:pt idx="4184">
                        <c:v>-1.9003216430000001</c:v>
                      </c:pt>
                      <c:pt idx="4185">
                        <c:v>-1.900451374</c:v>
                      </c:pt>
                      <c:pt idx="4186">
                        <c:v>-1.9010626349999999</c:v>
                      </c:pt>
                      <c:pt idx="4187">
                        <c:v>-1.9011511750000001</c:v>
                      </c:pt>
                      <c:pt idx="4188">
                        <c:v>-1.901194091</c:v>
                      </c:pt>
                      <c:pt idx="4189">
                        <c:v>-1.901238011</c:v>
                      </c:pt>
                      <c:pt idx="4190">
                        <c:v>-1.901280928</c:v>
                      </c:pt>
                      <c:pt idx="4191">
                        <c:v>-1.901325546</c:v>
                      </c:pt>
                      <c:pt idx="4192">
                        <c:v>-1.9014130600000001</c:v>
                      </c:pt>
                      <c:pt idx="4193">
                        <c:v>-1.901499896</c:v>
                      </c:pt>
                      <c:pt idx="4194">
                        <c:v>-1.901585707</c:v>
                      </c:pt>
                      <c:pt idx="4195">
                        <c:v>-1.9016310030000001</c:v>
                      </c:pt>
                      <c:pt idx="4196">
                        <c:v>-1.9019804010000001</c:v>
                      </c:pt>
                      <c:pt idx="4197">
                        <c:v>-1.9022855080000001</c:v>
                      </c:pt>
                      <c:pt idx="4198">
                        <c:v>-1.9023291010000001</c:v>
                      </c:pt>
                      <c:pt idx="4199">
                        <c:v>-1.9028092560000001</c:v>
                      </c:pt>
                      <c:pt idx="4200">
                        <c:v>-1.9030718179999999</c:v>
                      </c:pt>
                      <c:pt idx="4201">
                        <c:v>-1.904249745</c:v>
                      </c:pt>
                      <c:pt idx="4202">
                        <c:v>-1.9045998200000001</c:v>
                      </c:pt>
                      <c:pt idx="4203">
                        <c:v>-1.904643063</c:v>
                      </c:pt>
                      <c:pt idx="4204">
                        <c:v>-1.904730926</c:v>
                      </c:pt>
                      <c:pt idx="4205">
                        <c:v>-1.904817413</c:v>
                      </c:pt>
                      <c:pt idx="4206">
                        <c:v>-1.904861683</c:v>
                      </c:pt>
                      <c:pt idx="4207">
                        <c:v>-1.904904927</c:v>
                      </c:pt>
                      <c:pt idx="4208">
                        <c:v>-1.90494852</c:v>
                      </c:pt>
                      <c:pt idx="4209">
                        <c:v>-1.904992789</c:v>
                      </c:pt>
                      <c:pt idx="4210">
                        <c:v>-1.9050357060000001</c:v>
                      </c:pt>
                      <c:pt idx="4211">
                        <c:v>-1.905079626</c:v>
                      </c:pt>
                      <c:pt idx="4212">
                        <c:v>-1.905297918</c:v>
                      </c:pt>
                      <c:pt idx="4213">
                        <c:v>-1.905428675</c:v>
                      </c:pt>
                      <c:pt idx="4214">
                        <c:v>-1.9055168870000001</c:v>
                      </c:pt>
                      <c:pt idx="4215">
                        <c:v>-1.9059098569999999</c:v>
                      </c:pt>
                      <c:pt idx="4216">
                        <c:v>-1.9062592549999999</c:v>
                      </c:pt>
                      <c:pt idx="4217">
                        <c:v>-1.9065647109999999</c:v>
                      </c:pt>
                      <c:pt idx="4218">
                        <c:v>-1.9068265959999999</c:v>
                      </c:pt>
                      <c:pt idx="4219">
                        <c:v>-1.9068694909999999</c:v>
                      </c:pt>
                      <c:pt idx="4220">
                        <c:v>-1.908485682</c:v>
                      </c:pt>
                      <c:pt idx="4221">
                        <c:v>-1.911410579</c:v>
                      </c:pt>
                      <c:pt idx="4222">
                        <c:v>-1.9134619799999999</c:v>
                      </c:pt>
                      <c:pt idx="4223">
                        <c:v>-1.9140735689999999</c:v>
                      </c:pt>
                      <c:pt idx="4224">
                        <c:v>-1.9141171619999999</c:v>
                      </c:pt>
                      <c:pt idx="4225">
                        <c:v>-1.919530698</c:v>
                      </c:pt>
                      <c:pt idx="4226">
                        <c:v>-1.919617535</c:v>
                      </c:pt>
                      <c:pt idx="4227">
                        <c:v>-1.9209715140000001</c:v>
                      </c:pt>
                      <c:pt idx="4228">
                        <c:v>-1.92105835</c:v>
                      </c:pt>
                      <c:pt idx="4229">
                        <c:v>-1.9211026200000001</c:v>
                      </c:pt>
                      <c:pt idx="4230">
                        <c:v>-1.9228918079999999</c:v>
                      </c:pt>
                      <c:pt idx="4231">
                        <c:v>-1.9231100999999999</c:v>
                      </c:pt>
                      <c:pt idx="4232">
                        <c:v>-1.9252500400000001</c:v>
                      </c:pt>
                      <c:pt idx="4233">
                        <c:v>-1.925555846</c:v>
                      </c:pt>
                      <c:pt idx="4234">
                        <c:v>-1.928654721</c:v>
                      </c:pt>
                      <c:pt idx="4235">
                        <c:v>-1.931275842</c:v>
                      </c:pt>
                      <c:pt idx="4236">
                        <c:v>-1.931405246</c:v>
                      </c:pt>
                      <c:pt idx="4237">
                        <c:v>-1.932278393</c:v>
                      </c:pt>
                      <c:pt idx="4238">
                        <c:v>-1.932714955</c:v>
                      </c:pt>
                      <c:pt idx="4239">
                        <c:v>-1.9338070709999999</c:v>
                      </c:pt>
                      <c:pt idx="4240">
                        <c:v>-1.934810975</c:v>
                      </c:pt>
                      <c:pt idx="4241">
                        <c:v>-1.93847824</c:v>
                      </c:pt>
                      <c:pt idx="4242">
                        <c:v>-1.9409668790000001</c:v>
                      </c:pt>
                      <c:pt idx="4243">
                        <c:v>-1.944416463</c:v>
                      </c:pt>
                      <c:pt idx="4244">
                        <c:v>-1.9472993169999999</c:v>
                      </c:pt>
                      <c:pt idx="4245">
                        <c:v>-1.9478646930000001</c:v>
                      </c:pt>
                      <c:pt idx="4246">
                        <c:v>-1.9479073039999999</c:v>
                      </c:pt>
                      <c:pt idx="4247">
                        <c:v>-1.9480385200000001</c:v>
                      </c:pt>
                      <c:pt idx="4248">
                        <c:v>-1.9489116449999999</c:v>
                      </c:pt>
                      <c:pt idx="4249">
                        <c:v>-1.94904286</c:v>
                      </c:pt>
                      <c:pt idx="4250">
                        <c:v>-1.9526241390000001</c:v>
                      </c:pt>
                      <c:pt idx="4251">
                        <c:v>-1.953235576</c:v>
                      </c:pt>
                      <c:pt idx="4252">
                        <c:v>-1.954938735</c:v>
                      </c:pt>
                      <c:pt idx="4253">
                        <c:v>-1.955462636</c:v>
                      </c:pt>
                      <c:pt idx="4254">
                        <c:v>-1.9576898490000001</c:v>
                      </c:pt>
                      <c:pt idx="4255">
                        <c:v>-1.9588658539999999</c:v>
                      </c:pt>
                      <c:pt idx="4256">
                        <c:v>-1.9590868749999999</c:v>
                      </c:pt>
                      <c:pt idx="4257">
                        <c:v>-1.9620089999999999</c:v>
                      </c:pt>
                      <c:pt idx="4258">
                        <c:v>-1.964585</c:v>
                      </c:pt>
                      <c:pt idx="4259">
                        <c:v>-1.964760031</c:v>
                      </c:pt>
                      <c:pt idx="4260">
                        <c:v>-1.9651523319999999</c:v>
                      </c:pt>
                      <c:pt idx="4261">
                        <c:v>-1.9651967749999999</c:v>
                      </c:pt>
                      <c:pt idx="4262">
                        <c:v>-1.965218396</c:v>
                      </c:pt>
                      <c:pt idx="4263">
                        <c:v>-1.965785565</c:v>
                      </c:pt>
                      <c:pt idx="4264">
                        <c:v>-1.965807361</c:v>
                      </c:pt>
                      <c:pt idx="4265">
                        <c:v>-1.967620879</c:v>
                      </c:pt>
                      <c:pt idx="4266">
                        <c:v>-1.9688197199999999</c:v>
                      </c:pt>
                      <c:pt idx="4267">
                        <c:v>-1.96988915</c:v>
                      </c:pt>
                      <c:pt idx="4268">
                        <c:v>-1.9705021039999999</c:v>
                      </c:pt>
                      <c:pt idx="4269">
                        <c:v>-1.971526415</c:v>
                      </c:pt>
                      <c:pt idx="4270">
                        <c:v>-1.9750408290000001</c:v>
                      </c:pt>
                      <c:pt idx="4271">
                        <c:v>-1.975717457</c:v>
                      </c:pt>
                      <c:pt idx="4272">
                        <c:v>-1.9786427419999999</c:v>
                      </c:pt>
                      <c:pt idx="4273">
                        <c:v>-1.979013913</c:v>
                      </c:pt>
                      <c:pt idx="4274">
                        <c:v>-1.979910179</c:v>
                      </c:pt>
                      <c:pt idx="4275">
                        <c:v>-1.9814817069999999</c:v>
                      </c:pt>
                      <c:pt idx="4276">
                        <c:v>-1.981524098</c:v>
                      </c:pt>
                      <c:pt idx="4277">
                        <c:v>-1.9815680280000001</c:v>
                      </c:pt>
                      <c:pt idx="4278">
                        <c:v>-1.983554144</c:v>
                      </c:pt>
                      <c:pt idx="4279">
                        <c:v>-1.983597397</c:v>
                      </c:pt>
                      <c:pt idx="4280">
                        <c:v>-1.985103539</c:v>
                      </c:pt>
                      <c:pt idx="4281">
                        <c:v>-1.9856509419999999</c:v>
                      </c:pt>
                      <c:pt idx="4282">
                        <c:v>-1.986458496</c:v>
                      </c:pt>
                      <c:pt idx="4283">
                        <c:v>-1.9877245690000001</c:v>
                      </c:pt>
                      <c:pt idx="4284">
                        <c:v>-1.987963285</c:v>
                      </c:pt>
                      <c:pt idx="4285">
                        <c:v>-1.993050569</c:v>
                      </c:pt>
                      <c:pt idx="4286">
                        <c:v>-1.994382192</c:v>
                      </c:pt>
                      <c:pt idx="4287">
                        <c:v>-1.99531967</c:v>
                      </c:pt>
                      <c:pt idx="4288">
                        <c:v>-1.995626305</c:v>
                      </c:pt>
                      <c:pt idx="4289">
                        <c:v>-1.9957354469999999</c:v>
                      </c:pt>
                      <c:pt idx="4290">
                        <c:v>-1.99815846</c:v>
                      </c:pt>
                      <c:pt idx="4291">
                        <c:v>-1.998376734</c:v>
                      </c:pt>
                      <c:pt idx="4292">
                        <c:v>-1.998418961</c:v>
                      </c:pt>
                      <c:pt idx="4293">
                        <c:v>-2.0006468599999998</c:v>
                      </c:pt>
                      <c:pt idx="4294">
                        <c:v>-2.001519966</c:v>
                      </c:pt>
                      <c:pt idx="4295">
                        <c:v>-2.003309942</c:v>
                      </c:pt>
                      <c:pt idx="4296">
                        <c:v>-2.003877428</c:v>
                      </c:pt>
                      <c:pt idx="4297">
                        <c:v>-2.0039417890000002</c:v>
                      </c:pt>
                      <c:pt idx="4298">
                        <c:v>-2.0039647739999999</c:v>
                      </c:pt>
                      <c:pt idx="4299">
                        <c:v>-2.0055352769999999</c:v>
                      </c:pt>
                      <c:pt idx="4300">
                        <c:v>-2.0060166050000001</c:v>
                      </c:pt>
                      <c:pt idx="4301">
                        <c:v>-2.007238933</c:v>
                      </c:pt>
                      <c:pt idx="4302">
                        <c:v>-2.0076754800000001</c:v>
                      </c:pt>
                      <c:pt idx="4303">
                        <c:v>-2.0086141479999999</c:v>
                      </c:pt>
                      <c:pt idx="4304">
                        <c:v>-2.009180443</c:v>
                      </c:pt>
                      <c:pt idx="4305">
                        <c:v>-2.0096181799999999</c:v>
                      </c:pt>
                      <c:pt idx="4306">
                        <c:v>-2.0100111470000002</c:v>
                      </c:pt>
                      <c:pt idx="4307">
                        <c:v>-2.0120182080000002</c:v>
                      </c:pt>
                      <c:pt idx="4308">
                        <c:v>-2.0159919789999998</c:v>
                      </c:pt>
                      <c:pt idx="4309">
                        <c:v>-2.0162102530000001</c:v>
                      </c:pt>
                      <c:pt idx="4310">
                        <c:v>-2.0175199159999999</c:v>
                      </c:pt>
                      <c:pt idx="4311">
                        <c:v>-2.0192443419999999</c:v>
                      </c:pt>
                      <c:pt idx="4312">
                        <c:v>-2.0192880980000001</c:v>
                      </c:pt>
                      <c:pt idx="4313">
                        <c:v>-2.0207942499999998</c:v>
                      </c:pt>
                      <c:pt idx="4314">
                        <c:v>-2.0208160460000002</c:v>
                      </c:pt>
                      <c:pt idx="4315">
                        <c:v>-2.021034319</c:v>
                      </c:pt>
                      <c:pt idx="4316">
                        <c:v>-2.0240902049999998</c:v>
                      </c:pt>
                      <c:pt idx="4317">
                        <c:v>-2.024330274</c:v>
                      </c:pt>
                      <c:pt idx="4318">
                        <c:v>-2.0245267519999999</c:v>
                      </c:pt>
                      <c:pt idx="4319">
                        <c:v>-2.0268406329999999</c:v>
                      </c:pt>
                      <c:pt idx="4320">
                        <c:v>-2.0272771810000001</c:v>
                      </c:pt>
                      <c:pt idx="4321">
                        <c:v>-2.0288928140000002</c:v>
                      </c:pt>
                      <c:pt idx="4322">
                        <c:v>-2.0303551999999998</c:v>
                      </c:pt>
                      <c:pt idx="4323">
                        <c:v>-2.032297561</c:v>
                      </c:pt>
                      <c:pt idx="4324">
                        <c:v>-2.0328873550000002</c:v>
                      </c:pt>
                      <c:pt idx="4325">
                        <c:v>-2.0338474689999999</c:v>
                      </c:pt>
                      <c:pt idx="4326">
                        <c:v>-2.0347641649999999</c:v>
                      </c:pt>
                      <c:pt idx="4327">
                        <c:v>-2.0348950929999998</c:v>
                      </c:pt>
                      <c:pt idx="4328">
                        <c:v>-2.0372089629999999</c:v>
                      </c:pt>
                      <c:pt idx="4329">
                        <c:v>-2.0403086039999998</c:v>
                      </c:pt>
                      <c:pt idx="4330">
                        <c:v>-2.0405922639999998</c:v>
                      </c:pt>
                      <c:pt idx="4331">
                        <c:v>-2.0407887420000002</c:v>
                      </c:pt>
                      <c:pt idx="4332">
                        <c:v>-2.0419896130000001</c:v>
                      </c:pt>
                      <c:pt idx="4333">
                        <c:v>-2.0431680000000001</c:v>
                      </c:pt>
                      <c:pt idx="4334">
                        <c:v>-2.0405922259999998</c:v>
                      </c:pt>
                      <c:pt idx="4335">
                        <c:v>-2.037666712</c:v>
                      </c:pt>
                      <c:pt idx="4336">
                        <c:v>-2.0375798770000002</c:v>
                      </c:pt>
                      <c:pt idx="4337">
                        <c:v>-2.0375356089999999</c:v>
                      </c:pt>
                      <c:pt idx="4338">
                        <c:v>-2.0347858159999999</c:v>
                      </c:pt>
                      <c:pt idx="4339">
                        <c:v>-2.0342184859999999</c:v>
                      </c:pt>
                      <c:pt idx="4340">
                        <c:v>-2.034174567</c:v>
                      </c:pt>
                      <c:pt idx="4341">
                        <c:v>-2.033301437</c:v>
                      </c:pt>
                      <c:pt idx="4342">
                        <c:v>-2.029459573</c:v>
                      </c:pt>
                      <c:pt idx="4343">
                        <c:v>-2.0290669389999998</c:v>
                      </c:pt>
                      <c:pt idx="4344">
                        <c:v>-2.028935835</c:v>
                      </c:pt>
                      <c:pt idx="4345">
                        <c:v>-2.0265783489999998</c:v>
                      </c:pt>
                      <c:pt idx="4346">
                        <c:v>-2.0255741170000001</c:v>
                      </c:pt>
                      <c:pt idx="4347">
                        <c:v>-2.0251372139999999</c:v>
                      </c:pt>
                      <c:pt idx="4348">
                        <c:v>-2.0183701840000001</c:v>
                      </c:pt>
                      <c:pt idx="4349">
                        <c:v>-2.0172794660000002</c:v>
                      </c:pt>
                      <c:pt idx="4350">
                        <c:v>-2.0171922819999999</c:v>
                      </c:pt>
                      <c:pt idx="4351">
                        <c:v>-2.012171489</c:v>
                      </c:pt>
                      <c:pt idx="4352">
                        <c:v>-2.011647075</c:v>
                      </c:pt>
                      <c:pt idx="4353">
                        <c:v>-2.0101626960000001</c:v>
                      </c:pt>
                      <c:pt idx="4354">
                        <c:v>-2.0095078549999998</c:v>
                      </c:pt>
                      <c:pt idx="4355">
                        <c:v>-2.0092902650000002</c:v>
                      </c:pt>
                      <c:pt idx="4356">
                        <c:v>-2.0071074530000002</c:v>
                      </c:pt>
                      <c:pt idx="4357">
                        <c:v>-2.0048810709999998</c:v>
                      </c:pt>
                      <c:pt idx="4358">
                        <c:v>-2.0041812619999999</c:v>
                      </c:pt>
                      <c:pt idx="4359">
                        <c:v>-2.0006881129999998</c:v>
                      </c:pt>
                      <c:pt idx="4360">
                        <c:v>-1.9977646499999999</c:v>
                      </c:pt>
                      <c:pt idx="4361">
                        <c:v>-1.991434524</c:v>
                      </c:pt>
                      <c:pt idx="4362">
                        <c:v>-1.990997272</c:v>
                      </c:pt>
                      <c:pt idx="4363">
                        <c:v>-1.990692498</c:v>
                      </c:pt>
                      <c:pt idx="4364">
                        <c:v>-1.9906472040000001</c:v>
                      </c:pt>
                      <c:pt idx="4365">
                        <c:v>-1.9886833559999999</c:v>
                      </c:pt>
                      <c:pt idx="4366">
                        <c:v>-1.984884407</c:v>
                      </c:pt>
                      <c:pt idx="4367">
                        <c:v>-1.984274839</c:v>
                      </c:pt>
                      <c:pt idx="4368">
                        <c:v>-1.984143735</c:v>
                      </c:pt>
                      <c:pt idx="4369">
                        <c:v>-1.983968712</c:v>
                      </c:pt>
                      <c:pt idx="4370">
                        <c:v>-1.98274689</c:v>
                      </c:pt>
                      <c:pt idx="4371">
                        <c:v>-1.982309638</c:v>
                      </c:pt>
                      <c:pt idx="4372">
                        <c:v>-1.9813929379999999</c:v>
                      </c:pt>
                      <c:pt idx="4373">
                        <c:v>-1.976372145</c:v>
                      </c:pt>
                      <c:pt idx="4374">
                        <c:v>-1.9751925400000001</c:v>
                      </c:pt>
                      <c:pt idx="4375">
                        <c:v>-1.9713942680000001</c:v>
                      </c:pt>
                      <c:pt idx="4376">
                        <c:v>-1.9689070319999999</c:v>
                      </c:pt>
                      <c:pt idx="4377">
                        <c:v>-1.9665495239999999</c:v>
                      </c:pt>
                      <c:pt idx="4378">
                        <c:v>-1.9647161040000001</c:v>
                      </c:pt>
                      <c:pt idx="4379">
                        <c:v>-1.964585</c:v>
                      </c:pt>
                      <c:pt idx="4380">
                        <c:v>-1.9665931080000001</c:v>
                      </c:pt>
                      <c:pt idx="4381">
                        <c:v>-1.9695632059999999</c:v>
                      </c:pt>
                      <c:pt idx="4382">
                        <c:v>-1.971264839</c:v>
                      </c:pt>
                      <c:pt idx="4383">
                        <c:v>-1.9743639879999999</c:v>
                      </c:pt>
                      <c:pt idx="4384">
                        <c:v>-1.976548494</c:v>
                      </c:pt>
                      <c:pt idx="4385">
                        <c:v>-1.979515514</c:v>
                      </c:pt>
                      <c:pt idx="4386">
                        <c:v>-1.9805210959999999</c:v>
                      </c:pt>
                      <c:pt idx="4387">
                        <c:v>-1.9828350020000001</c:v>
                      </c:pt>
                      <c:pt idx="4388">
                        <c:v>-1.9884213989999999</c:v>
                      </c:pt>
                      <c:pt idx="4389">
                        <c:v>-1.988814359</c:v>
                      </c:pt>
                      <c:pt idx="4390">
                        <c:v>-1.9917398609999999</c:v>
                      </c:pt>
                      <c:pt idx="4391">
                        <c:v>-1.992136226</c:v>
                      </c:pt>
                      <c:pt idx="4392">
                        <c:v>-1.993791211</c:v>
                      </c:pt>
                      <c:pt idx="4393">
                        <c:v>-1.9938365060000001</c:v>
                      </c:pt>
                      <c:pt idx="4394">
                        <c:v>-1.9946646640000001</c:v>
                      </c:pt>
                      <c:pt idx="4395">
                        <c:v>-1.9947957679999999</c:v>
                      </c:pt>
                      <c:pt idx="4396">
                        <c:v>-1.9958442649999999</c:v>
                      </c:pt>
                      <c:pt idx="4397">
                        <c:v>-2.0018246469999998</c:v>
                      </c:pt>
                      <c:pt idx="4398">
                        <c:v>-2.0025666480000002</c:v>
                      </c:pt>
                      <c:pt idx="4399">
                        <c:v>-2.00378984</c:v>
                      </c:pt>
                      <c:pt idx="4400">
                        <c:v>-2.0076742539999999</c:v>
                      </c:pt>
                      <c:pt idx="4401">
                        <c:v>-2.0107737530000001</c:v>
                      </c:pt>
                      <c:pt idx="4402">
                        <c:v>-2.0148342370000001</c:v>
                      </c:pt>
                      <c:pt idx="4403">
                        <c:v>-2.0156198299999999</c:v>
                      </c:pt>
                      <c:pt idx="4404">
                        <c:v>-2.017252332</c:v>
                      </c:pt>
                      <c:pt idx="4405">
                        <c:v>-2.0181966189999998</c:v>
                      </c:pt>
                      <c:pt idx="4406">
                        <c:v>-2.0214296209999998</c:v>
                      </c:pt>
                      <c:pt idx="4407">
                        <c:v>-2.0215144039999999</c:v>
                      </c:pt>
                      <c:pt idx="4408">
                        <c:v>-2.0229541590000002</c:v>
                      </c:pt>
                      <c:pt idx="4409">
                        <c:v>-2.0232170630000001</c:v>
                      </c:pt>
                      <c:pt idx="4410">
                        <c:v>-2.025312682</c:v>
                      </c:pt>
                      <c:pt idx="4411">
                        <c:v>-2.0276265659999999</c:v>
                      </c:pt>
                      <c:pt idx="4412">
                        <c:v>-2.0285432839999999</c:v>
                      </c:pt>
                      <c:pt idx="4413">
                        <c:v>-2.0312937419999999</c:v>
                      </c:pt>
                      <c:pt idx="4414">
                        <c:v>-2.0333447429999998</c:v>
                      </c:pt>
                      <c:pt idx="4415">
                        <c:v>-2.0358336709999998</c:v>
                      </c:pt>
                      <c:pt idx="4416">
                        <c:v>-2.0358765870000002</c:v>
                      </c:pt>
                      <c:pt idx="4417">
                        <c:v>-2.0365324509999998</c:v>
                      </c:pt>
                      <c:pt idx="4418">
                        <c:v>-2.0395471449999998</c:v>
                      </c:pt>
                      <c:pt idx="4419">
                        <c:v>-2.0410294869999999</c:v>
                      </c:pt>
                      <c:pt idx="4420">
                        <c:v>-2.041249804</c:v>
                      </c:pt>
                      <c:pt idx="4421">
                        <c:v>-2.042730771</c:v>
                      </c:pt>
                      <c:pt idx="4422">
                        <c:v>-2.0431680000000001</c:v>
                      </c:pt>
                      <c:pt idx="4423">
                        <c:v>-2.0432991010000001</c:v>
                      </c:pt>
                      <c:pt idx="4424">
                        <c:v>-2.0452853869999998</c:v>
                      </c:pt>
                      <c:pt idx="4425">
                        <c:v>-2.0460931150000001</c:v>
                      </c:pt>
                      <c:pt idx="4426">
                        <c:v>-2.0474024370000001</c:v>
                      </c:pt>
                      <c:pt idx="4427">
                        <c:v>-2.047511917</c:v>
                      </c:pt>
                      <c:pt idx="4428">
                        <c:v>-2.0493248639999999</c:v>
                      </c:pt>
                      <c:pt idx="4429">
                        <c:v>-2.0497816879999999</c:v>
                      </c:pt>
                      <c:pt idx="4430">
                        <c:v>-2.0513969680000002</c:v>
                      </c:pt>
                      <c:pt idx="4431">
                        <c:v>-2.05189924</c:v>
                      </c:pt>
                      <c:pt idx="4432">
                        <c:v>-2.053056341</c:v>
                      </c:pt>
                      <c:pt idx="4433">
                        <c:v>-2.0549118640000001</c:v>
                      </c:pt>
                      <c:pt idx="4434">
                        <c:v>-2.0549566449999999</c:v>
                      </c:pt>
                      <c:pt idx="4435">
                        <c:v>-2.0549988720000001</c:v>
                      </c:pt>
                      <c:pt idx="4436">
                        <c:v>-2.057749458</c:v>
                      </c:pt>
                      <c:pt idx="4437">
                        <c:v>-2.0578596259999999</c:v>
                      </c:pt>
                      <c:pt idx="4438">
                        <c:v>-2.0581652450000001</c:v>
                      </c:pt>
                      <c:pt idx="4439">
                        <c:v>-2.0582307960000001</c:v>
                      </c:pt>
                      <c:pt idx="4440">
                        <c:v>-2.0590165530000002</c:v>
                      </c:pt>
                      <c:pt idx="4441">
                        <c:v>-2.0590383480000001</c:v>
                      </c:pt>
                      <c:pt idx="4442">
                        <c:v>-2.0602388669999998</c:v>
                      </c:pt>
                      <c:pt idx="4443">
                        <c:v>-2.060544497</c:v>
                      </c:pt>
                      <c:pt idx="4444">
                        <c:v>-2.0611981269999999</c:v>
                      </c:pt>
                      <c:pt idx="4445">
                        <c:v>-2.0612430819999998</c:v>
                      </c:pt>
                      <c:pt idx="4446">
                        <c:v>-2.0623548899999999</c:v>
                      </c:pt>
                      <c:pt idx="4447">
                        <c:v>-2.062967504</c:v>
                      </c:pt>
                      <c:pt idx="4448">
                        <c:v>-2.0640370840000002</c:v>
                      </c:pt>
                      <c:pt idx="4449">
                        <c:v>-2.0641244310000002</c:v>
                      </c:pt>
                      <c:pt idx="4450">
                        <c:v>-2.0641462260000001</c:v>
                      </c:pt>
                      <c:pt idx="4451">
                        <c:v>-2.0680084669999999</c:v>
                      </c:pt>
                      <c:pt idx="4452">
                        <c:v>-2.0680534119999998</c:v>
                      </c:pt>
                      <c:pt idx="4453">
                        <c:v>-2.0689701060000001</c:v>
                      </c:pt>
                      <c:pt idx="4454">
                        <c:v>-2.0705636009999999</c:v>
                      </c:pt>
                      <c:pt idx="4455">
                        <c:v>-2.070977337</c:v>
                      </c:pt>
                      <c:pt idx="4456">
                        <c:v>-2.071042549</c:v>
                      </c:pt>
                      <c:pt idx="4457">
                        <c:v>-2.0710874939999999</c:v>
                      </c:pt>
                      <c:pt idx="4458">
                        <c:v>-2.0720915340000001</c:v>
                      </c:pt>
                      <c:pt idx="4459">
                        <c:v>-2.0726372230000001</c:v>
                      </c:pt>
                      <c:pt idx="4460">
                        <c:v>-2.0726591929999998</c:v>
                      </c:pt>
                      <c:pt idx="4461">
                        <c:v>-2.0727901200000001</c:v>
                      </c:pt>
                      <c:pt idx="4462">
                        <c:v>-2.0728554959999999</c:v>
                      </c:pt>
                      <c:pt idx="4463">
                        <c:v>-2.073750569</c:v>
                      </c:pt>
                      <c:pt idx="4464">
                        <c:v>-2.0756484940000002</c:v>
                      </c:pt>
                      <c:pt idx="4465">
                        <c:v>-2.0768064470000001</c:v>
                      </c:pt>
                      <c:pt idx="4466">
                        <c:v>-2.0801461479999999</c:v>
                      </c:pt>
                      <c:pt idx="4467">
                        <c:v>-2.0806908100000001</c:v>
                      </c:pt>
                      <c:pt idx="4468">
                        <c:v>-2.0834202990000001</c:v>
                      </c:pt>
                      <c:pt idx="4469">
                        <c:v>-2.0852746209999999</c:v>
                      </c:pt>
                      <c:pt idx="4470">
                        <c:v>-2.0871092</c:v>
                      </c:pt>
                      <c:pt idx="4471">
                        <c:v>-2.0906017979999998</c:v>
                      </c:pt>
                      <c:pt idx="4472">
                        <c:v>-2.0909292129999999</c:v>
                      </c:pt>
                      <c:pt idx="4473">
                        <c:v>-2.0909728049999998</c:v>
                      </c:pt>
                      <c:pt idx="4474">
                        <c:v>-2.0914093619999998</c:v>
                      </c:pt>
                      <c:pt idx="4475">
                        <c:v>-2.092588084</c:v>
                      </c:pt>
                      <c:pt idx="4476">
                        <c:v>-2.0927627769999999</c:v>
                      </c:pt>
                      <c:pt idx="4477">
                        <c:v>-2.0929592549999998</c:v>
                      </c:pt>
                      <c:pt idx="4478">
                        <c:v>-2.0954694439999999</c:v>
                      </c:pt>
                      <c:pt idx="4479">
                        <c:v>-2.097106519</c:v>
                      </c:pt>
                      <c:pt idx="4480">
                        <c:v>-2.0979360310000001</c:v>
                      </c:pt>
                      <c:pt idx="4481">
                        <c:v>-2.098001418</c:v>
                      </c:pt>
                      <c:pt idx="4482">
                        <c:v>-2.0983943840000001</c:v>
                      </c:pt>
                      <c:pt idx="4483">
                        <c:v>-2.1001405900000001</c:v>
                      </c:pt>
                      <c:pt idx="4484">
                        <c:v>-2.101363079</c:v>
                      </c:pt>
                      <c:pt idx="4485">
                        <c:v>-2.1020149090000002</c:v>
                      </c:pt>
                      <c:pt idx="4486">
                        <c:v>-2.1029346040000001</c:v>
                      </c:pt>
                      <c:pt idx="4487">
                        <c:v>-2.10529206</c:v>
                      </c:pt>
                      <c:pt idx="4488">
                        <c:v>-2.1060342360000002</c:v>
                      </c:pt>
                      <c:pt idx="4489">
                        <c:v>-2.10660172</c:v>
                      </c:pt>
                      <c:pt idx="4490">
                        <c:v>-2.106885718</c:v>
                      </c:pt>
                      <c:pt idx="4491">
                        <c:v>-2.109396072</c:v>
                      </c:pt>
                      <c:pt idx="4492">
                        <c:v>-2.1111637349999999</c:v>
                      </c:pt>
                      <c:pt idx="4493">
                        <c:v>-2.113761599</c:v>
                      </c:pt>
                      <c:pt idx="4494">
                        <c:v>-2.1143724989999999</c:v>
                      </c:pt>
                      <c:pt idx="4495">
                        <c:v>-2.115071259</c:v>
                      </c:pt>
                      <c:pt idx="4496">
                        <c:v>-2.1158350559999999</c:v>
                      </c:pt>
                      <c:pt idx="4497">
                        <c:v>-2.11603137</c:v>
                      </c:pt>
                      <c:pt idx="4498">
                        <c:v>-2.1167299549999998</c:v>
                      </c:pt>
                      <c:pt idx="4499">
                        <c:v>-2.1169919940000002</c:v>
                      </c:pt>
                      <c:pt idx="4500">
                        <c:v>-2.117581274</c:v>
                      </c:pt>
                      <c:pt idx="4501">
                        <c:v>-2.1176466500000002</c:v>
                      </c:pt>
                      <c:pt idx="4502">
                        <c:v>-2.1182579000000001</c:v>
                      </c:pt>
                      <c:pt idx="4503">
                        <c:v>-2.1193710710000002</c:v>
                      </c:pt>
                      <c:pt idx="4504">
                        <c:v>-2.1195896940000001</c:v>
                      </c:pt>
                      <c:pt idx="4505">
                        <c:v>-2.1212923199999998</c:v>
                      </c:pt>
                      <c:pt idx="4506">
                        <c:v>-2.1217510000000002</c:v>
                      </c:pt>
                      <c:pt idx="4507">
                        <c:v>-2.1218807540000002</c:v>
                      </c:pt>
                      <c:pt idx="4508">
                        <c:v>-2.1246319699999998</c:v>
                      </c:pt>
                      <c:pt idx="4509">
                        <c:v>-2.1250246150000001</c:v>
                      </c:pt>
                      <c:pt idx="4510">
                        <c:v>-2.1255044449999998</c:v>
                      </c:pt>
                      <c:pt idx="4511">
                        <c:v>-2.1278619920000001</c:v>
                      </c:pt>
                      <c:pt idx="4512">
                        <c:v>-2.1279062620000002</c:v>
                      </c:pt>
                      <c:pt idx="4513">
                        <c:v>-2.1308761220000001</c:v>
                      </c:pt>
                      <c:pt idx="4514">
                        <c:v>-2.1321858379999998</c:v>
                      </c:pt>
                      <c:pt idx="4515">
                        <c:v>-2.1340176030000002</c:v>
                      </c:pt>
                      <c:pt idx="4516">
                        <c:v>-2.1340618729999998</c:v>
                      </c:pt>
                      <c:pt idx="4517">
                        <c:v>-2.1372922220000001</c:v>
                      </c:pt>
                      <c:pt idx="4518">
                        <c:v>-2.1381231340000002</c:v>
                      </c:pt>
                      <c:pt idx="4519">
                        <c:v>-2.1406989959999998</c:v>
                      </c:pt>
                      <c:pt idx="4520">
                        <c:v>-2.141439665</c:v>
                      </c:pt>
                      <c:pt idx="4521">
                        <c:v>-2.1416582860000002</c:v>
                      </c:pt>
                      <c:pt idx="4522">
                        <c:v>-2.1417468259999999</c:v>
                      </c:pt>
                      <c:pt idx="4523">
                        <c:v>-2.142881842</c:v>
                      </c:pt>
                      <c:pt idx="4524">
                        <c:v>-2.1430558660000001</c:v>
                      </c:pt>
                      <c:pt idx="4525">
                        <c:v>-2.1441898560000001</c:v>
                      </c:pt>
                      <c:pt idx="4526">
                        <c:v>-2.1510878400000002</c:v>
                      </c:pt>
                      <c:pt idx="4527">
                        <c:v>-2.1511760299999998</c:v>
                      </c:pt>
                      <c:pt idx="4528">
                        <c:v>-2.1536200870000002</c:v>
                      </c:pt>
                      <c:pt idx="4529">
                        <c:v>-2.1536653819999998</c:v>
                      </c:pt>
                      <c:pt idx="4530">
                        <c:v>-2.1588170619999998</c:v>
                      </c:pt>
                      <c:pt idx="4531">
                        <c:v>-2.1598632119999999</c:v>
                      </c:pt>
                      <c:pt idx="4532">
                        <c:v>-2.1645347340000001</c:v>
                      </c:pt>
                      <c:pt idx="4533">
                        <c:v>-2.1675478369999999</c:v>
                      </c:pt>
                      <c:pt idx="4534">
                        <c:v>-2.169642493</c:v>
                      </c:pt>
                      <c:pt idx="4535">
                        <c:v>-2.1719574719999999</c:v>
                      </c:pt>
                      <c:pt idx="4536">
                        <c:v>-2.173004975</c:v>
                      </c:pt>
                      <c:pt idx="4537">
                        <c:v>-2.1742275270000002</c:v>
                      </c:pt>
                      <c:pt idx="4538">
                        <c:v>-2.1764543160000001</c:v>
                      </c:pt>
                      <c:pt idx="4539">
                        <c:v>-2.1766715830000001</c:v>
                      </c:pt>
                      <c:pt idx="4540">
                        <c:v>-2.1787243489999999</c:v>
                      </c:pt>
                      <c:pt idx="4541">
                        <c:v>-2.179816121</c:v>
                      </c:pt>
                      <c:pt idx="4542">
                        <c:v>-2.1966673879999998</c:v>
                      </c:pt>
                      <c:pt idx="4543">
                        <c:v>-2.2003349999999999</c:v>
                      </c:pt>
                      <c:pt idx="4544">
                        <c:v>-2.2004225119999998</c:v>
                      </c:pt>
                      <c:pt idx="4545">
                        <c:v>-2.2005103720000001</c:v>
                      </c:pt>
                      <c:pt idx="4546">
                        <c:v>-2.2005532880000001</c:v>
                      </c:pt>
                      <c:pt idx="4547">
                        <c:v>-2.2015139279999998</c:v>
                      </c:pt>
                      <c:pt idx="4548">
                        <c:v>-2.2016017890000001</c:v>
                      </c:pt>
                      <c:pt idx="4549">
                        <c:v>-2.2016457090000001</c:v>
                      </c:pt>
                      <c:pt idx="4550">
                        <c:v>-2.207756871</c:v>
                      </c:pt>
                      <c:pt idx="4551">
                        <c:v>-2.2092855180000002</c:v>
                      </c:pt>
                      <c:pt idx="4552">
                        <c:v>-2.2094595369999999</c:v>
                      </c:pt>
                      <c:pt idx="4553">
                        <c:v>-2.2122978670000002</c:v>
                      </c:pt>
                      <c:pt idx="4554">
                        <c:v>-2.2133010739999999</c:v>
                      </c:pt>
                      <c:pt idx="4555">
                        <c:v>-2.2134328540000001</c:v>
                      </c:pt>
                      <c:pt idx="4556">
                        <c:v>-2.214611084</c:v>
                      </c:pt>
                      <c:pt idx="4557">
                        <c:v>-2.2168408940000002</c:v>
                      </c:pt>
                      <c:pt idx="4558">
                        <c:v>-2.2170128610000002</c:v>
                      </c:pt>
                      <c:pt idx="4559">
                        <c:v>-2.21819144</c:v>
                      </c:pt>
                      <c:pt idx="4560">
                        <c:v>-2.2182786019999998</c:v>
                      </c:pt>
                      <c:pt idx="4561">
                        <c:v>-2.2191946470000001</c:v>
                      </c:pt>
                      <c:pt idx="4562">
                        <c:v>-2.2219022009999998</c:v>
                      </c:pt>
                      <c:pt idx="4563">
                        <c:v>-2.2250020610000001</c:v>
                      </c:pt>
                      <c:pt idx="4564">
                        <c:v>-2.225306835</c:v>
                      </c:pt>
                      <c:pt idx="4565">
                        <c:v>-2.2264424979999999</c:v>
                      </c:pt>
                      <c:pt idx="4566">
                        <c:v>-2.2274031390000002</c:v>
                      </c:pt>
                      <c:pt idx="4567">
                        <c:v>-2.2283198390000001</c:v>
                      </c:pt>
                      <c:pt idx="4568">
                        <c:v>-2.2284945340000002</c:v>
                      </c:pt>
                      <c:pt idx="4569">
                        <c:v>-2.2285381260000001</c:v>
                      </c:pt>
                      <c:pt idx="4570">
                        <c:v>-2.229454848</c:v>
                      </c:pt>
                      <c:pt idx="4571">
                        <c:v>-2.229716706</c:v>
                      </c:pt>
                      <c:pt idx="4572">
                        <c:v>-2.2318552490000001</c:v>
                      </c:pt>
                      <c:pt idx="4573">
                        <c:v>-2.2343036509999998</c:v>
                      </c:pt>
                      <c:pt idx="4574">
                        <c:v>-2.2365273270000001</c:v>
                      </c:pt>
                      <c:pt idx="4575">
                        <c:v>-2.2373568640000001</c:v>
                      </c:pt>
                      <c:pt idx="4576">
                        <c:v>-2.2416781970000002</c:v>
                      </c:pt>
                      <c:pt idx="4577">
                        <c:v>-2.246481052</c:v>
                      </c:pt>
                      <c:pt idx="4578">
                        <c:v>-2.2472234050000002</c:v>
                      </c:pt>
                      <c:pt idx="4579">
                        <c:v>-2.247310589</c:v>
                      </c:pt>
                      <c:pt idx="4580">
                        <c:v>-2.2480965340000001</c:v>
                      </c:pt>
                      <c:pt idx="4581">
                        <c:v>-2.2504976120000002</c:v>
                      </c:pt>
                      <c:pt idx="4582">
                        <c:v>-2.2520255819999999</c:v>
                      </c:pt>
                      <c:pt idx="4583">
                        <c:v>-2.2541205340000001</c:v>
                      </c:pt>
                      <c:pt idx="4584">
                        <c:v>-2.2572234500000001</c:v>
                      </c:pt>
                      <c:pt idx="4585">
                        <c:v>-2.259141654</c:v>
                      </c:pt>
                      <c:pt idx="4586">
                        <c:v>-2.2593163500000002</c:v>
                      </c:pt>
                      <c:pt idx="4587">
                        <c:v>-2.2649916349999999</c:v>
                      </c:pt>
                      <c:pt idx="4588">
                        <c:v>-2.2678755869999998</c:v>
                      </c:pt>
                      <c:pt idx="4589">
                        <c:v>-2.2703202789999999</c:v>
                      </c:pt>
                      <c:pt idx="4590">
                        <c:v>-2.2739438550000002</c:v>
                      </c:pt>
                      <c:pt idx="4591">
                        <c:v>-2.2746862079999999</c:v>
                      </c:pt>
                      <c:pt idx="4592">
                        <c:v>-2.2785277449999999</c:v>
                      </c:pt>
                      <c:pt idx="4593">
                        <c:v>-2.278918</c:v>
                      </c:pt>
                      <c:pt idx="4594">
                        <c:v>-2.279661548</c:v>
                      </c:pt>
                      <c:pt idx="4595">
                        <c:v>-2.2802727919999999</c:v>
                      </c:pt>
                      <c:pt idx="4596">
                        <c:v>-2.2802932239999998</c:v>
                      </c:pt>
                      <c:pt idx="4597">
                        <c:v>-2.281888087</c:v>
                      </c:pt>
                      <c:pt idx="4598">
                        <c:v>-2.2819085189999999</c:v>
                      </c:pt>
                      <c:pt idx="4599">
                        <c:v>-2.2831322090000001</c:v>
                      </c:pt>
                      <c:pt idx="4600">
                        <c:v>-2.286013595</c:v>
                      </c:pt>
                      <c:pt idx="4601">
                        <c:v>-2.2871049819999998</c:v>
                      </c:pt>
                      <c:pt idx="4602">
                        <c:v>-2.2878022200000001</c:v>
                      </c:pt>
                      <c:pt idx="4603">
                        <c:v>-2.2895716030000002</c:v>
                      </c:pt>
                      <c:pt idx="4604">
                        <c:v>-2.29105596</c:v>
                      </c:pt>
                      <c:pt idx="4605">
                        <c:v>-2.2937626519999998</c:v>
                      </c:pt>
                      <c:pt idx="4606">
                        <c:v>-2.293784622</c:v>
                      </c:pt>
                      <c:pt idx="4607">
                        <c:v>-2.2944174880000001</c:v>
                      </c:pt>
                      <c:pt idx="4608">
                        <c:v>-2.294592008</c:v>
                      </c:pt>
                      <c:pt idx="4609">
                        <c:v>-2.294679355</c:v>
                      </c:pt>
                      <c:pt idx="4610">
                        <c:v>-2.2962728650000002</c:v>
                      </c:pt>
                      <c:pt idx="4611">
                        <c:v>-2.2963602010000002</c:v>
                      </c:pt>
                      <c:pt idx="4612">
                        <c:v>-2.2977790169999999</c:v>
                      </c:pt>
                      <c:pt idx="4613">
                        <c:v>-2.299394312</c:v>
                      </c:pt>
                      <c:pt idx="4614">
                        <c:v>-2.3007039850000002</c:v>
                      </c:pt>
                      <c:pt idx="4615">
                        <c:v>-2.3026684940000002</c:v>
                      </c:pt>
                      <c:pt idx="4616">
                        <c:v>-2.3071869710000001</c:v>
                      </c:pt>
                      <c:pt idx="4617">
                        <c:v>-2.3083875009999999</c:v>
                      </c:pt>
                      <c:pt idx="4618">
                        <c:v>-2.3094571030000002</c:v>
                      </c:pt>
                      <c:pt idx="4619">
                        <c:v>-2.309500683</c:v>
                      </c:pt>
                      <c:pt idx="4620">
                        <c:v>-2.3100683470000001</c:v>
                      </c:pt>
                      <c:pt idx="4621">
                        <c:v>-2.3122518950000002</c:v>
                      </c:pt>
                      <c:pt idx="4622">
                        <c:v>-2.312383031</c:v>
                      </c:pt>
                      <c:pt idx="4623">
                        <c:v>-2.314281464</c:v>
                      </c:pt>
                      <c:pt idx="4624">
                        <c:v>-2.314324434</c:v>
                      </c:pt>
                      <c:pt idx="4625">
                        <c:v>-2.31436843</c:v>
                      </c:pt>
                      <c:pt idx="4626">
                        <c:v>-2.3148489639999998</c:v>
                      </c:pt>
                      <c:pt idx="4627">
                        <c:v>-2.3153951269999999</c:v>
                      </c:pt>
                      <c:pt idx="4628">
                        <c:v>-2.315437551</c:v>
                      </c:pt>
                      <c:pt idx="4629">
                        <c:v>-2.3154607220000001</c:v>
                      </c:pt>
                      <c:pt idx="4630">
                        <c:v>-2.3176428179999999</c:v>
                      </c:pt>
                      <c:pt idx="4631">
                        <c:v>-2.3189090409999999</c:v>
                      </c:pt>
                      <c:pt idx="4632">
                        <c:v>-2.3190400019999999</c:v>
                      </c:pt>
                      <c:pt idx="4633">
                        <c:v>-2.3190617979999999</c:v>
                      </c:pt>
                      <c:pt idx="4634">
                        <c:v>-2.319804134</c:v>
                      </c:pt>
                      <c:pt idx="4635">
                        <c:v>-2.3198261050000002</c:v>
                      </c:pt>
                      <c:pt idx="4636">
                        <c:v>-2.3221390199999998</c:v>
                      </c:pt>
                      <c:pt idx="4637">
                        <c:v>-2.3241469129999999</c:v>
                      </c:pt>
                      <c:pt idx="4638">
                        <c:v>-2.3294734309999998</c:v>
                      </c:pt>
                      <c:pt idx="4639">
                        <c:v>-2.3298664009999999</c:v>
                      </c:pt>
                      <c:pt idx="4640">
                        <c:v>-2.3301938190000002</c:v>
                      </c:pt>
                      <c:pt idx="4641">
                        <c:v>-2.3302156150000002</c:v>
                      </c:pt>
                      <c:pt idx="4642">
                        <c:v>-2.3307395230000001</c:v>
                      </c:pt>
                      <c:pt idx="4643">
                        <c:v>-2.330783115</c:v>
                      </c:pt>
                      <c:pt idx="4644">
                        <c:v>-2.3334244420000001</c:v>
                      </c:pt>
                      <c:pt idx="4645">
                        <c:v>-2.33355537</c:v>
                      </c:pt>
                      <c:pt idx="4646">
                        <c:v>-2.3343193489999998</c:v>
                      </c:pt>
                      <c:pt idx="4647">
                        <c:v>-2.3343629410000002</c:v>
                      </c:pt>
                      <c:pt idx="4648">
                        <c:v>-2.3344066959999998</c:v>
                      </c:pt>
                      <c:pt idx="4649">
                        <c:v>-2.3349520510000001</c:v>
                      </c:pt>
                      <c:pt idx="4650">
                        <c:v>-2.3351703370000001</c:v>
                      </c:pt>
                      <c:pt idx="4651">
                        <c:v>-2.3362402769999999</c:v>
                      </c:pt>
                      <c:pt idx="4652">
                        <c:v>-2.3370480119999999</c:v>
                      </c:pt>
                      <c:pt idx="4653">
                        <c:v>-2.3372880829999998</c:v>
                      </c:pt>
                      <c:pt idx="4654">
                        <c:v>-2.3373359200000001</c:v>
                      </c:pt>
                      <c:pt idx="4655">
                        <c:v>-2.3375730990000001</c:v>
                      </c:pt>
                      <c:pt idx="4656">
                        <c:v>-2.3375948950000001</c:v>
                      </c:pt>
                      <c:pt idx="4657">
                        <c:v>-2.3379427449999999</c:v>
                      </c:pt>
                      <c:pt idx="4658">
                        <c:v>-2.3388609759999999</c:v>
                      </c:pt>
                      <c:pt idx="4659">
                        <c:v>-2.3388814070000001</c:v>
                      </c:pt>
                      <c:pt idx="4660">
                        <c:v>-2.3391010579999998</c:v>
                      </c:pt>
                      <c:pt idx="4661">
                        <c:v>-2.3411515490000001</c:v>
                      </c:pt>
                      <c:pt idx="4662">
                        <c:v>-2.3435963640000002</c:v>
                      </c:pt>
                      <c:pt idx="4663">
                        <c:v>-2.3442729959999999</c:v>
                      </c:pt>
                      <c:pt idx="4664">
                        <c:v>-2.344578619</c:v>
                      </c:pt>
                      <c:pt idx="4665">
                        <c:v>-2.3446222099999998</c:v>
                      </c:pt>
                      <c:pt idx="4666">
                        <c:v>-2.3454314730000001</c:v>
                      </c:pt>
                      <c:pt idx="4667">
                        <c:v>-2.3455406160000001</c:v>
                      </c:pt>
                      <c:pt idx="4668">
                        <c:v>-2.3468487609999999</c:v>
                      </c:pt>
                      <c:pt idx="4669">
                        <c:v>-2.3468923419999999</c:v>
                      </c:pt>
                      <c:pt idx="4670">
                        <c:v>-2.3474176139999998</c:v>
                      </c:pt>
                      <c:pt idx="4671">
                        <c:v>-2.3479633080000002</c:v>
                      </c:pt>
                      <c:pt idx="4672">
                        <c:v>-2.3499278170000002</c:v>
                      </c:pt>
                      <c:pt idx="4673">
                        <c:v>-2.3508227239999999</c:v>
                      </c:pt>
                      <c:pt idx="4674">
                        <c:v>-2.3524599780000002</c:v>
                      </c:pt>
                      <c:pt idx="4675">
                        <c:v>-2.352852784</c:v>
                      </c:pt>
                      <c:pt idx="4676">
                        <c:v>-2.3562362719999999</c:v>
                      </c:pt>
                      <c:pt idx="4677">
                        <c:v>-2.3566714690000001</c:v>
                      </c:pt>
                      <c:pt idx="4678">
                        <c:v>-2.3567164140000001</c:v>
                      </c:pt>
                      <c:pt idx="4679">
                        <c:v>-2.357283915</c:v>
                      </c:pt>
                      <c:pt idx="4680">
                        <c:v>-2.3575010000000001</c:v>
                      </c:pt>
                      <c:pt idx="4681">
                        <c:v>-2.3560578649999999</c:v>
                      </c:pt>
                      <c:pt idx="4682">
                        <c:v>-2.3559730839999999</c:v>
                      </c:pt>
                      <c:pt idx="4683">
                        <c:v>-2.3535693289999999</c:v>
                      </c:pt>
                      <c:pt idx="4684">
                        <c:v>-2.3518670479999999</c:v>
                      </c:pt>
                      <c:pt idx="4685">
                        <c:v>-2.350906428</c:v>
                      </c:pt>
                      <c:pt idx="4686">
                        <c:v>-2.350382701</c:v>
                      </c:pt>
                      <c:pt idx="4687">
                        <c:v>-2.3477194510000001</c:v>
                      </c:pt>
                      <c:pt idx="4688">
                        <c:v>-2.3472829069999999</c:v>
                      </c:pt>
                      <c:pt idx="4689">
                        <c:v>-2.347239316</c:v>
                      </c:pt>
                      <c:pt idx="4690">
                        <c:v>-2.3464098180000001</c:v>
                      </c:pt>
                      <c:pt idx="4691">
                        <c:v>-2.3429609889999998</c:v>
                      </c:pt>
                      <c:pt idx="4692">
                        <c:v>-2.342000697</c:v>
                      </c:pt>
                      <c:pt idx="4693">
                        <c:v>-2.3417824349999998</c:v>
                      </c:pt>
                      <c:pt idx="4694">
                        <c:v>-2.3407782240000001</c:v>
                      </c:pt>
                      <c:pt idx="4695">
                        <c:v>-2.3388597120000001</c:v>
                      </c:pt>
                      <c:pt idx="4696">
                        <c:v>-2.337678779</c:v>
                      </c:pt>
                      <c:pt idx="4697">
                        <c:v>-2.3367181590000001</c:v>
                      </c:pt>
                      <c:pt idx="4698">
                        <c:v>-2.3359782010000001</c:v>
                      </c:pt>
                      <c:pt idx="4699">
                        <c:v>-2.3328767039999998</c:v>
                      </c:pt>
                      <c:pt idx="4700">
                        <c:v>-2.3323526499999998</c:v>
                      </c:pt>
                      <c:pt idx="4701">
                        <c:v>-2.331523131</c:v>
                      </c:pt>
                      <c:pt idx="4702">
                        <c:v>-2.3303009860000001</c:v>
                      </c:pt>
                      <c:pt idx="4703">
                        <c:v>-2.3299951929999998</c:v>
                      </c:pt>
                      <c:pt idx="4704">
                        <c:v>-2.3294714660000002</c:v>
                      </c:pt>
                      <c:pt idx="4705">
                        <c:v>-2.3293403650000002</c:v>
                      </c:pt>
                      <c:pt idx="4706">
                        <c:v>-2.3234033489999999</c:v>
                      </c:pt>
                      <c:pt idx="4707">
                        <c:v>-2.3202599639999999</c:v>
                      </c:pt>
                      <c:pt idx="4708">
                        <c:v>-2.320085272</c:v>
                      </c:pt>
                      <c:pt idx="4709">
                        <c:v>-2.3193432839999999</c:v>
                      </c:pt>
                      <c:pt idx="4710">
                        <c:v>-2.317728164</c:v>
                      </c:pt>
                      <c:pt idx="4711">
                        <c:v>-2.3143665169999998</c:v>
                      </c:pt>
                      <c:pt idx="4712">
                        <c:v>-2.313668099</c:v>
                      </c:pt>
                      <c:pt idx="4713">
                        <c:v>-2.3106994269999999</c:v>
                      </c:pt>
                      <c:pt idx="4714">
                        <c:v>-2.3032780420000001</c:v>
                      </c:pt>
                      <c:pt idx="4715">
                        <c:v>-2.3024485229999998</c:v>
                      </c:pt>
                      <c:pt idx="4716">
                        <c:v>-2.3019244689999998</c:v>
                      </c:pt>
                      <c:pt idx="4717">
                        <c:v>-2.301750105</c:v>
                      </c:pt>
                      <c:pt idx="4718">
                        <c:v>-2.2961185319999999</c:v>
                      </c:pt>
                      <c:pt idx="4719">
                        <c:v>-2.2954633549999999</c:v>
                      </c:pt>
                      <c:pt idx="4720">
                        <c:v>-2.2935424640000002</c:v>
                      </c:pt>
                      <c:pt idx="4721">
                        <c:v>-2.2891769549999998</c:v>
                      </c:pt>
                      <c:pt idx="4722">
                        <c:v>-2.2885221279999999</c:v>
                      </c:pt>
                      <c:pt idx="4723">
                        <c:v>-2.2829334480000001</c:v>
                      </c:pt>
                      <c:pt idx="4724">
                        <c:v>-2.281013583</c:v>
                      </c:pt>
                      <c:pt idx="4725">
                        <c:v>-2.279310953</c:v>
                      </c:pt>
                      <c:pt idx="4726">
                        <c:v>-2.279048752</c:v>
                      </c:pt>
                      <c:pt idx="4727">
                        <c:v>-2.278918</c:v>
                      </c:pt>
                      <c:pt idx="4728">
                        <c:v>-2.2823668580000001</c:v>
                      </c:pt>
                      <c:pt idx="4729">
                        <c:v>-2.284331356</c:v>
                      </c:pt>
                      <c:pt idx="4730">
                        <c:v>-2.2877366229999998</c:v>
                      </c:pt>
                      <c:pt idx="4731">
                        <c:v>-2.2886969019999999</c:v>
                      </c:pt>
                      <c:pt idx="4732">
                        <c:v>-2.290094099</c:v>
                      </c:pt>
                      <c:pt idx="4733">
                        <c:v>-2.2942849509999999</c:v>
                      </c:pt>
                      <c:pt idx="4734">
                        <c:v>-2.2969482019999998</c:v>
                      </c:pt>
                      <c:pt idx="4735">
                        <c:v>-2.2973408310000001</c:v>
                      </c:pt>
                      <c:pt idx="4736">
                        <c:v>-2.2992627639999998</c:v>
                      </c:pt>
                      <c:pt idx="4737">
                        <c:v>-2.3016192150000001</c:v>
                      </c:pt>
                      <c:pt idx="4738">
                        <c:v>-2.3054610289999999</c:v>
                      </c:pt>
                      <c:pt idx="4739">
                        <c:v>-2.306770695</c:v>
                      </c:pt>
                      <c:pt idx="4740">
                        <c:v>-2.307425528</c:v>
                      </c:pt>
                      <c:pt idx="4741">
                        <c:v>-2.3094775369999998</c:v>
                      </c:pt>
                      <c:pt idx="4742">
                        <c:v>-2.3120114090000001</c:v>
                      </c:pt>
                      <c:pt idx="4743">
                        <c:v>-2.3122283189999999</c:v>
                      </c:pt>
                      <c:pt idx="4744">
                        <c:v>-2.3152852249999998</c:v>
                      </c:pt>
                      <c:pt idx="4745">
                        <c:v>-2.3159400570000002</c:v>
                      </c:pt>
                      <c:pt idx="4746">
                        <c:v>-2.3197372760000001</c:v>
                      </c:pt>
                      <c:pt idx="4747">
                        <c:v>-2.319780191</c:v>
                      </c:pt>
                      <c:pt idx="4748">
                        <c:v>-2.32227045</c:v>
                      </c:pt>
                      <c:pt idx="4749">
                        <c:v>-2.3250341560000001</c:v>
                      </c:pt>
                      <c:pt idx="4750">
                        <c:v>-2.3289481780000001</c:v>
                      </c:pt>
                      <c:pt idx="4751">
                        <c:v>-2.329211736</c:v>
                      </c:pt>
                      <c:pt idx="4752">
                        <c:v>-2.3321787509999998</c:v>
                      </c:pt>
                      <c:pt idx="4753">
                        <c:v>-2.332966061</c:v>
                      </c:pt>
                      <c:pt idx="4754">
                        <c:v>-2.333140733</c:v>
                      </c:pt>
                      <c:pt idx="4755">
                        <c:v>-2.3332718350000001</c:v>
                      </c:pt>
                      <c:pt idx="4756">
                        <c:v>-2.3339266680000001</c:v>
                      </c:pt>
                      <c:pt idx="4757">
                        <c:v>-2.334450398</c:v>
                      </c:pt>
                      <c:pt idx="4758">
                        <c:v>-2.3385104980000002</c:v>
                      </c:pt>
                      <c:pt idx="4759">
                        <c:v>-2.3388142630000002</c:v>
                      </c:pt>
                      <c:pt idx="4760">
                        <c:v>-2.3416089640000002</c:v>
                      </c:pt>
                      <c:pt idx="4761">
                        <c:v>-2.3426131620000001</c:v>
                      </c:pt>
                      <c:pt idx="4762">
                        <c:v>-2.3452324939999998</c:v>
                      </c:pt>
                      <c:pt idx="4763">
                        <c:v>-2.3453207030000001</c:v>
                      </c:pt>
                      <c:pt idx="4764">
                        <c:v>-2.348813829</c:v>
                      </c:pt>
                      <c:pt idx="4765">
                        <c:v>-2.3502974889999999</c:v>
                      </c:pt>
                      <c:pt idx="4766">
                        <c:v>-2.3531783480000001</c:v>
                      </c:pt>
                      <c:pt idx="4767">
                        <c:v>-2.3539210399999999</c:v>
                      </c:pt>
                      <c:pt idx="4768">
                        <c:v>-2.356190658</c:v>
                      </c:pt>
                      <c:pt idx="4769">
                        <c:v>-2.3566268560000001</c:v>
                      </c:pt>
                      <c:pt idx="4770">
                        <c:v>-2.3575010000000001</c:v>
                      </c:pt>
                      <c:pt idx="4771">
                        <c:v>-2.3580900840000001</c:v>
                      </c:pt>
                      <c:pt idx="4772">
                        <c:v>-2.358417663</c:v>
                      </c:pt>
                      <c:pt idx="4773">
                        <c:v>-2.3611899470000002</c:v>
                      </c:pt>
                      <c:pt idx="4774">
                        <c:v>-2.364092313</c:v>
                      </c:pt>
                      <c:pt idx="4775">
                        <c:v>-2.3644638090000001</c:v>
                      </c:pt>
                      <c:pt idx="4776">
                        <c:v>-2.3664941279999998</c:v>
                      </c:pt>
                      <c:pt idx="4777">
                        <c:v>-2.3671703810000002</c:v>
                      </c:pt>
                      <c:pt idx="4778">
                        <c:v>-2.3672154989999998</c:v>
                      </c:pt>
                      <c:pt idx="4779">
                        <c:v>-2.3700953939999998</c:v>
                      </c:pt>
                      <c:pt idx="4780">
                        <c:v>-2.3716014790000002</c:v>
                      </c:pt>
                      <c:pt idx="4781">
                        <c:v>-2.3721686040000001</c:v>
                      </c:pt>
                      <c:pt idx="4782">
                        <c:v>-2.3722128709999999</c:v>
                      </c:pt>
                      <c:pt idx="4783">
                        <c:v>-2.3726708689999998</c:v>
                      </c:pt>
                      <c:pt idx="4784">
                        <c:v>-2.3726926640000001</c:v>
                      </c:pt>
                      <c:pt idx="4785">
                        <c:v>-2.3728251139999998</c:v>
                      </c:pt>
                      <c:pt idx="4786">
                        <c:v>-2.3754426409999998</c:v>
                      </c:pt>
                      <c:pt idx="4787">
                        <c:v>-2.3754867439999998</c:v>
                      </c:pt>
                      <c:pt idx="4788">
                        <c:v>-2.3756626199999999</c:v>
                      </c:pt>
                      <c:pt idx="4789">
                        <c:v>-2.3757268040000001</c:v>
                      </c:pt>
                      <c:pt idx="4790">
                        <c:v>-2.3760542079999998</c:v>
                      </c:pt>
                      <c:pt idx="4791">
                        <c:v>-2.3776925900000001</c:v>
                      </c:pt>
                      <c:pt idx="4792">
                        <c:v>-2.3782163000000001</c:v>
                      </c:pt>
                      <c:pt idx="4793">
                        <c:v>-2.3784333759999998</c:v>
                      </c:pt>
                      <c:pt idx="4794">
                        <c:v>-2.3792628589999998</c:v>
                      </c:pt>
                      <c:pt idx="4795">
                        <c:v>-2.3795465089999999</c:v>
                      </c:pt>
                      <c:pt idx="4796">
                        <c:v>-2.379917667</c:v>
                      </c:pt>
                      <c:pt idx="4797">
                        <c:v>-2.38024507</c:v>
                      </c:pt>
                      <c:pt idx="4798">
                        <c:v>-2.3806598170000002</c:v>
                      </c:pt>
                      <c:pt idx="4799">
                        <c:v>-2.3808780930000002</c:v>
                      </c:pt>
                      <c:pt idx="4800">
                        <c:v>-2.3817961090000002</c:v>
                      </c:pt>
                      <c:pt idx="4801">
                        <c:v>-2.3819052470000002</c:v>
                      </c:pt>
                      <c:pt idx="4802">
                        <c:v>-2.382734567</c:v>
                      </c:pt>
                      <c:pt idx="4803">
                        <c:v>-2.3833447689999998</c:v>
                      </c:pt>
                      <c:pt idx="4804">
                        <c:v>-2.384939224</c:v>
                      </c:pt>
                      <c:pt idx="4805">
                        <c:v>-2.385244658</c:v>
                      </c:pt>
                      <c:pt idx="4806">
                        <c:v>-2.3874493139999999</c:v>
                      </c:pt>
                      <c:pt idx="4807">
                        <c:v>-2.38904139</c:v>
                      </c:pt>
                      <c:pt idx="4808">
                        <c:v>-2.3890631739999999</c:v>
                      </c:pt>
                      <c:pt idx="4809">
                        <c:v>-2.3893032340000002</c:v>
                      </c:pt>
                      <c:pt idx="4810">
                        <c:v>-2.3915964239999998</c:v>
                      </c:pt>
                      <c:pt idx="4811">
                        <c:v>-2.3933633489999999</c:v>
                      </c:pt>
                      <c:pt idx="4812">
                        <c:v>-2.3946304</c:v>
                      </c:pt>
                      <c:pt idx="4813">
                        <c:v>-2.3949128599999998</c:v>
                      </c:pt>
                      <c:pt idx="4814">
                        <c:v>-2.3949579779999999</c:v>
                      </c:pt>
                      <c:pt idx="4815">
                        <c:v>-2.3953071650000002</c:v>
                      </c:pt>
                      <c:pt idx="4816">
                        <c:v>-2.398344383</c:v>
                      </c:pt>
                      <c:pt idx="4817">
                        <c:v>-2.398716555</c:v>
                      </c:pt>
                      <c:pt idx="4818">
                        <c:v>-2.4021434830000001</c:v>
                      </c:pt>
                      <c:pt idx="4819">
                        <c:v>-2.405352309</c:v>
                      </c:pt>
                      <c:pt idx="4820">
                        <c:v>-2.4085606340000001</c:v>
                      </c:pt>
                      <c:pt idx="4821">
                        <c:v>-2.408953586</c:v>
                      </c:pt>
                      <c:pt idx="4822">
                        <c:v>-2.4099793759999999</c:v>
                      </c:pt>
                      <c:pt idx="4823">
                        <c:v>-2.410634183</c:v>
                      </c:pt>
                      <c:pt idx="4824">
                        <c:v>-2.411638189</c:v>
                      </c:pt>
                      <c:pt idx="4825">
                        <c:v>-2.4145849959999999</c:v>
                      </c:pt>
                      <c:pt idx="4826">
                        <c:v>-2.4151527979999998</c:v>
                      </c:pt>
                      <c:pt idx="4827">
                        <c:v>-2.415239803</c:v>
                      </c:pt>
                      <c:pt idx="4828">
                        <c:v>-2.4170514970000001</c:v>
                      </c:pt>
                      <c:pt idx="4829">
                        <c:v>-2.417422491</c:v>
                      </c:pt>
                      <c:pt idx="4830">
                        <c:v>-2.4176628889999998</c:v>
                      </c:pt>
                      <c:pt idx="4831">
                        <c:v>-2.4187103099999998</c:v>
                      </c:pt>
                      <c:pt idx="4832">
                        <c:v>-2.4194524610000001</c:v>
                      </c:pt>
                      <c:pt idx="4833">
                        <c:v>-2.4196051779999999</c:v>
                      </c:pt>
                      <c:pt idx="4834">
                        <c:v>-2.4197364490000002</c:v>
                      </c:pt>
                      <c:pt idx="4835">
                        <c:v>-2.420587389</c:v>
                      </c:pt>
                      <c:pt idx="4836">
                        <c:v>-2.4221380899999998</c:v>
                      </c:pt>
                      <c:pt idx="4837">
                        <c:v>-2.4240578959999999</c:v>
                      </c:pt>
                      <c:pt idx="4838">
                        <c:v>-2.4261099989999999</c:v>
                      </c:pt>
                      <c:pt idx="4839">
                        <c:v>-2.426480829</c:v>
                      </c:pt>
                      <c:pt idx="4840">
                        <c:v>-2.4294278</c:v>
                      </c:pt>
                      <c:pt idx="4841">
                        <c:v>-2.4298639930000001</c:v>
                      </c:pt>
                      <c:pt idx="4842">
                        <c:v>-2.4308026140000001</c:v>
                      </c:pt>
                      <c:pt idx="4843">
                        <c:v>-2.431937553</c:v>
                      </c:pt>
                      <c:pt idx="4844">
                        <c:v>-2.4323245459999998</c:v>
                      </c:pt>
                      <c:pt idx="4845">
                        <c:v>-2.4336404570000001</c:v>
                      </c:pt>
                      <c:pt idx="4846">
                        <c:v>-2.4341207530000002</c:v>
                      </c:pt>
                      <c:pt idx="4847">
                        <c:v>-2.4360849999999998</c:v>
                      </c:pt>
                      <c:pt idx="4848">
                        <c:v>-2.4358668880000001</c:v>
                      </c:pt>
                      <c:pt idx="4849">
                        <c:v>-2.435785675</c:v>
                      </c:pt>
                      <c:pt idx="4850">
                        <c:v>-2.4333556569999999</c:v>
                      </c:pt>
                      <c:pt idx="4851">
                        <c:v>-2.433072846</c:v>
                      </c:pt>
                      <c:pt idx="4852">
                        <c:v>-2.4318496679999999</c:v>
                      </c:pt>
                      <c:pt idx="4853">
                        <c:v>-2.4317849680000001</c:v>
                      </c:pt>
                      <c:pt idx="4854">
                        <c:v>-2.430278301</c:v>
                      </c:pt>
                      <c:pt idx="4855">
                        <c:v>-2.4299512210000001</c:v>
                      </c:pt>
                      <c:pt idx="4856">
                        <c:v>-2.4299294250000001</c:v>
                      </c:pt>
                      <c:pt idx="4857">
                        <c:v>-2.4297760240000001</c:v>
                      </c:pt>
                      <c:pt idx="4858">
                        <c:v>-2.4297324329999999</c:v>
                      </c:pt>
                      <c:pt idx="4859">
                        <c:v>-2.429580385</c:v>
                      </c:pt>
                      <c:pt idx="4860">
                        <c:v>-2.429536455</c:v>
                      </c:pt>
                      <c:pt idx="4861">
                        <c:v>-2.4271793239999999</c:v>
                      </c:pt>
                      <c:pt idx="4862">
                        <c:v>-2.426480556</c:v>
                      </c:pt>
                      <c:pt idx="4863">
                        <c:v>-2.4251053310000001</c:v>
                      </c:pt>
                      <c:pt idx="4864">
                        <c:v>-2.4247336439999998</c:v>
                      </c:pt>
                      <c:pt idx="4865">
                        <c:v>-2.4241230749999998</c:v>
                      </c:pt>
                      <c:pt idx="4866">
                        <c:v>-2.4241012799999999</c:v>
                      </c:pt>
                      <c:pt idx="4867">
                        <c:v>-2.4228346840000001</c:v>
                      </c:pt>
                      <c:pt idx="4868">
                        <c:v>-2.421067002</c:v>
                      </c:pt>
                      <c:pt idx="4869">
                        <c:v>-2.4193211049999999</c:v>
                      </c:pt>
                      <c:pt idx="4870">
                        <c:v>-2.4192771749999999</c:v>
                      </c:pt>
                      <c:pt idx="4871">
                        <c:v>-2.4192548770000002</c:v>
                      </c:pt>
                      <c:pt idx="4872">
                        <c:v>-2.4150638130000002</c:v>
                      </c:pt>
                      <c:pt idx="4873">
                        <c:v>-2.414955183</c:v>
                      </c:pt>
                      <c:pt idx="4874">
                        <c:v>-2.4149325460000002</c:v>
                      </c:pt>
                      <c:pt idx="4875">
                        <c:v>-2.4127286410000002</c:v>
                      </c:pt>
                      <c:pt idx="4876">
                        <c:v>-2.4096720540000001</c:v>
                      </c:pt>
                      <c:pt idx="4877">
                        <c:v>-2.4095418030000002</c:v>
                      </c:pt>
                      <c:pt idx="4878">
                        <c:v>-2.4082752080000001</c:v>
                      </c:pt>
                      <c:pt idx="4879">
                        <c:v>-2.4082321289999999</c:v>
                      </c:pt>
                      <c:pt idx="4880">
                        <c:v>-2.4074017460000001</c:v>
                      </c:pt>
                      <c:pt idx="4881">
                        <c:v>-2.4070091140000001</c:v>
                      </c:pt>
                      <c:pt idx="4882">
                        <c:v>-2.4067690430000002</c:v>
                      </c:pt>
                      <c:pt idx="4883">
                        <c:v>-2.4037572379999999</c:v>
                      </c:pt>
                      <c:pt idx="4884">
                        <c:v>-2.4036480949999999</c:v>
                      </c:pt>
                      <c:pt idx="4885">
                        <c:v>-2.4036043399999998</c:v>
                      </c:pt>
                      <c:pt idx="4886">
                        <c:v>-2.4031454800000001</c:v>
                      </c:pt>
                      <c:pt idx="4887">
                        <c:v>-2.4027530229999998</c:v>
                      </c:pt>
                      <c:pt idx="4888">
                        <c:v>-2.4027089180000001</c:v>
                      </c:pt>
                      <c:pt idx="4889">
                        <c:v>-2.4025766260000001</c:v>
                      </c:pt>
                      <c:pt idx="4890">
                        <c:v>-2.401137726</c:v>
                      </c:pt>
                      <c:pt idx="4891">
                        <c:v>-2.3991291110000001</c:v>
                      </c:pt>
                      <c:pt idx="4892">
                        <c:v>-2.3990199680000002</c:v>
                      </c:pt>
                      <c:pt idx="4893">
                        <c:v>-2.3989763869999998</c:v>
                      </c:pt>
                      <c:pt idx="4894">
                        <c:v>-2.3980819910000002</c:v>
                      </c:pt>
                      <c:pt idx="4895">
                        <c:v>-2.3978637049999998</c:v>
                      </c:pt>
                      <c:pt idx="4896">
                        <c:v>-2.3958549260000002</c:v>
                      </c:pt>
                      <c:pt idx="4897">
                        <c:v>-2.3952874359999998</c:v>
                      </c:pt>
                      <c:pt idx="4898">
                        <c:v>-2.3952656399999999</c:v>
                      </c:pt>
                      <c:pt idx="4899">
                        <c:v>-2.3949160869999999</c:v>
                      </c:pt>
                      <c:pt idx="4900">
                        <c:v>-2.3943705679999998</c:v>
                      </c:pt>
                      <c:pt idx="4901">
                        <c:v>-2.393781282</c:v>
                      </c:pt>
                      <c:pt idx="4902">
                        <c:v>-2.3932355780000001</c:v>
                      </c:pt>
                      <c:pt idx="4903">
                        <c:v>-2.3917948010000001</c:v>
                      </c:pt>
                      <c:pt idx="4904">
                        <c:v>-2.3906598209999999</c:v>
                      </c:pt>
                      <c:pt idx="4905">
                        <c:v>-2.3894373199999999</c:v>
                      </c:pt>
                      <c:pt idx="4906">
                        <c:v>-2.3881930329999999</c:v>
                      </c:pt>
                      <c:pt idx="4907">
                        <c:v>-2.3881058500000001</c:v>
                      </c:pt>
                      <c:pt idx="4908">
                        <c:v>-2.3873856359999999</c:v>
                      </c:pt>
                      <c:pt idx="4909">
                        <c:v>-2.3865123490000002</c:v>
                      </c:pt>
                      <c:pt idx="4910">
                        <c:v>-2.3843077670000001</c:v>
                      </c:pt>
                      <c:pt idx="4911">
                        <c:v>-2.3841112870000001</c:v>
                      </c:pt>
                      <c:pt idx="4912">
                        <c:v>-2.3832819199999999</c:v>
                      </c:pt>
                      <c:pt idx="4913">
                        <c:v>-2.3824741949999999</c:v>
                      </c:pt>
                      <c:pt idx="4914">
                        <c:v>-2.381797562</c:v>
                      </c:pt>
                      <c:pt idx="4915">
                        <c:v>-2.3815137239999999</c:v>
                      </c:pt>
                      <c:pt idx="4916">
                        <c:v>-2.3803131930000001</c:v>
                      </c:pt>
                      <c:pt idx="4917">
                        <c:v>-2.3764715189999999</c:v>
                      </c:pt>
                      <c:pt idx="4918">
                        <c:v>-2.3762968240000002</c:v>
                      </c:pt>
                      <c:pt idx="4919">
                        <c:v>-2.3760785489999998</c:v>
                      </c:pt>
                      <c:pt idx="4920">
                        <c:v>-2.3760129970000001</c:v>
                      </c:pt>
                      <c:pt idx="4921">
                        <c:v>-2.3748340880000001</c:v>
                      </c:pt>
                      <c:pt idx="4922">
                        <c:v>-2.3743977009999999</c:v>
                      </c:pt>
                      <c:pt idx="4923">
                        <c:v>-2.3723446529999999</c:v>
                      </c:pt>
                      <c:pt idx="4924">
                        <c:v>-2.3702926199999999</c:v>
                      </c:pt>
                      <c:pt idx="4925">
                        <c:v>-2.3682639220000001</c:v>
                      </c:pt>
                      <c:pt idx="4926">
                        <c:v>-2.3682203409999998</c:v>
                      </c:pt>
                      <c:pt idx="4927">
                        <c:v>-2.3672162889999999</c:v>
                      </c:pt>
                      <c:pt idx="4928">
                        <c:v>-2.3663200170000001</c:v>
                      </c:pt>
                      <c:pt idx="4929">
                        <c:v>-2.3639201339999998</c:v>
                      </c:pt>
                      <c:pt idx="4930">
                        <c:v>-2.3636798990000001</c:v>
                      </c:pt>
                      <c:pt idx="4931">
                        <c:v>-2.362588675</c:v>
                      </c:pt>
                      <c:pt idx="4932">
                        <c:v>-2.362064766</c:v>
                      </c:pt>
                      <c:pt idx="4933">
                        <c:v>-2.3606445950000001</c:v>
                      </c:pt>
                      <c:pt idx="4934">
                        <c:v>-2.3602529900000002</c:v>
                      </c:pt>
                      <c:pt idx="4935">
                        <c:v>-2.3595531969999999</c:v>
                      </c:pt>
                      <c:pt idx="4936">
                        <c:v>-2.3593349209999999</c:v>
                      </c:pt>
                      <c:pt idx="4937">
                        <c:v>-2.3593131249999999</c:v>
                      </c:pt>
                      <c:pt idx="4938">
                        <c:v>-2.3580907990000002</c:v>
                      </c:pt>
                      <c:pt idx="4939">
                        <c:v>-2.3575010000000001</c:v>
                      </c:pt>
                      <c:pt idx="4940">
                        <c:v>-2.3558425949999999</c:v>
                      </c:pt>
                      <c:pt idx="4941">
                        <c:v>-2.3557547329999999</c:v>
                      </c:pt>
                      <c:pt idx="4942">
                        <c:v>-2.3545768100000002</c:v>
                      </c:pt>
                      <c:pt idx="4943">
                        <c:v>-2.3486392139999999</c:v>
                      </c:pt>
                      <c:pt idx="4944">
                        <c:v>-2.34457899</c:v>
                      </c:pt>
                      <c:pt idx="4945">
                        <c:v>-2.3438805450000002</c:v>
                      </c:pt>
                      <c:pt idx="4946">
                        <c:v>-2.3406519029999999</c:v>
                      </c:pt>
                      <c:pt idx="4947">
                        <c:v>-2.3402132899999999</c:v>
                      </c:pt>
                      <c:pt idx="4948">
                        <c:v>-2.3362406020000002</c:v>
                      </c:pt>
                      <c:pt idx="4949">
                        <c:v>-2.3361966600000001</c:v>
                      </c:pt>
                      <c:pt idx="4950">
                        <c:v>-2.3356729129999998</c:v>
                      </c:pt>
                      <c:pt idx="4951">
                        <c:v>-2.3337519470000001</c:v>
                      </c:pt>
                      <c:pt idx="4952">
                        <c:v>-2.3295602689999999</c:v>
                      </c:pt>
                      <c:pt idx="4953">
                        <c:v>-2.3294298609999999</c:v>
                      </c:pt>
                      <c:pt idx="4954">
                        <c:v>-2.3271581229999998</c:v>
                      </c:pt>
                      <c:pt idx="4955">
                        <c:v>-2.326766857</c:v>
                      </c:pt>
                      <c:pt idx="4956">
                        <c:v>-2.326723264</c:v>
                      </c:pt>
                      <c:pt idx="4957">
                        <c:v>-2.3241910379999999</c:v>
                      </c:pt>
                      <c:pt idx="4958">
                        <c:v>-2.3241467689999999</c:v>
                      </c:pt>
                      <c:pt idx="4959">
                        <c:v>-2.3185149549999999</c:v>
                      </c:pt>
                      <c:pt idx="4960">
                        <c:v>-2.3145861870000002</c:v>
                      </c:pt>
                      <c:pt idx="4961">
                        <c:v>-2.3137562869999999</c:v>
                      </c:pt>
                      <c:pt idx="4962">
                        <c:v>-2.312883491</c:v>
                      </c:pt>
                      <c:pt idx="4963">
                        <c:v>-2.3081231419999999</c:v>
                      </c:pt>
                      <c:pt idx="4964">
                        <c:v>-2.3061585830000002</c:v>
                      </c:pt>
                      <c:pt idx="4965">
                        <c:v>-2.3046319390000001</c:v>
                      </c:pt>
                      <c:pt idx="4966">
                        <c:v>-2.2979965739999999</c:v>
                      </c:pt>
                      <c:pt idx="4967">
                        <c:v>-2.297516092</c:v>
                      </c:pt>
                      <c:pt idx="4968">
                        <c:v>-2.2974725</c:v>
                      </c:pt>
                      <c:pt idx="4969">
                        <c:v>-2.295114951</c:v>
                      </c:pt>
                      <c:pt idx="4970">
                        <c:v>-2.294765902</c:v>
                      </c:pt>
                      <c:pt idx="4971">
                        <c:v>-2.2930615250000002</c:v>
                      </c:pt>
                      <c:pt idx="4972">
                        <c:v>-2.2917484140000002</c:v>
                      </c:pt>
                      <c:pt idx="4973">
                        <c:v>-2.2915788240000001</c:v>
                      </c:pt>
                      <c:pt idx="4974">
                        <c:v>-2.291490961</c:v>
                      </c:pt>
                      <c:pt idx="4975">
                        <c:v>-2.2904383589999999</c:v>
                      </c:pt>
                      <c:pt idx="4976">
                        <c:v>-2.2890030050000001</c:v>
                      </c:pt>
                      <c:pt idx="4977">
                        <c:v>-2.2838898310000002</c:v>
                      </c:pt>
                      <c:pt idx="4978">
                        <c:v>-2.2830211170000001</c:v>
                      </c:pt>
                      <c:pt idx="4979">
                        <c:v>-2.278918</c:v>
                      </c:pt>
                      <c:pt idx="4980">
                        <c:v>-2.2783064149999999</c:v>
                      </c:pt>
                      <c:pt idx="4981">
                        <c:v>-2.2750326319999998</c:v>
                      </c:pt>
                      <c:pt idx="4982">
                        <c:v>-2.2749447730000001</c:v>
                      </c:pt>
                      <c:pt idx="4983">
                        <c:v>-2.2744213969999998</c:v>
                      </c:pt>
                      <c:pt idx="4984">
                        <c:v>-2.274334214</c:v>
                      </c:pt>
                      <c:pt idx="4985">
                        <c:v>-2.2714959490000002</c:v>
                      </c:pt>
                      <c:pt idx="4986">
                        <c:v>-2.268134984</c:v>
                      </c:pt>
                      <c:pt idx="4987">
                        <c:v>-2.2665634790000002</c:v>
                      </c:pt>
                      <c:pt idx="4988">
                        <c:v>-2.2639441730000001</c:v>
                      </c:pt>
                      <c:pt idx="4989">
                        <c:v>-2.2614113499999999</c:v>
                      </c:pt>
                      <c:pt idx="4990">
                        <c:v>-2.2612363310000001</c:v>
                      </c:pt>
                      <c:pt idx="4991">
                        <c:v>-2.2574388000000001</c:v>
                      </c:pt>
                      <c:pt idx="4992">
                        <c:v>-2.2476599940000002</c:v>
                      </c:pt>
                      <c:pt idx="4993">
                        <c:v>-2.2462635080000002</c:v>
                      </c:pt>
                      <c:pt idx="4994">
                        <c:v>-2.2418087930000001</c:v>
                      </c:pt>
                      <c:pt idx="4995">
                        <c:v>-2.2417226370000001</c:v>
                      </c:pt>
                      <c:pt idx="4996">
                        <c:v>-2.2416797220000002</c:v>
                      </c:pt>
                      <c:pt idx="4997">
                        <c:v>-2.239189487</c:v>
                      </c:pt>
                      <c:pt idx="4998">
                        <c:v>-2.238665761</c:v>
                      </c:pt>
                      <c:pt idx="4999">
                        <c:v>-2.2356980979999999</c:v>
                      </c:pt>
                      <c:pt idx="5000">
                        <c:v>-2.2330787920000001</c:v>
                      </c:pt>
                      <c:pt idx="5001">
                        <c:v>-2.2326865159999998</c:v>
                      </c:pt>
                      <c:pt idx="5002">
                        <c:v>-2.2326412219999998</c:v>
                      </c:pt>
                      <c:pt idx="5003">
                        <c:v>-2.2307649289999998</c:v>
                      </c:pt>
                      <c:pt idx="5004">
                        <c:v>-2.2291498330000001</c:v>
                      </c:pt>
                      <c:pt idx="5005">
                        <c:v>-2.2266616269999999</c:v>
                      </c:pt>
                      <c:pt idx="5006">
                        <c:v>-2.2209850960000002</c:v>
                      </c:pt>
                      <c:pt idx="5007">
                        <c:v>-2.2205931699999999</c:v>
                      </c:pt>
                      <c:pt idx="5008">
                        <c:v>-2.2204150729999999</c:v>
                      </c:pt>
                      <c:pt idx="5009">
                        <c:v>-2.2147865640000002</c:v>
                      </c:pt>
                      <c:pt idx="5010">
                        <c:v>-2.2145246900000002</c:v>
                      </c:pt>
                      <c:pt idx="5011">
                        <c:v>-2.2131714680000001</c:v>
                      </c:pt>
                      <c:pt idx="5012">
                        <c:v>-2.2113367140000002</c:v>
                      </c:pt>
                      <c:pt idx="5013">
                        <c:v>-2.2086741660000002</c:v>
                      </c:pt>
                      <c:pt idx="5014">
                        <c:v>-2.2061420420000002</c:v>
                      </c:pt>
                      <c:pt idx="5015">
                        <c:v>-2.2042655089999998</c:v>
                      </c:pt>
                      <c:pt idx="5016">
                        <c:v>-2.2042208479999998</c:v>
                      </c:pt>
                      <c:pt idx="5017">
                        <c:v>-2.20155865</c:v>
                      </c:pt>
                      <c:pt idx="5018">
                        <c:v>-2.2003349999999999</c:v>
                      </c:pt>
                      <c:pt idx="5019">
                        <c:v>-2.197323387</c:v>
                      </c:pt>
                      <c:pt idx="5020">
                        <c:v>-2.1922077569999998</c:v>
                      </c:pt>
                      <c:pt idx="5021">
                        <c:v>-2.1919978680000001</c:v>
                      </c:pt>
                      <c:pt idx="5022">
                        <c:v>-2.1741842899999999</c:v>
                      </c:pt>
                      <c:pt idx="5023">
                        <c:v>-2.1739659969999998</c:v>
                      </c:pt>
                      <c:pt idx="5024">
                        <c:v>-2.1719131919999999</c:v>
                      </c:pt>
                      <c:pt idx="5025">
                        <c:v>-2.1682022989999998</c:v>
                      </c:pt>
                      <c:pt idx="5026">
                        <c:v>-2.164928669</c:v>
                      </c:pt>
                      <c:pt idx="5027">
                        <c:v>-2.1618726549999998</c:v>
                      </c:pt>
                      <c:pt idx="5028">
                        <c:v>-2.1617847920000002</c:v>
                      </c:pt>
                      <c:pt idx="5029">
                        <c:v>-2.161217798</c:v>
                      </c:pt>
                      <c:pt idx="5030">
                        <c:v>-2.1498223169999999</c:v>
                      </c:pt>
                      <c:pt idx="5031">
                        <c:v>-2.1493857529999998</c:v>
                      </c:pt>
                      <c:pt idx="5032">
                        <c:v>-2.1492546460000002</c:v>
                      </c:pt>
                      <c:pt idx="5033">
                        <c:v>-2.1482507380000002</c:v>
                      </c:pt>
                      <c:pt idx="5034">
                        <c:v>-2.1391263330000001</c:v>
                      </c:pt>
                      <c:pt idx="5035">
                        <c:v>-2.1373797059999999</c:v>
                      </c:pt>
                      <c:pt idx="5036">
                        <c:v>-2.1336688559999999</c:v>
                      </c:pt>
                      <c:pt idx="5037">
                        <c:v>-2.1329274900000001</c:v>
                      </c:pt>
                      <c:pt idx="5038">
                        <c:v>-2.1319225570000002</c:v>
                      </c:pt>
                      <c:pt idx="5039">
                        <c:v>-2.1261596229999999</c:v>
                      </c:pt>
                      <c:pt idx="5040">
                        <c:v>-2.1256801420000002</c:v>
                      </c:pt>
                      <c:pt idx="5041">
                        <c:v>-2.123448577</c:v>
                      </c:pt>
                      <c:pt idx="5042">
                        <c:v>-2.1234100919999999</c:v>
                      </c:pt>
                      <c:pt idx="5043">
                        <c:v>-2.1233225779999998</c:v>
                      </c:pt>
                      <c:pt idx="5044">
                        <c:v>-2.1217510000000002</c:v>
                      </c:pt>
                      <c:pt idx="5045">
                        <c:v>-2.1211833210000002</c:v>
                      </c:pt>
                      <c:pt idx="5046">
                        <c:v>-2.1210961589999999</c:v>
                      </c:pt>
                      <c:pt idx="5047">
                        <c:v>-2.118212883</c:v>
                      </c:pt>
                      <c:pt idx="5048">
                        <c:v>-2.1170360060000002</c:v>
                      </c:pt>
                      <c:pt idx="5049">
                        <c:v>-2.1166859379999998</c:v>
                      </c:pt>
                      <c:pt idx="5050">
                        <c:v>-2.115769217</c:v>
                      </c:pt>
                      <c:pt idx="5051">
                        <c:v>-2.1126704040000002</c:v>
                      </c:pt>
                      <c:pt idx="5052">
                        <c:v>-2.105335347</c:v>
                      </c:pt>
                      <c:pt idx="5053">
                        <c:v>-2.1018854400000002</c:v>
                      </c:pt>
                      <c:pt idx="5054">
                        <c:v>-2.0976952099999999</c:v>
                      </c:pt>
                      <c:pt idx="5055">
                        <c:v>-2.091889825</c:v>
                      </c:pt>
                      <c:pt idx="5056">
                        <c:v>-2.0915397570000001</c:v>
                      </c:pt>
                      <c:pt idx="5057">
                        <c:v>-2.0903172589999999</c:v>
                      </c:pt>
                      <c:pt idx="5058">
                        <c:v>-2.0853403849999999</c:v>
                      </c:pt>
                      <c:pt idx="5059">
                        <c:v>-2.076216198</c:v>
                      </c:pt>
                      <c:pt idx="5060">
                        <c:v>-2.0657813009999999</c:v>
                      </c:pt>
                      <c:pt idx="5061">
                        <c:v>-2.0633812489999999</c:v>
                      </c:pt>
                      <c:pt idx="5062">
                        <c:v>-2.0606307799999999</c:v>
                      </c:pt>
                      <c:pt idx="5063">
                        <c:v>-2.0604114660000001</c:v>
                      </c:pt>
                      <c:pt idx="5064">
                        <c:v>-2.0595819510000002</c:v>
                      </c:pt>
                      <c:pt idx="5065">
                        <c:v>-2.059144699</c:v>
                      </c:pt>
                      <c:pt idx="5066">
                        <c:v>-2.0577492070000001</c:v>
                      </c:pt>
                      <c:pt idx="5067">
                        <c:v>-2.057487327</c:v>
                      </c:pt>
                      <c:pt idx="5068">
                        <c:v>-2.0529470289999998</c:v>
                      </c:pt>
                      <c:pt idx="5069">
                        <c:v>-2.0527723330000001</c:v>
                      </c:pt>
                      <c:pt idx="5070">
                        <c:v>-2.0526415789999999</c:v>
                      </c:pt>
                      <c:pt idx="5071">
                        <c:v>-2.049847518</c:v>
                      </c:pt>
                      <c:pt idx="5072">
                        <c:v>-2.0497164140000002</c:v>
                      </c:pt>
                      <c:pt idx="5073">
                        <c:v>-2.0496728219999998</c:v>
                      </c:pt>
                      <c:pt idx="5074">
                        <c:v>-2.0468787609999999</c:v>
                      </c:pt>
                      <c:pt idx="5075">
                        <c:v>-2.0457434459999999</c:v>
                      </c:pt>
                      <c:pt idx="5076">
                        <c:v>-2.0431680000000001</c:v>
                      </c:pt>
                      <c:pt idx="5077">
                        <c:v>-2.0430145909999999</c:v>
                      </c:pt>
                      <c:pt idx="5078">
                        <c:v>-2.040809877</c:v>
                      </c:pt>
                      <c:pt idx="5079">
                        <c:v>-2.0402866639999999</c:v>
                      </c:pt>
                      <c:pt idx="5080">
                        <c:v>-2.0400239490000001</c:v>
                      </c:pt>
                      <c:pt idx="5081">
                        <c:v>-2.0378629799999999</c:v>
                      </c:pt>
                      <c:pt idx="5082">
                        <c:v>-2.0378413590000002</c:v>
                      </c:pt>
                      <c:pt idx="5083">
                        <c:v>-2.0373172940000002</c:v>
                      </c:pt>
                      <c:pt idx="5084">
                        <c:v>-2.0359206319999998</c:v>
                      </c:pt>
                      <c:pt idx="5085">
                        <c:v>-2.035811501</c:v>
                      </c:pt>
                      <c:pt idx="5086">
                        <c:v>-2.0357663819999998</c:v>
                      </c:pt>
                      <c:pt idx="5087">
                        <c:v>-2.03476371</c:v>
                      </c:pt>
                      <c:pt idx="5088">
                        <c:v>-2.0312062530000001</c:v>
                      </c:pt>
                      <c:pt idx="5089">
                        <c:v>-2.0302633459999999</c:v>
                      </c:pt>
                      <c:pt idx="5090">
                        <c:v>-2.0298739509999999</c:v>
                      </c:pt>
                      <c:pt idx="5091">
                        <c:v>-2.0268400569999998</c:v>
                      </c:pt>
                      <c:pt idx="5092">
                        <c:v>-2.0265332489999999</c:v>
                      </c:pt>
                      <c:pt idx="5093">
                        <c:v>-2.0264911969999999</c:v>
                      </c:pt>
                      <c:pt idx="5094">
                        <c:v>-2.0257268900000001</c:v>
                      </c:pt>
                      <c:pt idx="5095">
                        <c:v>-2.0241334019999999</c:v>
                      </c:pt>
                      <c:pt idx="5096">
                        <c:v>-2.0241102529999999</c:v>
                      </c:pt>
                      <c:pt idx="5097">
                        <c:v>-2.0229315240000001</c:v>
                      </c:pt>
                      <c:pt idx="5098">
                        <c:v>-2.020072147</c:v>
                      </c:pt>
                      <c:pt idx="5099">
                        <c:v>-2.014091192</c:v>
                      </c:pt>
                      <c:pt idx="5100">
                        <c:v>-2.0127171760000002</c:v>
                      </c:pt>
                      <c:pt idx="5101">
                        <c:v>-2.012324387</c:v>
                      </c:pt>
                      <c:pt idx="5102">
                        <c:v>-2.010618188</c:v>
                      </c:pt>
                      <c:pt idx="5103">
                        <c:v>-2.0102945179999998</c:v>
                      </c:pt>
                      <c:pt idx="5104">
                        <c:v>-2.0098797589999999</c:v>
                      </c:pt>
                      <c:pt idx="5105">
                        <c:v>-2.0075878629999999</c:v>
                      </c:pt>
                      <c:pt idx="5106">
                        <c:v>-2.0053831500000001</c:v>
                      </c:pt>
                      <c:pt idx="5107">
                        <c:v>-2.0052958040000002</c:v>
                      </c:pt>
                      <c:pt idx="5108">
                        <c:v>-2.0046130469999999</c:v>
                      </c:pt>
                      <c:pt idx="5109">
                        <c:v>-2.003177236</c:v>
                      </c:pt>
                      <c:pt idx="5110">
                        <c:v>-2.0018893769999999</c:v>
                      </c:pt>
                      <c:pt idx="5111">
                        <c:v>-2.0016710940000002</c:v>
                      </c:pt>
                      <c:pt idx="5112">
                        <c:v>-1.999205707</c:v>
                      </c:pt>
                      <c:pt idx="5113">
                        <c:v>-1.9991622899999999</c:v>
                      </c:pt>
                      <c:pt idx="5114">
                        <c:v>-1.9976985490000001</c:v>
                      </c:pt>
                      <c:pt idx="5115">
                        <c:v>-1.9956479110000001</c:v>
                      </c:pt>
                      <c:pt idx="5116">
                        <c:v>-1.994665506</c:v>
                      </c:pt>
                      <c:pt idx="5117">
                        <c:v>-1.9930490329999999</c:v>
                      </c:pt>
                      <c:pt idx="5118">
                        <c:v>-1.991805955</c:v>
                      </c:pt>
                      <c:pt idx="5119">
                        <c:v>-1.991674003</c:v>
                      </c:pt>
                      <c:pt idx="5120">
                        <c:v>-1.990538865</c:v>
                      </c:pt>
                      <c:pt idx="5121">
                        <c:v>-1.9882044050000001</c:v>
                      </c:pt>
                      <c:pt idx="5122">
                        <c:v>-1.9876369229999999</c:v>
                      </c:pt>
                      <c:pt idx="5123">
                        <c:v>-1.9872429330000001</c:v>
                      </c:pt>
                      <c:pt idx="5124">
                        <c:v>-1.985976357</c:v>
                      </c:pt>
                      <c:pt idx="5125">
                        <c:v>-1.9839027440000001</c:v>
                      </c:pt>
                      <c:pt idx="5126">
                        <c:v>-1.9826153870000001</c:v>
                      </c:pt>
                      <c:pt idx="5127">
                        <c:v>-1.9822889990000001</c:v>
                      </c:pt>
                      <c:pt idx="5128">
                        <c:v>-1.981916805</c:v>
                      </c:pt>
                      <c:pt idx="5129">
                        <c:v>-1.981851255</c:v>
                      </c:pt>
                      <c:pt idx="5130">
                        <c:v>-1.9809127689999999</c:v>
                      </c:pt>
                      <c:pt idx="5131">
                        <c:v>-1.9803885290000001</c:v>
                      </c:pt>
                      <c:pt idx="5132">
                        <c:v>-1.980237172</c:v>
                      </c:pt>
                      <c:pt idx="5133">
                        <c:v>-1.97971327</c:v>
                      </c:pt>
                      <c:pt idx="5134">
                        <c:v>-1.978467977</c:v>
                      </c:pt>
                      <c:pt idx="5135">
                        <c:v>-1.9781197930000001</c:v>
                      </c:pt>
                      <c:pt idx="5136">
                        <c:v>-1.9780969829999999</c:v>
                      </c:pt>
                      <c:pt idx="5137">
                        <c:v>-1.977289259</c:v>
                      </c:pt>
                      <c:pt idx="5138">
                        <c:v>-1.9759349980000001</c:v>
                      </c:pt>
                      <c:pt idx="5139">
                        <c:v>-1.9746253439999999</c:v>
                      </c:pt>
                      <c:pt idx="5140">
                        <c:v>-1.9743207410000001</c:v>
                      </c:pt>
                      <c:pt idx="5141">
                        <c:v>-1.9741678439999999</c:v>
                      </c:pt>
                      <c:pt idx="5142">
                        <c:v>-1.97054416</c:v>
                      </c:pt>
                      <c:pt idx="5143">
                        <c:v>-1.9698459159999999</c:v>
                      </c:pt>
                      <c:pt idx="5144">
                        <c:v>-1.969627644</c:v>
                      </c:pt>
                      <c:pt idx="5145">
                        <c:v>-1.968645228</c:v>
                      </c:pt>
                      <c:pt idx="5146">
                        <c:v>-1.9686013099999999</c:v>
                      </c:pt>
                      <c:pt idx="5147">
                        <c:v>-1.9657642310000001</c:v>
                      </c:pt>
                      <c:pt idx="5148">
                        <c:v>-1.964585</c:v>
                      </c:pt>
                      <c:pt idx="5149">
                        <c:v>4.493499473</c:v>
                      </c:pt>
                      <c:pt idx="5150">
                        <c:v>9.4370628889999999</c:v>
                      </c:pt>
                      <c:pt idx="5151">
                        <c:v>19.226548690000001</c:v>
                      </c:pt>
                      <c:pt idx="5152">
                        <c:v>21.347251579999998</c:v>
                      </c:pt>
                      <c:pt idx="5153">
                        <c:v>25.283976899999999</c:v>
                      </c:pt>
                      <c:pt idx="5154">
                        <c:v>30.732902110000001</c:v>
                      </c:pt>
                      <c:pt idx="5155">
                        <c:v>33.758815650000003</c:v>
                      </c:pt>
                      <c:pt idx="5156">
                        <c:v>34.467280879999997</c:v>
                      </c:pt>
                      <c:pt idx="5157">
                        <c:v>47.08437052</c:v>
                      </c:pt>
                      <c:pt idx="5158">
                        <c:v>51.318661339999998</c:v>
                      </c:pt>
                      <c:pt idx="5159">
                        <c:v>61.511931959999998</c:v>
                      </c:pt>
                      <c:pt idx="5160">
                        <c:v>74.835115189999996</c:v>
                      </c:pt>
                      <c:pt idx="5161">
                        <c:v>78.873417480000001</c:v>
                      </c:pt>
                      <c:pt idx="5162">
                        <c:v>81.998536340000001</c:v>
                      </c:pt>
                      <c:pt idx="5163">
                        <c:v>85.026064629999993</c:v>
                      </c:pt>
                      <c:pt idx="5164">
                        <c:v>91.787214770000006</c:v>
                      </c:pt>
                      <c:pt idx="5165">
                        <c:v>94.108649470000003</c:v>
                      </c:pt>
                      <c:pt idx="5166">
                        <c:v>99.962166839999995</c:v>
                      </c:pt>
                      <c:pt idx="5167">
                        <c:v>101.0744674</c:v>
                      </c:pt>
                      <c:pt idx="5168">
                        <c:v>103.4943</c:v>
                      </c:pt>
                      <c:pt idx="5169">
                        <c:v>117.48220000000001</c:v>
                      </c:pt>
                      <c:pt idx="5170">
                        <c:v>87.69905</c:v>
                      </c:pt>
                      <c:pt idx="5171">
                        <c:v>58.211342510000001</c:v>
                      </c:pt>
                      <c:pt idx="5172">
                        <c:v>-1.964585</c:v>
                      </c:pt>
                      <c:pt idx="5173">
                        <c:v>-1.523955433</c:v>
                      </c:pt>
                      <c:pt idx="5174">
                        <c:v>-1.244049381</c:v>
                      </c:pt>
                      <c:pt idx="5175">
                        <c:v>1.0626085700000001</c:v>
                      </c:pt>
                      <c:pt idx="5176">
                        <c:v>1.2059302780000001</c:v>
                      </c:pt>
                      <c:pt idx="5177">
                        <c:v>3.3675731799999999</c:v>
                      </c:pt>
                      <c:pt idx="5178">
                        <c:v>11.87024665</c:v>
                      </c:pt>
                      <c:pt idx="5179">
                        <c:v>16.04909387</c:v>
                      </c:pt>
                      <c:pt idx="5180">
                        <c:v>21.237353890000001</c:v>
                      </c:pt>
                      <c:pt idx="5181">
                        <c:v>27.146185559999999</c:v>
                      </c:pt>
                      <c:pt idx="5182">
                        <c:v>30.820884830000001</c:v>
                      </c:pt>
                      <c:pt idx="5183">
                        <c:v>32.406971120000001</c:v>
                      </c:pt>
                      <c:pt idx="5184">
                        <c:v>36.009721310000003</c:v>
                      </c:pt>
                      <c:pt idx="5185">
                        <c:v>37.594150290000002</c:v>
                      </c:pt>
                      <c:pt idx="5186">
                        <c:v>43.143813029999997</c:v>
                      </c:pt>
                      <c:pt idx="5187">
                        <c:v>47.609844080000002</c:v>
                      </c:pt>
                      <c:pt idx="5188">
                        <c:v>54.600614090000001</c:v>
                      </c:pt>
                      <c:pt idx="5189">
                        <c:v>56.475613600000003</c:v>
                      </c:pt>
                      <c:pt idx="5190">
                        <c:v>56.692001269999999</c:v>
                      </c:pt>
                      <c:pt idx="5191">
                        <c:v>63.822165869999999</c:v>
                      </c:pt>
                      <c:pt idx="5192">
                        <c:v>64.903563779999999</c:v>
                      </c:pt>
                      <c:pt idx="5193">
                        <c:v>65.263813580000004</c:v>
                      </c:pt>
                      <c:pt idx="5194">
                        <c:v>69.013272150000006</c:v>
                      </c:pt>
                      <c:pt idx="5195">
                        <c:v>74.27178791</c:v>
                      </c:pt>
                      <c:pt idx="5196">
                        <c:v>79.389251770000001</c:v>
                      </c:pt>
                      <c:pt idx="5197">
                        <c:v>81.620033520000007</c:v>
                      </c:pt>
                      <c:pt idx="5198">
                        <c:v>83.998064099999993</c:v>
                      </c:pt>
                      <c:pt idx="5199">
                        <c:v>97.473762829999998</c:v>
                      </c:pt>
                      <c:pt idx="5200">
                        <c:v>98.266823990000006</c:v>
                      </c:pt>
                      <c:pt idx="5201">
                        <c:v>99.565150000000003</c:v>
                      </c:pt>
                      <c:pt idx="5202">
                        <c:v>117.5607</c:v>
                      </c:pt>
                      <c:pt idx="5203">
                        <c:v>104.1884695</c:v>
                      </c:pt>
                      <c:pt idx="5204">
                        <c:v>91.215506910000002</c:v>
                      </c:pt>
                      <c:pt idx="5205">
                        <c:v>77.640370000000004</c:v>
                      </c:pt>
                      <c:pt idx="5206">
                        <c:v>94.771559999999994</c:v>
                      </c:pt>
                      <c:pt idx="5207">
                        <c:v>108.9166</c:v>
                      </c:pt>
                      <c:pt idx="5208">
                        <c:v>88.091970000000003</c:v>
                      </c:pt>
                      <c:pt idx="5209">
                        <c:v>110.2525</c:v>
                      </c:pt>
                      <c:pt idx="5210">
                        <c:v>85.577299999999994</c:v>
                      </c:pt>
                      <c:pt idx="5211">
                        <c:v>98.779319999999998</c:v>
                      </c:pt>
                      <c:pt idx="5212">
                        <c:v>124.79040000000001</c:v>
                      </c:pt>
                      <c:pt idx="5213">
                        <c:v>93.357050000000001</c:v>
                      </c:pt>
                      <c:pt idx="5214">
                        <c:v>117.4036</c:v>
                      </c:pt>
                      <c:pt idx="5215">
                        <c:v>91.078149999999994</c:v>
                      </c:pt>
                      <c:pt idx="5216">
                        <c:v>106.5591</c:v>
                      </c:pt>
                      <c:pt idx="5217">
                        <c:v>123.4545</c:v>
                      </c:pt>
                      <c:pt idx="5218">
                        <c:v>96.107470000000006</c:v>
                      </c:pt>
                      <c:pt idx="5219">
                        <c:v>124.63330000000001</c:v>
                      </c:pt>
                      <c:pt idx="5220">
                        <c:v>126.73965339999999</c:v>
                      </c:pt>
                      <c:pt idx="5221">
                        <c:v>141.92160000000001</c:v>
                      </c:pt>
                      <c:pt idx="5222">
                        <c:v>125.5762</c:v>
                      </c:pt>
                      <c:pt idx="5223">
                        <c:v>148.60120000000001</c:v>
                      </c:pt>
                      <c:pt idx="5224">
                        <c:v>123.5331</c:v>
                      </c:pt>
                      <c:pt idx="5225">
                        <c:v>128.24200959999999</c:v>
                      </c:pt>
                      <c:pt idx="5226">
                        <c:v>149.93709999999999</c:v>
                      </c:pt>
                      <c:pt idx="5227">
                        <c:v>118.6609</c:v>
                      </c:pt>
                      <c:pt idx="5228">
                        <c:v>140.50710000000001</c:v>
                      </c:pt>
                      <c:pt idx="5229">
                        <c:v>123.14019999999999</c:v>
                      </c:pt>
                      <c:pt idx="5230">
                        <c:v>134.92769999999999</c:v>
                      </c:pt>
                      <c:pt idx="5231">
                        <c:v>121.4113</c:v>
                      </c:pt>
                      <c:pt idx="5232">
                        <c:v>146.71520000000001</c:v>
                      </c:pt>
                      <c:pt idx="5233">
                        <c:v>125.812</c:v>
                      </c:pt>
                      <c:pt idx="5234">
                        <c:v>139.64269999999999</c:v>
                      </c:pt>
                      <c:pt idx="5235">
                        <c:v>170.44739999999999</c:v>
                      </c:pt>
                      <c:pt idx="5236">
                        <c:v>140.03559999999999</c:v>
                      </c:pt>
                      <c:pt idx="5237">
                        <c:v>159.2885</c:v>
                      </c:pt>
                      <c:pt idx="5238">
                        <c:v>153.16004050000001</c:v>
                      </c:pt>
                      <c:pt idx="5239">
                        <c:v>143.9648</c:v>
                      </c:pt>
                      <c:pt idx="5240">
                        <c:v>157.95259999999999</c:v>
                      </c:pt>
                      <c:pt idx="5241">
                        <c:v>171.62610000000001</c:v>
                      </c:pt>
                      <c:pt idx="5242">
                        <c:v>158.1883</c:v>
                      </c:pt>
                      <c:pt idx="5243">
                        <c:v>170.52590000000001</c:v>
                      </c:pt>
                      <c:pt idx="5244">
                        <c:v>172.0683128</c:v>
                      </c:pt>
                      <c:pt idx="5245">
                        <c:v>180.8989</c:v>
                      </c:pt>
                      <c:pt idx="5246">
                        <c:v>196.99174160000001</c:v>
                      </c:pt>
                      <c:pt idx="5247">
                        <c:v>202.5094</c:v>
                      </c:pt>
                      <c:pt idx="5248">
                        <c:v>189.386</c:v>
                      </c:pt>
                      <c:pt idx="5249">
                        <c:v>204.3954</c:v>
                      </c:pt>
                      <c:pt idx="5250">
                        <c:v>214.53270000000001</c:v>
                      </c:pt>
                      <c:pt idx="5251">
                        <c:v>216.6104972</c:v>
                      </c:pt>
                      <c:pt idx="5252">
                        <c:v>226.7131</c:v>
                      </c:pt>
                      <c:pt idx="5253">
                        <c:v>209.97479999999999</c:v>
                      </c:pt>
                      <c:pt idx="5254">
                        <c:v>226.87020000000001</c:v>
                      </c:pt>
                      <c:pt idx="5255">
                        <c:v>209.0318</c:v>
                      </c:pt>
                      <c:pt idx="5256">
                        <c:v>234.0213</c:v>
                      </c:pt>
                      <c:pt idx="5257">
                        <c:v>209.4247</c:v>
                      </c:pt>
                      <c:pt idx="5258">
                        <c:v>227.65610000000001</c:v>
                      </c:pt>
                      <c:pt idx="5259">
                        <c:v>231.8073358</c:v>
                      </c:pt>
                      <c:pt idx="5260">
                        <c:v>238.01448920000001</c:v>
                      </c:pt>
                      <c:pt idx="5261">
                        <c:v>244.47290000000001</c:v>
                      </c:pt>
                      <c:pt idx="5262">
                        <c:v>233.39259999999999</c:v>
                      </c:pt>
                      <c:pt idx="5263">
                        <c:v>247.6163</c:v>
                      </c:pt>
                      <c:pt idx="5264">
                        <c:v>229.5421</c:v>
                      </c:pt>
                      <c:pt idx="5265">
                        <c:v>232.48449669999999</c:v>
                      </c:pt>
                      <c:pt idx="5266">
                        <c:v>246.67320000000001</c:v>
                      </c:pt>
                      <c:pt idx="5267">
                        <c:v>233.3141</c:v>
                      </c:pt>
                      <c:pt idx="5268">
                        <c:v>248.48070000000001</c:v>
                      </c:pt>
                      <c:pt idx="5269">
                        <c:v>260.42529999999999</c:v>
                      </c:pt>
                      <c:pt idx="5270">
                        <c:v>245.88740000000001</c:v>
                      </c:pt>
                      <c:pt idx="5271">
                        <c:v>249.73411770000001</c:v>
                      </c:pt>
                      <c:pt idx="5272">
                        <c:v>268.28359999999998</c:v>
                      </c:pt>
                      <c:pt idx="5273">
                        <c:v>254.21719999999999</c:v>
                      </c:pt>
                      <c:pt idx="5274">
                        <c:v>340.03030000000001</c:v>
                      </c:pt>
                      <c:pt idx="5275">
                        <c:v>277.08510000000001</c:v>
                      </c:pt>
                      <c:pt idx="5276">
                        <c:v>333.82220000000001</c:v>
                      </c:pt>
                      <c:pt idx="5277">
                        <c:v>293.43040000000002</c:v>
                      </c:pt>
                      <c:pt idx="5278">
                        <c:v>313.39049999999997</c:v>
                      </c:pt>
                      <c:pt idx="5279">
                        <c:v>311.0029553</c:v>
                      </c:pt>
                      <c:pt idx="5280">
                        <c:v>308.57652940000003</c:v>
                      </c:pt>
                      <c:pt idx="5281">
                        <c:v>306.15010339999998</c:v>
                      </c:pt>
                      <c:pt idx="5282">
                        <c:v>298.8526</c:v>
                      </c:pt>
                      <c:pt idx="5283">
                        <c:v>310.48289999999997</c:v>
                      </c:pt>
                      <c:pt idx="5284">
                        <c:v>310.94328460000003</c:v>
                      </c:pt>
                      <c:pt idx="5285">
                        <c:v>323.84210000000002</c:v>
                      </c:pt>
                      <c:pt idx="5286">
                        <c:v>307.57530000000003</c:v>
                      </c:pt>
                      <c:pt idx="5287">
                        <c:v>318.81279999999998</c:v>
                      </c:pt>
                      <c:pt idx="5288">
                        <c:v>308.75420000000003</c:v>
                      </c:pt>
                      <c:pt idx="5289">
                        <c:v>330.52170000000001</c:v>
                      </c:pt>
                      <c:pt idx="5290">
                        <c:v>316.37670000000003</c:v>
                      </c:pt>
                      <c:pt idx="5291">
                        <c:v>326.82830000000001</c:v>
                      </c:pt>
                      <c:pt idx="5292">
                        <c:v>315.11939999999998</c:v>
                      </c:pt>
                      <c:pt idx="5293">
                        <c:v>316.54721069999999</c:v>
                      </c:pt>
                      <c:pt idx="5294">
                        <c:v>326.74970000000002</c:v>
                      </c:pt>
                      <c:pt idx="5295">
                        <c:v>311.6617</c:v>
                      </c:pt>
                      <c:pt idx="5296">
                        <c:v>298.774</c:v>
                      </c:pt>
                      <c:pt idx="5297">
                        <c:v>328.71429999999998</c:v>
                      </c:pt>
                      <c:pt idx="5298">
                        <c:v>309.85430000000002</c:v>
                      </c:pt>
                      <c:pt idx="5299">
                        <c:v>320.77730000000003</c:v>
                      </c:pt>
                      <c:pt idx="5300">
                        <c:v>309.46140000000003</c:v>
                      </c:pt>
                      <c:pt idx="5301">
                        <c:v>313.21674410000003</c:v>
                      </c:pt>
                      <c:pt idx="5302">
                        <c:v>320.78572789999998</c:v>
                      </c:pt>
                      <c:pt idx="5303">
                        <c:v>322.66340000000002</c:v>
                      </c:pt>
                      <c:pt idx="5304">
                        <c:v>314.64126019999998</c:v>
                      </c:pt>
                      <c:pt idx="5305">
                        <c:v>306.55380000000002</c:v>
                      </c:pt>
                      <c:pt idx="5306">
                        <c:v>317.63400000000001</c:v>
                      </c:pt>
                      <c:pt idx="5307">
                        <c:v>334.3723</c:v>
                      </c:pt>
                      <c:pt idx="5308">
                        <c:v>311.81880000000001</c:v>
                      </c:pt>
                      <c:pt idx="5309">
                        <c:v>332.72199999999998</c:v>
                      </c:pt>
                      <c:pt idx="5310">
                        <c:v>319.28429999999997</c:v>
                      </c:pt>
                      <c:pt idx="5311">
                        <c:v>324.7019009</c:v>
                      </c:pt>
                      <c:pt idx="5312">
                        <c:v>329.86966150000001</c:v>
                      </c:pt>
                      <c:pt idx="5313">
                        <c:v>335.0795</c:v>
                      </c:pt>
                      <c:pt idx="5314">
                        <c:v>322.74189999999999</c:v>
                      </c:pt>
                      <c:pt idx="5315">
                        <c:v>337.75139999999999</c:v>
                      </c:pt>
                      <c:pt idx="5316">
                        <c:v>323.52780000000001</c:v>
                      </c:pt>
                      <c:pt idx="5317">
                        <c:v>341.75920000000002</c:v>
                      </c:pt>
                      <c:pt idx="5318">
                        <c:v>325.49239999999998</c:v>
                      </c:pt>
                      <c:pt idx="5319">
                        <c:v>338.30149999999998</c:v>
                      </c:pt>
                      <c:pt idx="5320">
                        <c:v>323.13490000000002</c:v>
                      </c:pt>
                      <c:pt idx="5321">
                        <c:v>354.33240000000001</c:v>
                      </c:pt>
                      <c:pt idx="5322">
                        <c:v>322.66340000000002</c:v>
                      </c:pt>
                      <c:pt idx="5323">
                        <c:v>338.53719999999998</c:v>
                      </c:pt>
                      <c:pt idx="5324">
                        <c:v>335.63306449999999</c:v>
                      </c:pt>
                      <c:pt idx="5325">
                        <c:v>326.82830000000001</c:v>
                      </c:pt>
                      <c:pt idx="5326">
                        <c:v>353.70370000000003</c:v>
                      </c:pt>
                      <c:pt idx="5327">
                        <c:v>329.42149999999998</c:v>
                      </c:pt>
                      <c:pt idx="5328">
                        <c:v>341.91629999999998</c:v>
                      </c:pt>
                      <c:pt idx="5329">
                        <c:v>330.9932</c:v>
                      </c:pt>
                      <c:pt idx="5330">
                        <c:v>350.95339999999999</c:v>
                      </c:pt>
                      <c:pt idx="5331">
                        <c:v>334.92230000000001</c:v>
                      </c:pt>
                      <c:pt idx="5332">
                        <c:v>348.91019999999997</c:v>
                      </c:pt>
                      <c:pt idx="5333">
                        <c:v>352.45937889999999</c:v>
                      </c:pt>
                      <c:pt idx="5334">
                        <c:v>353.05496060000002</c:v>
                      </c:pt>
                      <c:pt idx="5335">
                        <c:v>366.35570000000001</c:v>
                      </c:pt>
                      <c:pt idx="5336">
                        <c:v>354.96109999999999</c:v>
                      </c:pt>
                      <c:pt idx="5337">
                        <c:v>360.10541690000002</c:v>
                      </c:pt>
                      <c:pt idx="5338">
                        <c:v>365.4938358</c:v>
                      </c:pt>
                      <c:pt idx="5339">
                        <c:v>370.5992</c:v>
                      </c:pt>
                      <c:pt idx="5340">
                        <c:v>398.4178</c:v>
                      </c:pt>
                      <c:pt idx="5341">
                        <c:v>392.8838902</c:v>
                      </c:pt>
                      <c:pt idx="5342">
                        <c:v>366.19850000000002</c:v>
                      </c:pt>
                      <c:pt idx="5343">
                        <c:v>379.4006</c:v>
                      </c:pt>
                      <c:pt idx="5344">
                        <c:v>389.88276880000001</c:v>
                      </c:pt>
                      <c:pt idx="5345">
                        <c:v>392.60090150000002</c:v>
                      </c:pt>
                      <c:pt idx="5346">
                        <c:v>395.19589999999999</c:v>
                      </c:pt>
                      <c:pt idx="5347">
                        <c:v>376.96449999999999</c:v>
                      </c:pt>
                      <c:pt idx="5348">
                        <c:v>389.46513190000002</c:v>
                      </c:pt>
                      <c:pt idx="5349">
                        <c:v>393.5455</c:v>
                      </c:pt>
                      <c:pt idx="5350">
                        <c:v>375.94290000000001</c:v>
                      </c:pt>
                      <c:pt idx="5351">
                        <c:v>393.46699999999998</c:v>
                      </c:pt>
                      <c:pt idx="5352">
                        <c:v>392.36221569999998</c:v>
                      </c:pt>
                      <c:pt idx="5353">
                        <c:v>387.30427939999998</c:v>
                      </c:pt>
                      <c:pt idx="5354">
                        <c:v>381.28660000000002</c:v>
                      </c:pt>
                      <c:pt idx="5355">
                        <c:v>408.39780000000002</c:v>
                      </c:pt>
                      <c:pt idx="5356">
                        <c:v>397.63189999999997</c:v>
                      </c:pt>
                      <c:pt idx="5357">
                        <c:v>400.93148230000003</c:v>
                      </c:pt>
                      <c:pt idx="5358">
                        <c:v>404.25793160000001</c:v>
                      </c:pt>
                      <c:pt idx="5359">
                        <c:v>407.74222359999999</c:v>
                      </c:pt>
                      <c:pt idx="5360">
                        <c:v>411.0686728</c:v>
                      </c:pt>
                      <c:pt idx="5361">
                        <c:v>414.34306779999997</c:v>
                      </c:pt>
                      <c:pt idx="5362">
                        <c:v>417.72325080000002</c:v>
                      </c:pt>
                      <c:pt idx="5363">
                        <c:v>421.04969999999997</c:v>
                      </c:pt>
                      <c:pt idx="5364">
                        <c:v>390.48079999999999</c:v>
                      </c:pt>
                      <c:pt idx="5365">
                        <c:v>405.25450000000001</c:v>
                      </c:pt>
                      <c:pt idx="5366">
                        <c:v>419.2423</c:v>
                      </c:pt>
                      <c:pt idx="5367">
                        <c:v>402.26839999999999</c:v>
                      </c:pt>
                      <c:pt idx="5368">
                        <c:v>402.89065390000002</c:v>
                      </c:pt>
                      <c:pt idx="5369">
                        <c:v>405.88944429999998</c:v>
                      </c:pt>
                      <c:pt idx="5370">
                        <c:v>409.42885180000002</c:v>
                      </c:pt>
                      <c:pt idx="5371">
                        <c:v>413.19139999999999</c:v>
                      </c:pt>
                      <c:pt idx="5372">
                        <c:v>425.1361</c:v>
                      </c:pt>
                      <c:pt idx="5373">
                        <c:v>393.62419999999997</c:v>
                      </c:pt>
                      <c:pt idx="5374">
                        <c:v>404.46870000000001</c:v>
                      </c:pt>
                      <c:pt idx="5375">
                        <c:v>421.59989999999999</c:v>
                      </c:pt>
                      <c:pt idx="5376">
                        <c:v>423.64631329999997</c:v>
                      </c:pt>
                      <c:pt idx="5377">
                        <c:v>425.66070300000001</c:v>
                      </c:pt>
                      <c:pt idx="5378">
                        <c:v>427.74017300000003</c:v>
                      </c:pt>
                      <c:pt idx="5379">
                        <c:v>429.78658619999999</c:v>
                      </c:pt>
                      <c:pt idx="5380">
                        <c:v>431.93010349999997</c:v>
                      </c:pt>
                      <c:pt idx="5381">
                        <c:v>433.97651680000001</c:v>
                      </c:pt>
                      <c:pt idx="5382">
                        <c:v>435.99090649999999</c:v>
                      </c:pt>
                      <c:pt idx="5383">
                        <c:v>438.10239999999999</c:v>
                      </c:pt>
                      <c:pt idx="5384">
                        <c:v>434.56465659999998</c:v>
                      </c:pt>
                      <c:pt idx="5385">
                        <c:v>418.37799999999999</c:v>
                      </c:pt>
                      <c:pt idx="5386">
                        <c:v>426.19120880000003</c:v>
                      </c:pt>
                      <c:pt idx="5387">
                        <c:v>429.77249999999998</c:v>
                      </c:pt>
                      <c:pt idx="5388">
                        <c:v>427.32096910000001</c:v>
                      </c:pt>
                      <c:pt idx="5389">
                        <c:v>424.84947629999999</c:v>
                      </c:pt>
                      <c:pt idx="5390">
                        <c:v>422.26070959999998</c:v>
                      </c:pt>
                      <c:pt idx="5391">
                        <c:v>419.78921680000002</c:v>
                      </c:pt>
                      <c:pt idx="5392">
                        <c:v>417.35640000000001</c:v>
                      </c:pt>
                      <c:pt idx="5393">
                        <c:v>431.81569999999999</c:v>
                      </c:pt>
                      <c:pt idx="5394">
                        <c:v>426.06528680000002</c:v>
                      </c:pt>
                      <c:pt idx="5395">
                        <c:v>420.04201319999999</c:v>
                      </c:pt>
                      <c:pt idx="5396">
                        <c:v>414.29160000000002</c:v>
                      </c:pt>
                      <c:pt idx="5397">
                        <c:v>442.42439999999999</c:v>
                      </c:pt>
                      <c:pt idx="5398">
                        <c:v>430.24400000000003</c:v>
                      </c:pt>
                      <c:pt idx="5399">
                        <c:v>431.35903789999998</c:v>
                      </c:pt>
                      <c:pt idx="5400">
                        <c:v>436.46080269999999</c:v>
                      </c:pt>
                      <c:pt idx="5401">
                        <c:v>442.58416590000002</c:v>
                      </c:pt>
                      <c:pt idx="5402">
                        <c:v>449.33980000000003</c:v>
                      </c:pt>
                      <c:pt idx="5403">
                        <c:v>432.20859999999999</c:v>
                      </c:pt>
                      <c:pt idx="5404">
                        <c:v>454.84059999999999</c:v>
                      </c:pt>
                      <c:pt idx="5405">
                        <c:v>409.0265</c:v>
                      </c:pt>
                      <c:pt idx="5406">
                        <c:v>453.42610000000002</c:v>
                      </c:pt>
                      <c:pt idx="5407">
                        <c:v>420.26389999999998</c:v>
                      </c:pt>
                      <c:pt idx="5408">
                        <c:v>434.48750000000001</c:v>
                      </c:pt>
                      <c:pt idx="5409">
                        <c:v>441.73550970000002</c:v>
                      </c:pt>
                      <c:pt idx="5410">
                        <c:v>448.86829999999998</c:v>
                      </c:pt>
                      <c:pt idx="5411">
                        <c:v>426.5505</c:v>
                      </c:pt>
                      <c:pt idx="5412">
                        <c:v>457.04090000000002</c:v>
                      </c:pt>
                      <c:pt idx="5413">
                        <c:v>603.99189999999999</c:v>
                      </c:pt>
                      <c:pt idx="5414">
                        <c:v>751.33579999999995</c:v>
                      </c:pt>
                      <c:pt idx="5415">
                        <c:v>675.76049230000001</c:v>
                      </c:pt>
                      <c:pt idx="5416">
                        <c:v>329.97160000000002</c:v>
                      </c:pt>
                      <c:pt idx="5417">
                        <c:v>454.52629999999999</c:v>
                      </c:pt>
                      <c:pt idx="5418">
                        <c:v>629.37440000000004</c:v>
                      </c:pt>
                      <c:pt idx="5419">
                        <c:v>746.5421</c:v>
                      </c:pt>
                      <c:pt idx="5420">
                        <c:v>604.54190000000006</c:v>
                      </c:pt>
                      <c:pt idx="5421">
                        <c:v>353.3895</c:v>
                      </c:pt>
                      <c:pt idx="5422">
                        <c:v>481.7946</c:v>
                      </c:pt>
                      <c:pt idx="5423">
                        <c:v>647.05212489999997</c:v>
                      </c:pt>
                      <c:pt idx="5424">
                        <c:v>648.31299999999999</c:v>
                      </c:pt>
                      <c:pt idx="5425">
                        <c:v>790.47019999999998</c:v>
                      </c:pt>
                      <c:pt idx="5426">
                        <c:v>500.49759999999998</c:v>
                      </c:pt>
                      <c:pt idx="5427">
                        <c:v>356.21850000000001</c:v>
                      </c:pt>
                      <c:pt idx="5428">
                        <c:v>511.34210000000002</c:v>
                      </c:pt>
                      <c:pt idx="5429">
                        <c:v>652.79219999999998</c:v>
                      </c:pt>
                      <c:pt idx="5430">
                        <c:v>789.21310000000005</c:v>
                      </c:pt>
                      <c:pt idx="5431">
                        <c:v>368.16320000000002</c:v>
                      </c:pt>
                      <c:pt idx="5432">
                        <c:v>375.2527844</c:v>
                      </c:pt>
                      <c:pt idx="5433">
                        <c:v>407.69060000000002</c:v>
                      </c:pt>
                      <c:pt idx="5434">
                        <c:v>543.79700000000003</c:v>
                      </c:pt>
                      <c:pt idx="5435">
                        <c:v>724.06730000000005</c:v>
                      </c:pt>
                      <c:pt idx="5436">
                        <c:v>836.87407580000001</c:v>
                      </c:pt>
                      <c:pt idx="5437">
                        <c:v>837.77750000000003</c:v>
                      </c:pt>
                      <c:pt idx="5438">
                        <c:v>333.66500000000002</c:v>
                      </c:pt>
                      <c:pt idx="5439">
                        <c:v>420.49959999999999</c:v>
                      </c:pt>
                      <c:pt idx="5440">
                        <c:v>588.90848359999995</c:v>
                      </c:pt>
                      <c:pt idx="5441">
                        <c:v>595.19060000000002</c:v>
                      </c:pt>
                      <c:pt idx="5442">
                        <c:v>733.10429999999997</c:v>
                      </c:pt>
                      <c:pt idx="5443">
                        <c:v>461.0487</c:v>
                      </c:pt>
                      <c:pt idx="5444">
                        <c:v>357.55439999999999</c:v>
                      </c:pt>
                      <c:pt idx="5445">
                        <c:v>511.10640000000001</c:v>
                      </c:pt>
                      <c:pt idx="5446">
                        <c:v>667.25160000000005</c:v>
                      </c:pt>
                      <c:pt idx="5447">
                        <c:v>790.25464639999996</c:v>
                      </c:pt>
                      <c:pt idx="5448">
                        <c:v>791.25620000000004</c:v>
                      </c:pt>
                      <c:pt idx="5449">
                        <c:v>337.12270000000001</c:v>
                      </c:pt>
                      <c:pt idx="5450">
                        <c:v>420.57819999999998</c:v>
                      </c:pt>
                      <c:pt idx="5451">
                        <c:v>560.29960000000005</c:v>
                      </c:pt>
                      <c:pt idx="5452">
                        <c:v>717.78060000000005</c:v>
                      </c:pt>
                      <c:pt idx="5453">
                        <c:v>706.28278160000002</c:v>
                      </c:pt>
                      <c:pt idx="5454">
                        <c:v>705.67880000000002</c:v>
                      </c:pt>
                      <c:pt idx="5455">
                        <c:v>335.94400000000002</c:v>
                      </c:pt>
                      <c:pt idx="5456">
                        <c:v>444.9391</c:v>
                      </c:pt>
                      <c:pt idx="5457">
                        <c:v>600.69129999999996</c:v>
                      </c:pt>
                      <c:pt idx="5458">
                        <c:v>747.72090000000003</c:v>
                      </c:pt>
                      <c:pt idx="5459">
                        <c:v>909.46872289999999</c:v>
                      </c:pt>
                      <c:pt idx="5460">
                        <c:v>910.70280000000002</c:v>
                      </c:pt>
                      <c:pt idx="5461">
                        <c:v>676.68140000000005</c:v>
                      </c:pt>
                      <c:pt idx="5462">
                        <c:v>327.2998</c:v>
                      </c:pt>
                      <c:pt idx="5463">
                        <c:v>488.71010000000001</c:v>
                      </c:pt>
                      <c:pt idx="5464">
                        <c:v>646.66269999999997</c:v>
                      </c:pt>
                      <c:pt idx="5465">
                        <c:v>778.36839999999995</c:v>
                      </c:pt>
                      <c:pt idx="5466">
                        <c:v>923.59059999999999</c:v>
                      </c:pt>
                      <c:pt idx="5467">
                        <c:v>1063.94</c:v>
                      </c:pt>
                      <c:pt idx="5468">
                        <c:v>1090.2266219999999</c:v>
                      </c:pt>
                      <c:pt idx="5469">
                        <c:v>1210.499</c:v>
                      </c:pt>
                      <c:pt idx="5470">
                        <c:v>672.75229999999999</c:v>
                      </c:pt>
                      <c:pt idx="5471">
                        <c:v>387.09561680000002</c:v>
                      </c:pt>
                      <c:pt idx="5472">
                        <c:v>374.29270000000002</c:v>
                      </c:pt>
                      <c:pt idx="5473">
                        <c:v>495.76586570000001</c:v>
                      </c:pt>
                      <c:pt idx="5474">
                        <c:v>496.80410000000001</c:v>
                      </c:pt>
                      <c:pt idx="5475">
                        <c:v>649.02009999999996</c:v>
                      </c:pt>
                      <c:pt idx="5476">
                        <c:v>792.27760000000001</c:v>
                      </c:pt>
                      <c:pt idx="5477">
                        <c:v>937.81410000000005</c:v>
                      </c:pt>
                      <c:pt idx="5478">
                        <c:v>1078.4000000000001</c:v>
                      </c:pt>
                      <c:pt idx="5479">
                        <c:v>1235.252</c:v>
                      </c:pt>
                      <c:pt idx="5480">
                        <c:v>1284.681</c:v>
                      </c:pt>
                      <c:pt idx="5481">
                        <c:v>878.30215759999999</c:v>
                      </c:pt>
                      <c:pt idx="5482">
                        <c:v>452.64030000000002</c:v>
                      </c:pt>
                      <c:pt idx="5483">
                        <c:v>1149.1893419999999</c:v>
                      </c:pt>
                      <c:pt idx="5484">
                        <c:v>1154.8610000000001</c:v>
                      </c:pt>
                      <c:pt idx="5485">
                        <c:v>1215.921</c:v>
                      </c:pt>
                      <c:pt idx="5486">
                        <c:v>1249.1610000000001</c:v>
                      </c:pt>
                      <c:pt idx="5487">
                        <c:v>1246.919474</c:v>
                      </c:pt>
                      <c:pt idx="5488">
                        <c:v>1217.414</c:v>
                      </c:pt>
                      <c:pt idx="5489">
                        <c:v>1204.683</c:v>
                      </c:pt>
                      <c:pt idx="5490">
                        <c:v>1218.828</c:v>
                      </c:pt>
                      <c:pt idx="5491">
                        <c:v>1220.7363700000001</c:v>
                      </c:pt>
                      <c:pt idx="5492">
                        <c:v>1228.5528569999999</c:v>
                      </c:pt>
                      <c:pt idx="5493">
                        <c:v>1234.4922919999999</c:v>
                      </c:pt>
                      <c:pt idx="5494">
                        <c:v>1236.431</c:v>
                      </c:pt>
                      <c:pt idx="5495">
                        <c:v>1233.9688249999999</c:v>
                      </c:pt>
                      <c:pt idx="5496">
                        <c:v>1226.385325</c:v>
                      </c:pt>
                      <c:pt idx="5497">
                        <c:v>1223.765318</c:v>
                      </c:pt>
                      <c:pt idx="5498">
                        <c:v>1221.2639999999999</c:v>
                      </c:pt>
                      <c:pt idx="5499">
                        <c:v>1234.9380000000001</c:v>
                      </c:pt>
                      <c:pt idx="5500">
                        <c:v>1231.285378</c:v>
                      </c:pt>
                      <c:pt idx="5501">
                        <c:v>1217.335</c:v>
                      </c:pt>
                      <c:pt idx="5502">
                        <c:v>1232.44217</c:v>
                      </c:pt>
                      <c:pt idx="5503">
                        <c:v>1232.502</c:v>
                      </c:pt>
                      <c:pt idx="5504">
                        <c:v>632.20348179999996</c:v>
                      </c:pt>
                      <c:pt idx="5505">
                        <c:v>-1.6502509999999999</c:v>
                      </c:pt>
                      <c:pt idx="5506">
                        <c:v>-1.6505179699999999</c:v>
                      </c:pt>
                      <c:pt idx="5507">
                        <c:v>-1.6506855300000001</c:v>
                      </c:pt>
                      <c:pt idx="5508">
                        <c:v>-1.6513856769999999</c:v>
                      </c:pt>
                      <c:pt idx="5509">
                        <c:v>-1.6519952330000001</c:v>
                      </c:pt>
                      <c:pt idx="5510">
                        <c:v>-1.652173009</c:v>
                      </c:pt>
                      <c:pt idx="5511">
                        <c:v>-1.6536543319999999</c:v>
                      </c:pt>
                      <c:pt idx="5512">
                        <c:v>-1.657411819</c:v>
                      </c:pt>
                      <c:pt idx="5513">
                        <c:v>-1.658807309</c:v>
                      </c:pt>
                      <c:pt idx="5514">
                        <c:v>-1.6588931410000001</c:v>
                      </c:pt>
                      <c:pt idx="5515">
                        <c:v>-1.6589803270000001</c:v>
                      </c:pt>
                      <c:pt idx="5516">
                        <c:v>-1.659067512</c:v>
                      </c:pt>
                      <c:pt idx="5517">
                        <c:v>-1.6593297229999999</c:v>
                      </c:pt>
                      <c:pt idx="5518">
                        <c:v>-1.659418917</c:v>
                      </c:pt>
                      <c:pt idx="5519">
                        <c:v>-1.659506103</c:v>
                      </c:pt>
                      <c:pt idx="5520">
                        <c:v>-1.659685887</c:v>
                      </c:pt>
                      <c:pt idx="5521">
                        <c:v>-1.6597683139999999</c:v>
                      </c:pt>
                      <c:pt idx="5522">
                        <c:v>-1.6599406329999999</c:v>
                      </c:pt>
                      <c:pt idx="5523">
                        <c:v>-1.6602028440000001</c:v>
                      </c:pt>
                      <c:pt idx="5524">
                        <c:v>-1.660290029</c:v>
                      </c:pt>
                      <c:pt idx="5525">
                        <c:v>-1.6611631499999999</c:v>
                      </c:pt>
                      <c:pt idx="5526">
                        <c:v>-1.6612503350000001</c:v>
                      </c:pt>
                      <c:pt idx="5527">
                        <c:v>-1.6616868730000001</c:v>
                      </c:pt>
                      <c:pt idx="5528">
                        <c:v>-1.6619491280000001</c:v>
                      </c:pt>
                      <c:pt idx="5529">
                        <c:v>-1.6623012319999999</c:v>
                      </c:pt>
                      <c:pt idx="5530">
                        <c:v>-1.6635203430000001</c:v>
                      </c:pt>
                      <c:pt idx="5531">
                        <c:v>-1.663610934</c:v>
                      </c:pt>
                      <c:pt idx="5532">
                        <c:v>-1.6636967229999999</c:v>
                      </c:pt>
                      <c:pt idx="5533">
                        <c:v>-1.66386974</c:v>
                      </c:pt>
                      <c:pt idx="5534">
                        <c:v>-1.663960331</c:v>
                      </c:pt>
                      <c:pt idx="5535">
                        <c:v>-1.6642191369999999</c:v>
                      </c:pt>
                      <c:pt idx="5536">
                        <c:v>-1.664306278</c:v>
                      </c:pt>
                      <c:pt idx="5537">
                        <c:v>-1.6643968689999999</c:v>
                      </c:pt>
                      <c:pt idx="5538">
                        <c:v>-1.6644827010000001</c:v>
                      </c:pt>
                      <c:pt idx="5539">
                        <c:v>-1.664568533</c:v>
                      </c:pt>
                      <c:pt idx="5540">
                        <c:v>-1.664657727</c:v>
                      </c:pt>
                      <c:pt idx="5541">
                        <c:v>-1.6647442139999999</c:v>
                      </c:pt>
                      <c:pt idx="5542">
                        <c:v>-1.6648300460000001</c:v>
                      </c:pt>
                      <c:pt idx="5543">
                        <c:v>-1.6650064250000001</c:v>
                      </c:pt>
                      <c:pt idx="5544">
                        <c:v>-1.6651794419999999</c:v>
                      </c:pt>
                      <c:pt idx="5545">
                        <c:v>-1.665355822</c:v>
                      </c:pt>
                      <c:pt idx="5546">
                        <c:v>-1.665615981</c:v>
                      </c:pt>
                      <c:pt idx="5547">
                        <c:v>-1.6657065719999999</c:v>
                      </c:pt>
                      <c:pt idx="5548">
                        <c:v>-1.6657924040000001</c:v>
                      </c:pt>
                      <c:pt idx="5549">
                        <c:v>-1.665878236</c:v>
                      </c:pt>
                      <c:pt idx="5550">
                        <c:v>-1.6659674289999999</c:v>
                      </c:pt>
                      <c:pt idx="5551">
                        <c:v>-1.666054615</c:v>
                      </c:pt>
                      <c:pt idx="5552">
                        <c:v>-1.6661404470000001</c:v>
                      </c:pt>
                      <c:pt idx="5553">
                        <c:v>-1.6663168260000001</c:v>
                      </c:pt>
                      <c:pt idx="5554">
                        <c:v>-1.6664019590000001</c:v>
                      </c:pt>
                      <c:pt idx="5555">
                        <c:v>-1.6664891449999999</c:v>
                      </c:pt>
                      <c:pt idx="5556">
                        <c:v>-1.6665797360000001</c:v>
                      </c:pt>
                      <c:pt idx="5557">
                        <c:v>-1.666751356</c:v>
                      </c:pt>
                      <c:pt idx="5558">
                        <c:v>-1.6669256830000001</c:v>
                      </c:pt>
                      <c:pt idx="5559">
                        <c:v>-1.667102106</c:v>
                      </c:pt>
                      <c:pt idx="5560">
                        <c:v>-1.6671879380000001</c:v>
                      </c:pt>
                      <c:pt idx="5561">
                        <c:v>-1.6672771319999999</c:v>
                      </c:pt>
                      <c:pt idx="5562">
                        <c:v>-1.6673643170000001</c:v>
                      </c:pt>
                      <c:pt idx="5563">
                        <c:v>-1.667450149</c:v>
                      </c:pt>
                      <c:pt idx="5564">
                        <c:v>-1.6675406960000001</c:v>
                      </c:pt>
                      <c:pt idx="5565">
                        <c:v>-1.667626528</c:v>
                      </c:pt>
                      <c:pt idx="5566">
                        <c:v>-1.6677116620000001</c:v>
                      </c:pt>
                      <c:pt idx="5567">
                        <c:v>-1.667798847</c:v>
                      </c:pt>
                      <c:pt idx="5568">
                        <c:v>-1.668150252</c:v>
                      </c:pt>
                      <c:pt idx="5569">
                        <c:v>-1.668413162</c:v>
                      </c:pt>
                      <c:pt idx="5570">
                        <c:v>-1.668673321</c:v>
                      </c:pt>
                      <c:pt idx="5571">
                        <c:v>-1.6686740200000001</c:v>
                      </c:pt>
                      <c:pt idx="5572">
                        <c:v>-1.6687591530000001</c:v>
                      </c:pt>
                      <c:pt idx="5573">
                        <c:v>-1.6689355320000001</c:v>
                      </c:pt>
                      <c:pt idx="5574">
                        <c:v>-1.66910855</c:v>
                      </c:pt>
                      <c:pt idx="5575">
                        <c:v>-1.669284929</c:v>
                      </c:pt>
                      <c:pt idx="5576">
                        <c:v>-1.669545088</c:v>
                      </c:pt>
                      <c:pt idx="5577">
                        <c:v>-1.669635679</c:v>
                      </c:pt>
                      <c:pt idx="5578">
                        <c:v>-1.6697215110000001</c:v>
                      </c:pt>
                      <c:pt idx="5579">
                        <c:v>-1.6698072989999999</c:v>
                      </c:pt>
                      <c:pt idx="5580">
                        <c:v>-1.669983722</c:v>
                      </c:pt>
                      <c:pt idx="5581">
                        <c:v>-1.670160101</c:v>
                      </c:pt>
                      <c:pt idx="5582">
                        <c:v>-1.670331067</c:v>
                      </c:pt>
                      <c:pt idx="5583">
                        <c:v>-1.6704182519999999</c:v>
                      </c:pt>
                      <c:pt idx="5584">
                        <c:v>-1.6705946309999999</c:v>
                      </c:pt>
                      <c:pt idx="5585">
                        <c:v>-1.670854791</c:v>
                      </c:pt>
                      <c:pt idx="5586">
                        <c:v>-1.6709453809999999</c:v>
                      </c:pt>
                      <c:pt idx="5587">
                        <c:v>-1.671031213</c:v>
                      </c:pt>
                      <c:pt idx="5588">
                        <c:v>-1.671206239</c:v>
                      </c:pt>
                      <c:pt idx="5589">
                        <c:v>-1.6729511699999999</c:v>
                      </c:pt>
                      <c:pt idx="5590">
                        <c:v>-1.6730376570000001</c:v>
                      </c:pt>
                      <c:pt idx="5591">
                        <c:v>-1.673564786</c:v>
                      </c:pt>
                      <c:pt idx="5592">
                        <c:v>-1.6738269969999999</c:v>
                      </c:pt>
                      <c:pt idx="5593">
                        <c:v>-1.674260174</c:v>
                      </c:pt>
                      <c:pt idx="5594">
                        <c:v>-1.6743473600000001</c:v>
                      </c:pt>
                      <c:pt idx="5595">
                        <c:v>-1.6745237390000001</c:v>
                      </c:pt>
                      <c:pt idx="5596">
                        <c:v>-1.6747042219999999</c:v>
                      </c:pt>
                      <c:pt idx="5597">
                        <c:v>-1.6748717820000001</c:v>
                      </c:pt>
                      <c:pt idx="5598">
                        <c:v>-1.6749623730000001</c:v>
                      </c:pt>
                      <c:pt idx="5599">
                        <c:v>-1.6750481610000001</c:v>
                      </c:pt>
                      <c:pt idx="5600">
                        <c:v>-1.675135346</c:v>
                      </c:pt>
                      <c:pt idx="5601">
                        <c:v>-1.676880277</c:v>
                      </c:pt>
                      <c:pt idx="5602">
                        <c:v>-1.677667566</c:v>
                      </c:pt>
                      <c:pt idx="5603">
                        <c:v>-1.6777547509999999</c:v>
                      </c:pt>
                      <c:pt idx="5604">
                        <c:v>-1.6778419369999999</c:v>
                      </c:pt>
                      <c:pt idx="5605">
                        <c:v>-1.677927725</c:v>
                      </c:pt>
                      <c:pt idx="5606">
                        <c:v>-1.679065807</c:v>
                      </c:pt>
                      <c:pt idx="5607">
                        <c:v>-1.6791516390000001</c:v>
                      </c:pt>
                      <c:pt idx="5608">
                        <c:v>-1.679237428</c:v>
                      </c:pt>
                      <c:pt idx="5609">
                        <c:v>-1.6793280180000001</c:v>
                      </c:pt>
                      <c:pt idx="5610">
                        <c:v>-1.67941385</c:v>
                      </c:pt>
                      <c:pt idx="5611">
                        <c:v>-1.6794996820000001</c:v>
                      </c:pt>
                      <c:pt idx="5612">
                        <c:v>-1.679586169</c:v>
                      </c:pt>
                      <c:pt idx="5613">
                        <c:v>-1.679762548</c:v>
                      </c:pt>
                      <c:pt idx="5614">
                        <c:v>-1.6799389709999999</c:v>
                      </c:pt>
                      <c:pt idx="5615">
                        <c:v>-1.6801105919999999</c:v>
                      </c:pt>
                      <c:pt idx="5616">
                        <c:v>-1.6808093850000001</c:v>
                      </c:pt>
                      <c:pt idx="5617">
                        <c:v>-1.680895872</c:v>
                      </c:pt>
                      <c:pt idx="5618">
                        <c:v>-1.6811580829999999</c:v>
                      </c:pt>
                      <c:pt idx="5619">
                        <c:v>-1.6813331090000001</c:v>
                      </c:pt>
                      <c:pt idx="5620">
                        <c:v>-1.681423699</c:v>
                      </c:pt>
                      <c:pt idx="5621">
                        <c:v>-1.6815094880000001</c:v>
                      </c:pt>
                      <c:pt idx="5622">
                        <c:v>-1.68159532</c:v>
                      </c:pt>
                      <c:pt idx="5623">
                        <c:v>-1.6816838590000001</c:v>
                      </c:pt>
                      <c:pt idx="5624">
                        <c:v>-1.681771044</c:v>
                      </c:pt>
                      <c:pt idx="5625">
                        <c:v>-1.681947423</c:v>
                      </c:pt>
                      <c:pt idx="5626">
                        <c:v>-1.682119044</c:v>
                      </c:pt>
                      <c:pt idx="5627">
                        <c:v>-1.6822055739999999</c:v>
                      </c:pt>
                      <c:pt idx="5628">
                        <c:v>-1.6823819529999999</c:v>
                      </c:pt>
                      <c:pt idx="5629">
                        <c:v>-1.682467785</c:v>
                      </c:pt>
                      <c:pt idx="5630">
                        <c:v>-1.6825556260000001</c:v>
                      </c:pt>
                      <c:pt idx="5631">
                        <c:v>-1.6826441640000001</c:v>
                      </c:pt>
                      <c:pt idx="5632">
                        <c:v>-1.6828246469999999</c:v>
                      </c:pt>
                      <c:pt idx="5633">
                        <c:v>-1.6836923539999999</c:v>
                      </c:pt>
                      <c:pt idx="5634">
                        <c:v>-1.683865328</c:v>
                      </c:pt>
                      <c:pt idx="5635">
                        <c:v>-1.683952514</c:v>
                      </c:pt>
                      <c:pt idx="5636">
                        <c:v>-1.6840431039999999</c:v>
                      </c:pt>
                      <c:pt idx="5637">
                        <c:v>-1.684128893</c:v>
                      </c:pt>
                      <c:pt idx="5638">
                        <c:v>-1.684303264</c:v>
                      </c:pt>
                      <c:pt idx="5639">
                        <c:v>-1.6844762369999999</c:v>
                      </c:pt>
                      <c:pt idx="5640">
                        <c:v>-1.6845668279999999</c:v>
                      </c:pt>
                      <c:pt idx="5641">
                        <c:v>-1.685263569</c:v>
                      </c:pt>
                      <c:pt idx="5642">
                        <c:v>-1.685700151</c:v>
                      </c:pt>
                      <c:pt idx="5643">
                        <c:v>-1.6863117590000001</c:v>
                      </c:pt>
                      <c:pt idx="5644">
                        <c:v>-1.6865719180000001</c:v>
                      </c:pt>
                      <c:pt idx="5645">
                        <c:v>-1.686922668</c:v>
                      </c:pt>
                      <c:pt idx="5646">
                        <c:v>-1.688145185</c:v>
                      </c:pt>
                      <c:pt idx="5647">
                        <c:v>-1.688233069</c:v>
                      </c:pt>
                      <c:pt idx="5648">
                        <c:v>-1.6884053450000001</c:v>
                      </c:pt>
                      <c:pt idx="5649">
                        <c:v>-1.688500039</c:v>
                      </c:pt>
                      <c:pt idx="5650">
                        <c:v>-1.689542772</c:v>
                      </c:pt>
                      <c:pt idx="5651">
                        <c:v>-1.6898914700000001</c:v>
                      </c:pt>
                      <c:pt idx="5652">
                        <c:v>-1.690677405</c:v>
                      </c:pt>
                      <c:pt idx="5653">
                        <c:v>-1.6909396160000001</c:v>
                      </c:pt>
                      <c:pt idx="5654">
                        <c:v>-1.6911153400000001</c:v>
                      </c:pt>
                      <c:pt idx="5655">
                        <c:v>-1.6912869610000001</c:v>
                      </c:pt>
                      <c:pt idx="5656">
                        <c:v>-1.691374146</c:v>
                      </c:pt>
                      <c:pt idx="5657">
                        <c:v>-1.6915505689999999</c:v>
                      </c:pt>
                      <c:pt idx="5658">
                        <c:v>-1.6916363569999999</c:v>
                      </c:pt>
                      <c:pt idx="5659">
                        <c:v>-1.6917235429999999</c:v>
                      </c:pt>
                      <c:pt idx="5660">
                        <c:v>-1.6918107280000001</c:v>
                      </c:pt>
                      <c:pt idx="5661">
                        <c:v>-1.6919013190000001</c:v>
                      </c:pt>
                      <c:pt idx="5662">
                        <c:v>-1.6919871070000001</c:v>
                      </c:pt>
                      <c:pt idx="5663">
                        <c:v>-1.692072939</c:v>
                      </c:pt>
                      <c:pt idx="5664">
                        <c:v>-1.6921614780000001</c:v>
                      </c:pt>
                      <c:pt idx="5665">
                        <c:v>-1.6923344520000001</c:v>
                      </c:pt>
                      <c:pt idx="5666">
                        <c:v>-1.6924250430000001</c:v>
                      </c:pt>
                      <c:pt idx="5667">
                        <c:v>-1.692510875</c:v>
                      </c:pt>
                      <c:pt idx="5668">
                        <c:v>-1.692596663</c:v>
                      </c:pt>
                      <c:pt idx="5669">
                        <c:v>-1.692683849</c:v>
                      </c:pt>
                      <c:pt idx="5670">
                        <c:v>-1.693122483</c:v>
                      </c:pt>
                      <c:pt idx="5671">
                        <c:v>-1.6933846939999999</c:v>
                      </c:pt>
                      <c:pt idx="5672">
                        <c:v>-1.693471181</c:v>
                      </c:pt>
                      <c:pt idx="5673">
                        <c:v>-1.693558366</c:v>
                      </c:pt>
                      <c:pt idx="5674">
                        <c:v>-1.693734745</c:v>
                      </c:pt>
                      <c:pt idx="5675">
                        <c:v>-1.6938205770000001</c:v>
                      </c:pt>
                      <c:pt idx="5676">
                        <c:v>-1.693906366</c:v>
                      </c:pt>
                      <c:pt idx="5677">
                        <c:v>-1.694169974</c:v>
                      </c:pt>
                      <c:pt idx="5678">
                        <c:v>-1.6942557620000001</c:v>
                      </c:pt>
                      <c:pt idx="5679">
                        <c:v>-1.6943429480000001</c:v>
                      </c:pt>
                      <c:pt idx="5680">
                        <c:v>-1.694430133</c:v>
                      </c:pt>
                      <c:pt idx="5681">
                        <c:v>-1.694520724</c:v>
                      </c:pt>
                      <c:pt idx="5682">
                        <c:v>-1.6946923439999999</c:v>
                      </c:pt>
                      <c:pt idx="5683">
                        <c:v>-1.6947829350000001</c:v>
                      </c:pt>
                      <c:pt idx="5684">
                        <c:v>-1.694954555</c:v>
                      </c:pt>
                      <c:pt idx="5685">
                        <c:v>-1.695045146</c:v>
                      </c:pt>
                      <c:pt idx="5686">
                        <c:v>-1.6953032530000001</c:v>
                      </c:pt>
                      <c:pt idx="5687">
                        <c:v>-1.695393844</c:v>
                      </c:pt>
                      <c:pt idx="5688">
                        <c:v>-1.695565465</c:v>
                      </c:pt>
                      <c:pt idx="5689">
                        <c:v>-1.6956560549999999</c:v>
                      </c:pt>
                      <c:pt idx="5690">
                        <c:v>-1.696264258</c:v>
                      </c:pt>
                      <c:pt idx="5691">
                        <c:v>-1.6972259169999999</c:v>
                      </c:pt>
                      <c:pt idx="5692">
                        <c:v>-1.697488128</c:v>
                      </c:pt>
                      <c:pt idx="5693">
                        <c:v>-1.697835473</c:v>
                      </c:pt>
                      <c:pt idx="5694">
                        <c:v>-1.699668943</c:v>
                      </c:pt>
                      <c:pt idx="5695">
                        <c:v>-1.699845322</c:v>
                      </c:pt>
                      <c:pt idx="5696">
                        <c:v>-1.7000258049999999</c:v>
                      </c:pt>
                      <c:pt idx="5697">
                        <c:v>-1.700894865</c:v>
                      </c:pt>
                      <c:pt idx="5698">
                        <c:v>-1.700898969</c:v>
                      </c:pt>
                      <c:pt idx="5699">
                        <c:v>-1.7018517660000001</c:v>
                      </c:pt>
                      <c:pt idx="5700">
                        <c:v>-1.7020281880000001</c:v>
                      </c:pt>
                      <c:pt idx="5701">
                        <c:v>-1.7026397959999999</c:v>
                      </c:pt>
                      <c:pt idx="5702">
                        <c:v>-1.7027269380000001</c:v>
                      </c:pt>
                      <c:pt idx="5703">
                        <c:v>-1.70281277</c:v>
                      </c:pt>
                      <c:pt idx="5704">
                        <c:v>-1.7029033609999999</c:v>
                      </c:pt>
                      <c:pt idx="5705">
                        <c:v>-1.702989149</c:v>
                      </c:pt>
                      <c:pt idx="5706">
                        <c:v>-1.7030742830000001</c:v>
                      </c:pt>
                      <c:pt idx="5707">
                        <c:v>-1.703161468</c:v>
                      </c:pt>
                      <c:pt idx="5708">
                        <c:v>-1.7034236789999999</c:v>
                      </c:pt>
                      <c:pt idx="5709">
                        <c:v>-1.7035142700000001</c:v>
                      </c:pt>
                      <c:pt idx="5710">
                        <c:v>-1.703600102</c:v>
                      </c:pt>
                      <c:pt idx="5711">
                        <c:v>-1.70403664</c:v>
                      </c:pt>
                      <c:pt idx="5712">
                        <c:v>-1.7042130630000001</c:v>
                      </c:pt>
                      <c:pt idx="5713">
                        <c:v>-1.7061302700000001</c:v>
                      </c:pt>
                      <c:pt idx="5714">
                        <c:v>-1.7063958859999999</c:v>
                      </c:pt>
                      <c:pt idx="5715">
                        <c:v>-1.706481718</c:v>
                      </c:pt>
                      <c:pt idx="5716">
                        <c:v>-1.70656886</c:v>
                      </c:pt>
                      <c:pt idx="5717">
                        <c:v>-1.7066560449999999</c:v>
                      </c:pt>
                      <c:pt idx="5718">
                        <c:v>-1.706741877</c:v>
                      </c:pt>
                      <c:pt idx="5719">
                        <c:v>-1.7070033899999999</c:v>
                      </c:pt>
                      <c:pt idx="5720">
                        <c:v>-1.7070953339999999</c:v>
                      </c:pt>
                      <c:pt idx="5721">
                        <c:v>-1.707181166</c:v>
                      </c:pt>
                      <c:pt idx="5722">
                        <c:v>-1.707439972</c:v>
                      </c:pt>
                      <c:pt idx="5723">
                        <c:v>-1.7077900239999999</c:v>
                      </c:pt>
                      <c:pt idx="5724">
                        <c:v>-1.7078785620000001</c:v>
                      </c:pt>
                      <c:pt idx="5725">
                        <c:v>-1.70805158</c:v>
                      </c:pt>
                      <c:pt idx="5726">
                        <c:v>-1.708142171</c:v>
                      </c:pt>
                      <c:pt idx="5727">
                        <c:v>-1.708227959</c:v>
                      </c:pt>
                      <c:pt idx="5728">
                        <c:v>-1.708313092</c:v>
                      </c:pt>
                      <c:pt idx="5729">
                        <c:v>-1.708490869</c:v>
                      </c:pt>
                      <c:pt idx="5730">
                        <c:v>-1.7085767009999999</c:v>
                      </c:pt>
                      <c:pt idx="5731">
                        <c:v>-1.708751028</c:v>
                      </c:pt>
                      <c:pt idx="5732">
                        <c:v>-1.708838912</c:v>
                      </c:pt>
                      <c:pt idx="5733">
                        <c:v>-1.7089247000000001</c:v>
                      </c:pt>
                      <c:pt idx="5734">
                        <c:v>-1.709015291</c:v>
                      </c:pt>
                      <c:pt idx="5735">
                        <c:v>-1.709018696</c:v>
                      </c:pt>
                      <c:pt idx="5736">
                        <c:v>-1.7091011229999999</c:v>
                      </c:pt>
                      <c:pt idx="5737">
                        <c:v>-1.7091882650000001</c:v>
                      </c:pt>
                      <c:pt idx="5738">
                        <c:v>-1.70927545</c:v>
                      </c:pt>
                      <c:pt idx="5739">
                        <c:v>-1.709623493</c:v>
                      </c:pt>
                      <c:pt idx="5740">
                        <c:v>-1.7112900579999999</c:v>
                      </c:pt>
                      <c:pt idx="5741">
                        <c:v>-1.7113697779999999</c:v>
                      </c:pt>
                      <c:pt idx="5742">
                        <c:v>-1.712075338</c:v>
                      </c:pt>
                      <c:pt idx="5743">
                        <c:v>-1.7129430450000001</c:v>
                      </c:pt>
                      <c:pt idx="5744">
                        <c:v>-1.713552601</c:v>
                      </c:pt>
                      <c:pt idx="5745">
                        <c:v>-1.7144270749999999</c:v>
                      </c:pt>
                      <c:pt idx="5746">
                        <c:v>-1.714600092</c:v>
                      </c:pt>
                      <c:pt idx="5747">
                        <c:v>-1.7146906829999999</c:v>
                      </c:pt>
                      <c:pt idx="5748">
                        <c:v>-1.714776471</c:v>
                      </c:pt>
                      <c:pt idx="5749">
                        <c:v>-1.7148623030000001</c:v>
                      </c:pt>
                      <c:pt idx="5750">
                        <c:v>-1.7149494890000001</c:v>
                      </c:pt>
                      <c:pt idx="5751">
                        <c:v>-1.7152117</c:v>
                      </c:pt>
                      <c:pt idx="5752">
                        <c:v>-1.7153860270000001</c:v>
                      </c:pt>
                      <c:pt idx="5753">
                        <c:v>-1.7154766180000001</c:v>
                      </c:pt>
                      <c:pt idx="5754">
                        <c:v>-1.71556245</c:v>
                      </c:pt>
                      <c:pt idx="5755">
                        <c:v>-1.715648238</c:v>
                      </c:pt>
                      <c:pt idx="5756">
                        <c:v>-1.7158246610000001</c:v>
                      </c:pt>
                      <c:pt idx="5757">
                        <c:v>-1.7159104489999999</c:v>
                      </c:pt>
                      <c:pt idx="5758">
                        <c:v>-1.716004445</c:v>
                      </c:pt>
                      <c:pt idx="5759">
                        <c:v>-1.716086872</c:v>
                      </c:pt>
                      <c:pt idx="5760">
                        <c:v>-1.7161720060000001</c:v>
                      </c:pt>
                      <c:pt idx="5761">
                        <c:v>-1.716263251</c:v>
                      </c:pt>
                      <c:pt idx="5762">
                        <c:v>-1.716434915</c:v>
                      </c:pt>
                      <c:pt idx="5763">
                        <c:v>-1.7166085879999999</c:v>
                      </c:pt>
                      <c:pt idx="5764">
                        <c:v>-1.716697127</c:v>
                      </c:pt>
                      <c:pt idx="5765">
                        <c:v>-1.716782915</c:v>
                      </c:pt>
                      <c:pt idx="5766">
                        <c:v>-1.716873506</c:v>
                      </c:pt>
                      <c:pt idx="5767">
                        <c:v>-1.7168776100000001</c:v>
                      </c:pt>
                      <c:pt idx="5768">
                        <c:v>-1.717046479</c:v>
                      </c:pt>
                      <c:pt idx="5769">
                        <c:v>-1.7172194970000001</c:v>
                      </c:pt>
                      <c:pt idx="5770">
                        <c:v>-1.7173100880000001</c:v>
                      </c:pt>
                      <c:pt idx="5771">
                        <c:v>-1.7176587860000001</c:v>
                      </c:pt>
                      <c:pt idx="5772">
                        <c:v>-1.717744618</c:v>
                      </c:pt>
                      <c:pt idx="5773">
                        <c:v>-1.718005432</c:v>
                      </c:pt>
                      <c:pt idx="5774">
                        <c:v>-1.718096023</c:v>
                      </c:pt>
                      <c:pt idx="5775">
                        <c:v>-1.7182676429999999</c:v>
                      </c:pt>
                      <c:pt idx="5776">
                        <c:v>-1.7183582340000001</c:v>
                      </c:pt>
                      <c:pt idx="5777">
                        <c:v>-1.7187062769999999</c:v>
                      </c:pt>
                      <c:pt idx="5778">
                        <c:v>-1.718791411</c:v>
                      </c:pt>
                      <c:pt idx="5779">
                        <c:v>-1.7188826559999999</c:v>
                      </c:pt>
                      <c:pt idx="5780">
                        <c:v>-1.718968488</c:v>
                      </c:pt>
                      <c:pt idx="5781">
                        <c:v>-1.7190543199999999</c:v>
                      </c:pt>
                      <c:pt idx="5782">
                        <c:v>-1.719144867</c:v>
                      </c:pt>
                      <c:pt idx="5783">
                        <c:v>-1.7194023199999999</c:v>
                      </c:pt>
                      <c:pt idx="5784">
                        <c:v>-1.7194929109999999</c:v>
                      </c:pt>
                      <c:pt idx="5785">
                        <c:v>-1.7196658840000001</c:v>
                      </c:pt>
                      <c:pt idx="5786">
                        <c:v>-1.7197530700000001</c:v>
                      </c:pt>
                      <c:pt idx="5787">
                        <c:v>-1.719838902</c:v>
                      </c:pt>
                      <c:pt idx="5788">
                        <c:v>-1.720015281</c:v>
                      </c:pt>
                      <c:pt idx="5789">
                        <c:v>-1.7201011129999999</c:v>
                      </c:pt>
                      <c:pt idx="5790">
                        <c:v>-1.72080126</c:v>
                      </c:pt>
                      <c:pt idx="5791">
                        <c:v>-1.7210634709999999</c:v>
                      </c:pt>
                      <c:pt idx="5792">
                        <c:v>-1.721325682</c:v>
                      </c:pt>
                      <c:pt idx="5793">
                        <c:v>-1.721410815</c:v>
                      </c:pt>
                      <c:pt idx="5794">
                        <c:v>-1.722814514</c:v>
                      </c:pt>
                      <c:pt idx="5795">
                        <c:v>-1.7228975959999999</c:v>
                      </c:pt>
                      <c:pt idx="5796">
                        <c:v>-1.7235078500000001</c:v>
                      </c:pt>
                      <c:pt idx="5797">
                        <c:v>-1.7236821769999999</c:v>
                      </c:pt>
                      <c:pt idx="5798">
                        <c:v>-1.7242072980000001</c:v>
                      </c:pt>
                      <c:pt idx="5799">
                        <c:v>-1.7243836770000001</c:v>
                      </c:pt>
                      <c:pt idx="5800">
                        <c:v>-1.724466802</c:v>
                      </c:pt>
                      <c:pt idx="5801">
                        <c:v>-1.7245553410000001</c:v>
                      </c:pt>
                      <c:pt idx="5802">
                        <c:v>-1.724645888</c:v>
                      </c:pt>
                      <c:pt idx="5803">
                        <c:v>-1.7247317200000001</c:v>
                      </c:pt>
                      <c:pt idx="5804">
                        <c:v>-1.724817552</c:v>
                      </c:pt>
                      <c:pt idx="5805">
                        <c:v>-1.7249046939999999</c:v>
                      </c:pt>
                      <c:pt idx="5806">
                        <c:v>-1.725085177</c:v>
                      </c:pt>
                      <c:pt idx="5807">
                        <c:v>-1.7269131900000001</c:v>
                      </c:pt>
                      <c:pt idx="5808">
                        <c:v>-1.7274376119999999</c:v>
                      </c:pt>
                      <c:pt idx="5809">
                        <c:v>-1.727524099</c:v>
                      </c:pt>
                      <c:pt idx="5810">
                        <c:v>-1.727611284</c:v>
                      </c:pt>
                      <c:pt idx="5811">
                        <c:v>-1.7277877070000001</c:v>
                      </c:pt>
                      <c:pt idx="5812">
                        <c:v>-1.7279593280000001</c:v>
                      </c:pt>
                      <c:pt idx="5813">
                        <c:v>-1.7280512720000001</c:v>
                      </c:pt>
                      <c:pt idx="5814">
                        <c:v>-1.728053324</c:v>
                      </c:pt>
                      <c:pt idx="5815">
                        <c:v>-1.728222892</c:v>
                      </c:pt>
                      <c:pt idx="5816">
                        <c:v>-1.7283958660000001</c:v>
                      </c:pt>
                      <c:pt idx="5817">
                        <c:v>-1.7285743410000001</c:v>
                      </c:pt>
                      <c:pt idx="5818">
                        <c:v>-1.728577746</c:v>
                      </c:pt>
                      <c:pt idx="5819">
                        <c:v>-1.7286601290000001</c:v>
                      </c:pt>
                      <c:pt idx="5820">
                        <c:v>-1.728920987</c:v>
                      </c:pt>
                      <c:pt idx="5821">
                        <c:v>-1.7290115779999999</c:v>
                      </c:pt>
                      <c:pt idx="5822">
                        <c:v>-1.7290974100000001</c:v>
                      </c:pt>
                      <c:pt idx="5823">
                        <c:v>-1.7291831980000001</c:v>
                      </c:pt>
                      <c:pt idx="5824">
                        <c:v>-1.72926903</c:v>
                      </c:pt>
                      <c:pt idx="5825">
                        <c:v>-1.7294467630000001</c:v>
                      </c:pt>
                      <c:pt idx="5826">
                        <c:v>-1.7294508669999999</c:v>
                      </c:pt>
                      <c:pt idx="5827">
                        <c:v>-1.729532595</c:v>
                      </c:pt>
                      <c:pt idx="5828">
                        <c:v>-1.729974634</c:v>
                      </c:pt>
                      <c:pt idx="5829">
                        <c:v>-1.730407112</c:v>
                      </c:pt>
                      <c:pt idx="5830">
                        <c:v>-1.7306733839999999</c:v>
                      </c:pt>
                      <c:pt idx="5831">
                        <c:v>-1.732151301</c:v>
                      </c:pt>
                      <c:pt idx="5832">
                        <c:v>-1.7327636070000001</c:v>
                      </c:pt>
                      <c:pt idx="5833">
                        <c:v>-1.7328507929999999</c:v>
                      </c:pt>
                      <c:pt idx="5834">
                        <c:v>-1.7329365809999999</c:v>
                      </c:pt>
                      <c:pt idx="5835">
                        <c:v>-1.7330271719999999</c:v>
                      </c:pt>
                      <c:pt idx="5836">
                        <c:v>-1.733198792</c:v>
                      </c:pt>
                      <c:pt idx="5837">
                        <c:v>-1.7333752149999999</c:v>
                      </c:pt>
                      <c:pt idx="5838">
                        <c:v>-1.7334610029999999</c:v>
                      </c:pt>
                      <c:pt idx="5839">
                        <c:v>-1.7335515939999999</c:v>
                      </c:pt>
                      <c:pt idx="5840">
                        <c:v>-1.7337225599999999</c:v>
                      </c:pt>
                      <c:pt idx="5841">
                        <c:v>-1.7338989389999999</c:v>
                      </c:pt>
                      <c:pt idx="5842">
                        <c:v>-1.733984771</c:v>
                      </c:pt>
                      <c:pt idx="5843">
                        <c:v>-1.7342469819999999</c:v>
                      </c:pt>
                      <c:pt idx="5844">
                        <c:v>-1.7343375729999999</c:v>
                      </c:pt>
                      <c:pt idx="5845">
                        <c:v>-1.7344233609999999</c:v>
                      </c:pt>
                      <c:pt idx="5846">
                        <c:v>-1.734599784</c:v>
                      </c:pt>
                      <c:pt idx="5847">
                        <c:v>-1.734771404</c:v>
                      </c:pt>
                      <c:pt idx="5848">
                        <c:v>-1.7352958270000001</c:v>
                      </c:pt>
                      <c:pt idx="5849">
                        <c:v>-1.735382314</c:v>
                      </c:pt>
                      <c:pt idx="5850">
                        <c:v>-1.7354694989999999</c:v>
                      </c:pt>
                      <c:pt idx="5851">
                        <c:v>-1.7355600900000001</c:v>
                      </c:pt>
                      <c:pt idx="5852">
                        <c:v>-1.735645922</c:v>
                      </c:pt>
                      <c:pt idx="5853">
                        <c:v>-1.735818197</c:v>
                      </c:pt>
                      <c:pt idx="5854">
                        <c:v>-1.738790404</c:v>
                      </c:pt>
                      <c:pt idx="5855">
                        <c:v>-1.7388755380000001</c:v>
                      </c:pt>
                      <c:pt idx="5856">
                        <c:v>-1.73896137</c:v>
                      </c:pt>
                      <c:pt idx="5857">
                        <c:v>-1.7390519600000001</c:v>
                      </c:pt>
                      <c:pt idx="5858">
                        <c:v>-1.7390553660000001</c:v>
                      </c:pt>
                      <c:pt idx="5859">
                        <c:v>-1.7393121199999999</c:v>
                      </c:pt>
                      <c:pt idx="5860">
                        <c:v>-1.7393999600000001</c:v>
                      </c:pt>
                      <c:pt idx="5861">
                        <c:v>-1.739485792</c:v>
                      </c:pt>
                      <c:pt idx="5862">
                        <c:v>-1.7395763829999999</c:v>
                      </c:pt>
                      <c:pt idx="5863">
                        <c:v>-1.739662171</c:v>
                      </c:pt>
                      <c:pt idx="5864">
                        <c:v>-1.7397480030000001</c:v>
                      </c:pt>
                      <c:pt idx="5865">
                        <c:v>-1.7398385940000001</c:v>
                      </c:pt>
                      <c:pt idx="5866">
                        <c:v>-1.739841301</c:v>
                      </c:pt>
                      <c:pt idx="5867">
                        <c:v>-1.7399243820000001</c:v>
                      </c:pt>
                      <c:pt idx="5868">
                        <c:v>-1.740100805</c:v>
                      </c:pt>
                      <c:pt idx="5869">
                        <c:v>-1.740186593</c:v>
                      </c:pt>
                      <c:pt idx="5870">
                        <c:v>-1.7402724249999999</c:v>
                      </c:pt>
                      <c:pt idx="5871">
                        <c:v>-1.740358257</c:v>
                      </c:pt>
                      <c:pt idx="5872">
                        <c:v>-1.740448805</c:v>
                      </c:pt>
                      <c:pt idx="5873">
                        <c:v>-1.740621822</c:v>
                      </c:pt>
                      <c:pt idx="5874">
                        <c:v>-1.7407947960000001</c:v>
                      </c:pt>
                      <c:pt idx="5875">
                        <c:v>-1.740971219</c:v>
                      </c:pt>
                      <c:pt idx="5876">
                        <c:v>-1.741057007</c:v>
                      </c:pt>
                      <c:pt idx="5877">
                        <c:v>-1.741147598</c:v>
                      </c:pt>
                      <c:pt idx="5878">
                        <c:v>-1.7412334300000001</c:v>
                      </c:pt>
                      <c:pt idx="5879">
                        <c:v>-1.7413192179999999</c:v>
                      </c:pt>
                      <c:pt idx="5880">
                        <c:v>-1.7414098090000001</c:v>
                      </c:pt>
                      <c:pt idx="5881">
                        <c:v>-1.7414949420000001</c:v>
                      </c:pt>
                      <c:pt idx="5882">
                        <c:v>-1.7415834809999999</c:v>
                      </c:pt>
                      <c:pt idx="5883">
                        <c:v>-1.741759904</c:v>
                      </c:pt>
                      <c:pt idx="5884">
                        <c:v>-1.741931524</c:v>
                      </c:pt>
                      <c:pt idx="5885">
                        <c:v>-1.74201871</c:v>
                      </c:pt>
                      <c:pt idx="5886">
                        <c:v>-1.742104498</c:v>
                      </c:pt>
                      <c:pt idx="5887">
                        <c:v>-1.74289183</c:v>
                      </c:pt>
                      <c:pt idx="5888">
                        <c:v>-1.7429844729999999</c:v>
                      </c:pt>
                      <c:pt idx="5889">
                        <c:v>-1.7432412269999999</c:v>
                      </c:pt>
                      <c:pt idx="5890">
                        <c:v>-1.7433284120000001</c:v>
                      </c:pt>
                      <c:pt idx="5891">
                        <c:v>-1.743418959</c:v>
                      </c:pt>
                      <c:pt idx="5892">
                        <c:v>-1.743590623</c:v>
                      </c:pt>
                      <c:pt idx="5893">
                        <c:v>-1.7436764119999999</c:v>
                      </c:pt>
                      <c:pt idx="5894">
                        <c:v>-1.7437670030000001</c:v>
                      </c:pt>
                      <c:pt idx="5895">
                        <c:v>-1.7454226960000001</c:v>
                      </c:pt>
                      <c:pt idx="5896">
                        <c:v>-1.746386408</c:v>
                      </c:pt>
                      <c:pt idx="5897">
                        <c:v>-1.7466520240000001</c:v>
                      </c:pt>
                      <c:pt idx="5898">
                        <c:v>-1.7468209379999999</c:v>
                      </c:pt>
                      <c:pt idx="5899">
                        <c:v>-1.74691358</c:v>
                      </c:pt>
                      <c:pt idx="5900">
                        <c:v>-1.74708245</c:v>
                      </c:pt>
                      <c:pt idx="5901">
                        <c:v>-1.747170334</c:v>
                      </c:pt>
                      <c:pt idx="5902">
                        <c:v>-1.74725752</c:v>
                      </c:pt>
                      <c:pt idx="5903">
                        <c:v>-1.7473480669999999</c:v>
                      </c:pt>
                      <c:pt idx="5904">
                        <c:v>-1.747350119</c:v>
                      </c:pt>
                      <c:pt idx="5905">
                        <c:v>-1.7475197309999999</c:v>
                      </c:pt>
                      <c:pt idx="5906">
                        <c:v>-1.7476055189999999</c:v>
                      </c:pt>
                      <c:pt idx="5907">
                        <c:v>-1.7476961099999999</c:v>
                      </c:pt>
                      <c:pt idx="5908">
                        <c:v>-1.748480037</c:v>
                      </c:pt>
                      <c:pt idx="5909">
                        <c:v>-1.7485672219999999</c:v>
                      </c:pt>
                      <c:pt idx="5910">
                        <c:v>-1.7500567090000001</c:v>
                      </c:pt>
                      <c:pt idx="5911">
                        <c:v>-1.7503162130000001</c:v>
                      </c:pt>
                      <c:pt idx="5912">
                        <c:v>-1.75031892</c:v>
                      </c:pt>
                      <c:pt idx="5913">
                        <c:v>-1.750578425</c:v>
                      </c:pt>
                      <c:pt idx="5914">
                        <c:v>-1.7531978290000001</c:v>
                      </c:pt>
                      <c:pt idx="5915">
                        <c:v>-1.7534600410000001</c:v>
                      </c:pt>
                      <c:pt idx="5916">
                        <c:v>-1.7535458289999999</c:v>
                      </c:pt>
                      <c:pt idx="5917">
                        <c:v>-1.753631661</c:v>
                      </c:pt>
                      <c:pt idx="5918">
                        <c:v>-1.7537188459999999</c:v>
                      </c:pt>
                      <c:pt idx="5919">
                        <c:v>-1.753806032</c:v>
                      </c:pt>
                      <c:pt idx="5920">
                        <c:v>-1.7538965790000001</c:v>
                      </c:pt>
                      <c:pt idx="5921">
                        <c:v>-1.753898631</c:v>
                      </c:pt>
                      <c:pt idx="5922">
                        <c:v>-1.753982411</c:v>
                      </c:pt>
                      <c:pt idx="5923">
                        <c:v>-1.7540682430000001</c:v>
                      </c:pt>
                      <c:pt idx="5924">
                        <c:v>-1.75415473</c:v>
                      </c:pt>
                      <c:pt idx="5925">
                        <c:v>-1.754155385</c:v>
                      </c:pt>
                      <c:pt idx="5926">
                        <c:v>-1.754245321</c:v>
                      </c:pt>
                      <c:pt idx="5927">
                        <c:v>-1.754331109</c:v>
                      </c:pt>
                      <c:pt idx="5928">
                        <c:v>-1.7544169409999999</c:v>
                      </c:pt>
                      <c:pt idx="5929">
                        <c:v>-1.7545075320000001</c:v>
                      </c:pt>
                      <c:pt idx="5930">
                        <c:v>-1.7545926650000001</c:v>
                      </c:pt>
                      <c:pt idx="5931">
                        <c:v>-1.7547690439999999</c:v>
                      </c:pt>
                      <c:pt idx="5932">
                        <c:v>-1.7557273419999999</c:v>
                      </c:pt>
                      <c:pt idx="5933">
                        <c:v>-1.755907127</c:v>
                      </c:pt>
                      <c:pt idx="5934">
                        <c:v>-1.755989553</c:v>
                      </c:pt>
                      <c:pt idx="5935">
                        <c:v>-1.7560753419999999</c:v>
                      </c:pt>
                      <c:pt idx="5936">
                        <c:v>-1.7563382510000001</c:v>
                      </c:pt>
                      <c:pt idx="5937">
                        <c:v>-1.7564254370000001</c:v>
                      </c:pt>
                      <c:pt idx="5938">
                        <c:v>-1.7579156220000001</c:v>
                      </c:pt>
                      <c:pt idx="5939">
                        <c:v>-1.7584393460000001</c:v>
                      </c:pt>
                      <c:pt idx="5940">
                        <c:v>-1.758788743</c:v>
                      </c:pt>
                      <c:pt idx="5941">
                        <c:v>-1.758957656</c:v>
                      </c:pt>
                      <c:pt idx="5942">
                        <c:v>-1.76001126</c:v>
                      </c:pt>
                      <c:pt idx="5943">
                        <c:v>-1.7620129449999999</c:v>
                      </c:pt>
                      <c:pt idx="5944">
                        <c:v>-1.7627995780000001</c:v>
                      </c:pt>
                      <c:pt idx="5945">
                        <c:v>-1.7633226470000001</c:v>
                      </c:pt>
                      <c:pt idx="5946">
                        <c:v>-1.763585513</c:v>
                      </c:pt>
                      <c:pt idx="5947">
                        <c:v>-1.7639376600000001</c:v>
                      </c:pt>
                      <c:pt idx="5948">
                        <c:v>-1.7640275519999999</c:v>
                      </c:pt>
                      <c:pt idx="5949">
                        <c:v>-1.764895216</c:v>
                      </c:pt>
                      <c:pt idx="5950">
                        <c:v>-1.7651567720000001</c:v>
                      </c:pt>
                      <c:pt idx="5951">
                        <c:v>-1.7652473630000001</c:v>
                      </c:pt>
                      <c:pt idx="5952">
                        <c:v>-1.7653331510000001</c:v>
                      </c:pt>
                      <c:pt idx="5953">
                        <c:v>-1.7655061679999999</c:v>
                      </c:pt>
                      <c:pt idx="5954">
                        <c:v>-1.7655933539999999</c:v>
                      </c:pt>
                      <c:pt idx="5955">
                        <c:v>-1.7656839010000001</c:v>
                      </c:pt>
                      <c:pt idx="5956">
                        <c:v>-1.765769733</c:v>
                      </c:pt>
                      <c:pt idx="5957">
                        <c:v>-1.7658555650000001</c:v>
                      </c:pt>
                      <c:pt idx="5958">
                        <c:v>-1.765942052</c:v>
                      </c:pt>
                      <c:pt idx="5959">
                        <c:v>-1.766032643</c:v>
                      </c:pt>
                      <c:pt idx="5960">
                        <c:v>-1.766118431</c:v>
                      </c:pt>
                      <c:pt idx="5961">
                        <c:v>-1.7662948540000001</c:v>
                      </c:pt>
                      <c:pt idx="5962">
                        <c:v>-1.7663806419999999</c:v>
                      </c:pt>
                      <c:pt idx="5963">
                        <c:v>-1.7668165259999999</c:v>
                      </c:pt>
                      <c:pt idx="5964">
                        <c:v>-1.76734575</c:v>
                      </c:pt>
                      <c:pt idx="5965">
                        <c:v>-1.7676903450000001</c:v>
                      </c:pt>
                      <c:pt idx="5966">
                        <c:v>-1.7679566600000001</c:v>
                      </c:pt>
                      <c:pt idx="5967">
                        <c:v>-1.7680383879999999</c:v>
                      </c:pt>
                      <c:pt idx="5968">
                        <c:v>-1.7682134140000001</c:v>
                      </c:pt>
                      <c:pt idx="5969">
                        <c:v>-1.7691764699999999</c:v>
                      </c:pt>
                      <c:pt idx="5970">
                        <c:v>-1.7700522970000001</c:v>
                      </c:pt>
                      <c:pt idx="5971">
                        <c:v>-1.7703962360000001</c:v>
                      </c:pt>
                      <c:pt idx="5972">
                        <c:v>-1.770832164</c:v>
                      </c:pt>
                      <c:pt idx="5973">
                        <c:v>-1.7708328179999999</c:v>
                      </c:pt>
                      <c:pt idx="5974">
                        <c:v>-1.7709227110000001</c:v>
                      </c:pt>
                      <c:pt idx="5975">
                        <c:v>-1.771008543</c:v>
                      </c:pt>
                      <c:pt idx="5976">
                        <c:v>-1.7710943750000001</c:v>
                      </c:pt>
                      <c:pt idx="5977">
                        <c:v>-1.771180862</c:v>
                      </c:pt>
                      <c:pt idx="5978">
                        <c:v>-1.7712714519999999</c:v>
                      </c:pt>
                      <c:pt idx="5979">
                        <c:v>-1.7725845600000001</c:v>
                      </c:pt>
                      <c:pt idx="5980">
                        <c:v>-1.7726669429999999</c:v>
                      </c:pt>
                      <c:pt idx="5981">
                        <c:v>-1.7727527750000001</c:v>
                      </c:pt>
                      <c:pt idx="5982">
                        <c:v>-1.772843366</c:v>
                      </c:pt>
                      <c:pt idx="5983">
                        <c:v>-1.7729291540000001</c:v>
                      </c:pt>
                      <c:pt idx="5984">
                        <c:v>-1.773014986</c:v>
                      </c:pt>
                      <c:pt idx="5985">
                        <c:v>-1.7731055769999999</c:v>
                      </c:pt>
                      <c:pt idx="5986">
                        <c:v>-1.7733650379999999</c:v>
                      </c:pt>
                      <c:pt idx="5987">
                        <c:v>-1.773452223</c:v>
                      </c:pt>
                      <c:pt idx="5988">
                        <c:v>-1.7736286459999999</c:v>
                      </c:pt>
                      <c:pt idx="5989">
                        <c:v>-1.773714435</c:v>
                      </c:pt>
                      <c:pt idx="5990">
                        <c:v>-1.7738050249999999</c:v>
                      </c:pt>
                      <c:pt idx="5991">
                        <c:v>-1.773890857</c:v>
                      </c:pt>
                      <c:pt idx="5992">
                        <c:v>-1.7739766459999999</c:v>
                      </c:pt>
                      <c:pt idx="5993">
                        <c:v>-1.7740624780000001</c:v>
                      </c:pt>
                      <c:pt idx="5994">
                        <c:v>-1.774153069</c:v>
                      </c:pt>
                      <c:pt idx="5995">
                        <c:v>-1.7742388570000001</c:v>
                      </c:pt>
                      <c:pt idx="5996">
                        <c:v>-1.7745869000000001</c:v>
                      </c:pt>
                      <c:pt idx="5997">
                        <c:v>-1.7746754389999999</c:v>
                      </c:pt>
                      <c:pt idx="5998">
                        <c:v>-1.7747632790000001</c:v>
                      </c:pt>
                      <c:pt idx="5999">
                        <c:v>-1.774849111</c:v>
                      </c:pt>
                      <c:pt idx="6000">
                        <c:v>-1.774939702</c:v>
                      </c:pt>
                      <c:pt idx="6001">
                        <c:v>-1.77502549</c:v>
                      </c:pt>
                      <c:pt idx="6002">
                        <c:v>-1.7751113220000001</c:v>
                      </c:pt>
                      <c:pt idx="6003">
                        <c:v>-1.7752911069999999</c:v>
                      </c:pt>
                      <c:pt idx="6004">
                        <c:v>-1.775548559</c:v>
                      </c:pt>
                      <c:pt idx="6005">
                        <c:v>-1.7756350460000001</c:v>
                      </c:pt>
                      <c:pt idx="6006">
                        <c:v>-1.776863021</c:v>
                      </c:pt>
                      <c:pt idx="6007">
                        <c:v>-1.7772941449999999</c:v>
                      </c:pt>
                      <c:pt idx="6008">
                        <c:v>-1.7776435420000001</c:v>
                      </c:pt>
                      <c:pt idx="6009">
                        <c:v>-1.7778233699999999</c:v>
                      </c:pt>
                      <c:pt idx="6010">
                        <c:v>-1.7789545980000001</c:v>
                      </c:pt>
                      <c:pt idx="6011">
                        <c:v>-1.77904043</c:v>
                      </c:pt>
                      <c:pt idx="6012">
                        <c:v>-1.779131021</c:v>
                      </c:pt>
                      <c:pt idx="6013">
                        <c:v>-1.779216809</c:v>
                      </c:pt>
                      <c:pt idx="6014">
                        <c:v>-1.7793026409999999</c:v>
                      </c:pt>
                      <c:pt idx="6015">
                        <c:v>-1.7796506839999999</c:v>
                      </c:pt>
                      <c:pt idx="6016">
                        <c:v>-1.7798270629999999</c:v>
                      </c:pt>
                      <c:pt idx="6017">
                        <c:v>-1.7799135500000001</c:v>
                      </c:pt>
                      <c:pt idx="6018">
                        <c:v>-1.7800007360000001</c:v>
                      </c:pt>
                      <c:pt idx="6019">
                        <c:v>-1.7812232530000001</c:v>
                      </c:pt>
                      <c:pt idx="6020">
                        <c:v>-1.781311791</c:v>
                      </c:pt>
                      <c:pt idx="6021">
                        <c:v>-1.7813976229999999</c:v>
                      </c:pt>
                      <c:pt idx="6022">
                        <c:v>-1.7814882139999999</c:v>
                      </c:pt>
                      <c:pt idx="6023">
                        <c:v>-1.781490223</c:v>
                      </c:pt>
                      <c:pt idx="6024">
                        <c:v>-1.781574003</c:v>
                      </c:pt>
                      <c:pt idx="6025">
                        <c:v>-1.781922046</c:v>
                      </c:pt>
                      <c:pt idx="6026">
                        <c:v>-1.782012637</c:v>
                      </c:pt>
                      <c:pt idx="6027">
                        <c:v>-1.782098425</c:v>
                      </c:pt>
                      <c:pt idx="6028">
                        <c:v>-1.7821842569999999</c:v>
                      </c:pt>
                      <c:pt idx="6029">
                        <c:v>-1.7822700890000001</c:v>
                      </c:pt>
                      <c:pt idx="6030">
                        <c:v>-1.7822707440000001</c:v>
                      </c:pt>
                      <c:pt idx="6031">
                        <c:v>-1.7823606359999999</c:v>
                      </c:pt>
                      <c:pt idx="6032">
                        <c:v>-1.7824464680000001</c:v>
                      </c:pt>
                      <c:pt idx="6033">
                        <c:v>-1.782532955</c:v>
                      </c:pt>
                      <c:pt idx="6034">
                        <c:v>-1.782712783</c:v>
                      </c:pt>
                      <c:pt idx="6035">
                        <c:v>-1.7843718820000001</c:v>
                      </c:pt>
                      <c:pt idx="6036">
                        <c:v>-1.7855072139999999</c:v>
                      </c:pt>
                      <c:pt idx="6037">
                        <c:v>-1.7857687259999999</c:v>
                      </c:pt>
                      <c:pt idx="6038">
                        <c:v>-1.786292494</c:v>
                      </c:pt>
                      <c:pt idx="6039">
                        <c:v>-1.786462062</c:v>
                      </c:pt>
                      <c:pt idx="6040">
                        <c:v>-1.78734064</c:v>
                      </c:pt>
                      <c:pt idx="6041">
                        <c:v>-1.788650343</c:v>
                      </c:pt>
                      <c:pt idx="6042">
                        <c:v>-1.7887320710000001</c:v>
                      </c:pt>
                      <c:pt idx="6043">
                        <c:v>-1.7889125539999999</c:v>
                      </c:pt>
                      <c:pt idx="6044">
                        <c:v>-1.7891686529999999</c:v>
                      </c:pt>
                      <c:pt idx="6045">
                        <c:v>-1.789872903</c:v>
                      </c:pt>
                      <c:pt idx="6046">
                        <c:v>-1.790920351</c:v>
                      </c:pt>
                      <c:pt idx="6047">
                        <c:v>-1.791444118</c:v>
                      </c:pt>
                      <c:pt idx="6048">
                        <c:v>-1.7916136869999999</c:v>
                      </c:pt>
                      <c:pt idx="6049">
                        <c:v>-1.7918807000000001</c:v>
                      </c:pt>
                      <c:pt idx="6050">
                        <c:v>-1.792050269</c:v>
                      </c:pt>
                      <c:pt idx="6051">
                        <c:v>-1.792841661</c:v>
                      </c:pt>
                      <c:pt idx="6052">
                        <c:v>-1.79309776</c:v>
                      </c:pt>
                      <c:pt idx="6053">
                        <c:v>-1.793274139</c:v>
                      </c:pt>
                      <c:pt idx="6054">
                        <c:v>-1.793278243</c:v>
                      </c:pt>
                      <c:pt idx="6055">
                        <c:v>-1.7934512170000001</c:v>
                      </c:pt>
                      <c:pt idx="6056">
                        <c:v>-1.793452614</c:v>
                      </c:pt>
                      <c:pt idx="6057">
                        <c:v>-1.793537049</c:v>
                      </c:pt>
                      <c:pt idx="6058">
                        <c:v>-1.7937086689999999</c:v>
                      </c:pt>
                      <c:pt idx="6059">
                        <c:v>-1.7937992599999999</c:v>
                      </c:pt>
                      <c:pt idx="6060">
                        <c:v>-1.79397088</c:v>
                      </c:pt>
                      <c:pt idx="6061">
                        <c:v>-1.794233092</c:v>
                      </c:pt>
                      <c:pt idx="6062">
                        <c:v>-1.794320277</c:v>
                      </c:pt>
                      <c:pt idx="6063">
                        <c:v>-1.7944074619999999</c:v>
                      </c:pt>
                      <c:pt idx="6064">
                        <c:v>-1.7944980530000001</c:v>
                      </c:pt>
                      <c:pt idx="6065">
                        <c:v>-1.794583842</c:v>
                      </c:pt>
                      <c:pt idx="6066">
                        <c:v>-1.7946696740000001</c:v>
                      </c:pt>
                      <c:pt idx="6067">
                        <c:v>-1.794760264</c:v>
                      </c:pt>
                      <c:pt idx="6068">
                        <c:v>-1.795022476</c:v>
                      </c:pt>
                      <c:pt idx="6069">
                        <c:v>-1.795111669</c:v>
                      </c:pt>
                      <c:pt idx="6070">
                        <c:v>-1.7951940959999999</c:v>
                      </c:pt>
                      <c:pt idx="6071">
                        <c:v>-1.7952846870000001</c:v>
                      </c:pt>
                      <c:pt idx="6072">
                        <c:v>-1.795370519</c:v>
                      </c:pt>
                      <c:pt idx="6073">
                        <c:v>-1.7955421389999999</c:v>
                      </c:pt>
                      <c:pt idx="6074">
                        <c:v>-1.7956299790000001</c:v>
                      </c:pt>
                      <c:pt idx="6075">
                        <c:v>-1.796066562</c:v>
                      </c:pt>
                      <c:pt idx="6076">
                        <c:v>-1.7965044969999999</c:v>
                      </c:pt>
                      <c:pt idx="6077">
                        <c:v>-1.796590285</c:v>
                      </c:pt>
                      <c:pt idx="6078">
                        <c:v>-1.797032325</c:v>
                      </c:pt>
                      <c:pt idx="6079">
                        <c:v>-1.797376919</c:v>
                      </c:pt>
                      <c:pt idx="6080">
                        <c:v>-1.7978182599999999</c:v>
                      </c:pt>
                      <c:pt idx="6081">
                        <c:v>-1.7980743589999999</c:v>
                      </c:pt>
                      <c:pt idx="6082">
                        <c:v>-1.798163596</c:v>
                      </c:pt>
                      <c:pt idx="6083">
                        <c:v>-1.798249384</c:v>
                      </c:pt>
                      <c:pt idx="6084">
                        <c:v>-1.79833657</c:v>
                      </c:pt>
                      <c:pt idx="6085">
                        <c:v>-1.7984298670000001</c:v>
                      </c:pt>
                      <c:pt idx="6086">
                        <c:v>-1.7985987809999999</c:v>
                      </c:pt>
                      <c:pt idx="6087">
                        <c:v>-1.799913941</c:v>
                      </c:pt>
                      <c:pt idx="6088">
                        <c:v>-1.8009559749999999</c:v>
                      </c:pt>
                      <c:pt idx="6089">
                        <c:v>-1.800956673</c:v>
                      </c:pt>
                      <c:pt idx="6090">
                        <c:v>-1.801308777</c:v>
                      </c:pt>
                      <c:pt idx="6091">
                        <c:v>-1.8013945650000001</c:v>
                      </c:pt>
                      <c:pt idx="6092">
                        <c:v>-1.801480397</c:v>
                      </c:pt>
                      <c:pt idx="6093">
                        <c:v>-1.8015709879999999</c:v>
                      </c:pt>
                      <c:pt idx="6094">
                        <c:v>-1.801656776</c:v>
                      </c:pt>
                      <c:pt idx="6095">
                        <c:v>-1.801743307</c:v>
                      </c:pt>
                      <c:pt idx="6096">
                        <c:v>-1.8019223929999999</c:v>
                      </c:pt>
                      <c:pt idx="6097">
                        <c:v>-1.8020913059999999</c:v>
                      </c:pt>
                      <c:pt idx="6098">
                        <c:v>-1.8021791899999999</c:v>
                      </c:pt>
                      <c:pt idx="6099">
                        <c:v>-1.802267729</c:v>
                      </c:pt>
                      <c:pt idx="6100">
                        <c:v>-1.802353517</c:v>
                      </c:pt>
                      <c:pt idx="6101">
                        <c:v>-1.802444108</c:v>
                      </c:pt>
                      <c:pt idx="6102">
                        <c:v>-1.802615729</c:v>
                      </c:pt>
                      <c:pt idx="6103">
                        <c:v>-1.8027063189999999</c:v>
                      </c:pt>
                      <c:pt idx="6104">
                        <c:v>-1.802792151</c:v>
                      </c:pt>
                      <c:pt idx="6105">
                        <c:v>-1.8028779399999999</c:v>
                      </c:pt>
                      <c:pt idx="6106">
                        <c:v>-1.8030570690000001</c:v>
                      </c:pt>
                      <c:pt idx="6107">
                        <c:v>-1.803140151</c:v>
                      </c:pt>
                      <c:pt idx="6108">
                        <c:v>-1.8032259829999999</c:v>
                      </c:pt>
                      <c:pt idx="6109">
                        <c:v>-1.8033165739999999</c:v>
                      </c:pt>
                      <c:pt idx="6110">
                        <c:v>-1.803402406</c:v>
                      </c:pt>
                      <c:pt idx="6111">
                        <c:v>-1.803488194</c:v>
                      </c:pt>
                      <c:pt idx="6112">
                        <c:v>-1.8034888929999999</c:v>
                      </c:pt>
                      <c:pt idx="6113">
                        <c:v>-1.8035753800000001</c:v>
                      </c:pt>
                      <c:pt idx="6114">
                        <c:v>-1.803837591</c:v>
                      </c:pt>
                      <c:pt idx="6115">
                        <c:v>-1.8039247759999999</c:v>
                      </c:pt>
                      <c:pt idx="6116">
                        <c:v>-1.804279586</c:v>
                      </c:pt>
                      <c:pt idx="6117">
                        <c:v>-1.804363366</c:v>
                      </c:pt>
                      <c:pt idx="6118">
                        <c:v>-1.8045397889999999</c:v>
                      </c:pt>
                      <c:pt idx="6119">
                        <c:v>-1.804541798</c:v>
                      </c:pt>
                      <c:pt idx="6120">
                        <c:v>-1.8047114099999999</c:v>
                      </c:pt>
                      <c:pt idx="6121">
                        <c:v>-1.806719905</c:v>
                      </c:pt>
                      <c:pt idx="6122">
                        <c:v>-1.8068118500000001</c:v>
                      </c:pt>
                      <c:pt idx="6123">
                        <c:v>-1.807159194</c:v>
                      </c:pt>
                      <c:pt idx="6124">
                        <c:v>-1.8072483880000001</c:v>
                      </c:pt>
                      <c:pt idx="6125">
                        <c:v>-1.807418</c:v>
                      </c:pt>
                      <c:pt idx="6126">
                        <c:v>-1.80746159</c:v>
                      </c:pt>
                      <c:pt idx="6127">
                        <c:v>-1.8075078870000001</c:v>
                      </c:pt>
                      <c:pt idx="6128">
                        <c:v>-1.8075497739999999</c:v>
                      </c:pt>
                      <c:pt idx="6129">
                        <c:v>-1.8075926870000001</c:v>
                      </c:pt>
                      <c:pt idx="6130">
                        <c:v>-1.8076379579999999</c:v>
                      </c:pt>
                      <c:pt idx="6131">
                        <c:v>-1.8083373840000001</c:v>
                      </c:pt>
                      <c:pt idx="6132">
                        <c:v>-1.808771189</c:v>
                      </c:pt>
                      <c:pt idx="6133">
                        <c:v>-1.808947579</c:v>
                      </c:pt>
                      <c:pt idx="6134">
                        <c:v>-1.8089486050000001</c:v>
                      </c:pt>
                      <c:pt idx="6135">
                        <c:v>-1.809600686</c:v>
                      </c:pt>
                      <c:pt idx="6136">
                        <c:v>-1.8096459789999999</c:v>
                      </c:pt>
                      <c:pt idx="6137">
                        <c:v>-1.809647005</c:v>
                      </c:pt>
                      <c:pt idx="6138">
                        <c:v>-1.809819641</c:v>
                      </c:pt>
                      <c:pt idx="6139">
                        <c:v>-1.809862554</c:v>
                      </c:pt>
                      <c:pt idx="6140">
                        <c:v>-1.809907846</c:v>
                      </c:pt>
                      <c:pt idx="6141">
                        <c:v>-1.80990885</c:v>
                      </c:pt>
                      <c:pt idx="6142">
                        <c:v>-1.8099507379999999</c:v>
                      </c:pt>
                      <c:pt idx="6143">
                        <c:v>-1.8099936510000001</c:v>
                      </c:pt>
                      <c:pt idx="6144">
                        <c:v>-1.810080809</c:v>
                      </c:pt>
                      <c:pt idx="6145">
                        <c:v>-1.8101261019999999</c:v>
                      </c:pt>
                      <c:pt idx="6146">
                        <c:v>-1.810169015</c:v>
                      </c:pt>
                      <c:pt idx="6147">
                        <c:v>-1.810170718</c:v>
                      </c:pt>
                      <c:pt idx="6148">
                        <c:v>-1.8102119290000001</c:v>
                      </c:pt>
                      <c:pt idx="6149">
                        <c:v>-1.810300113</c:v>
                      </c:pt>
                      <c:pt idx="6150">
                        <c:v>-1.810343026</c:v>
                      </c:pt>
                      <c:pt idx="6151">
                        <c:v>-1.810388297</c:v>
                      </c:pt>
                      <c:pt idx="6152">
                        <c:v>-1.8105623070000001</c:v>
                      </c:pt>
                      <c:pt idx="6153">
                        <c:v>-1.810648112</c:v>
                      </c:pt>
                      <c:pt idx="6154">
                        <c:v>-1.8106920520000001</c:v>
                      </c:pt>
                      <c:pt idx="6155">
                        <c:v>-1.81077921</c:v>
                      </c:pt>
                      <c:pt idx="6156">
                        <c:v>-1.810824502</c:v>
                      </c:pt>
                      <c:pt idx="6157">
                        <c:v>-1.810867416</c:v>
                      </c:pt>
                      <c:pt idx="6158">
                        <c:v>-1.8108691180000001</c:v>
                      </c:pt>
                      <c:pt idx="6159">
                        <c:v>-1.8109556</c:v>
                      </c:pt>
                      <c:pt idx="6160">
                        <c:v>-1.8110414050000001</c:v>
                      </c:pt>
                      <c:pt idx="6161">
                        <c:v>-1.8110866969999999</c:v>
                      </c:pt>
                      <c:pt idx="6162">
                        <c:v>-1.811131313</c:v>
                      </c:pt>
                      <c:pt idx="6163">
                        <c:v>-1.811260359</c:v>
                      </c:pt>
                      <c:pt idx="6164">
                        <c:v>-1.8113931590000001</c:v>
                      </c:pt>
                      <c:pt idx="6165">
                        <c:v>-1.8115239279999999</c:v>
                      </c:pt>
                      <c:pt idx="6166">
                        <c:v>-1.8116107589999999</c:v>
                      </c:pt>
                      <c:pt idx="6167">
                        <c:v>-1.811611436</c:v>
                      </c:pt>
                      <c:pt idx="6168">
                        <c:v>-1.8116536510000001</c:v>
                      </c:pt>
                      <c:pt idx="6169">
                        <c:v>-1.8117394769999999</c:v>
                      </c:pt>
                      <c:pt idx="6170">
                        <c:v>-1.811784748</c:v>
                      </c:pt>
                      <c:pt idx="6171">
                        <c:v>-1.8117861230000001</c:v>
                      </c:pt>
                      <c:pt idx="6172">
                        <c:v>-1.8118276609999999</c:v>
                      </c:pt>
                      <c:pt idx="6173">
                        <c:v>-1.8118297130000001</c:v>
                      </c:pt>
                      <c:pt idx="6174">
                        <c:v>-1.8118705749999999</c:v>
                      </c:pt>
                      <c:pt idx="6175">
                        <c:v>-1.811915846</c:v>
                      </c:pt>
                      <c:pt idx="6176">
                        <c:v>-1.8119587589999999</c:v>
                      </c:pt>
                      <c:pt idx="6177">
                        <c:v>-1.8120016720000001</c:v>
                      </c:pt>
                      <c:pt idx="6178">
                        <c:v>-1.81204524</c:v>
                      </c:pt>
                      <c:pt idx="6179">
                        <c:v>-1.812133446</c:v>
                      </c:pt>
                      <c:pt idx="6180">
                        <c:v>-1.81222163</c:v>
                      </c:pt>
                      <c:pt idx="6181">
                        <c:v>-1.8122226560000001</c:v>
                      </c:pt>
                      <c:pt idx="6182">
                        <c:v>-1.812264544</c:v>
                      </c:pt>
                      <c:pt idx="6183">
                        <c:v>-1.812307457</c:v>
                      </c:pt>
                      <c:pt idx="6184">
                        <c:v>-1.812352728</c:v>
                      </c:pt>
                      <c:pt idx="6185">
                        <c:v>-1.8123956409999999</c:v>
                      </c:pt>
                      <c:pt idx="6186">
                        <c:v>-1.8124817950000001</c:v>
                      </c:pt>
                      <c:pt idx="6187">
                        <c:v>-1.8125699790000001</c:v>
                      </c:pt>
                      <c:pt idx="6188">
                        <c:v>-1.8126128930000001</c:v>
                      </c:pt>
                      <c:pt idx="6189">
                        <c:v>-1.812656482</c:v>
                      </c:pt>
                      <c:pt idx="6190">
                        <c:v>-1.812701077</c:v>
                      </c:pt>
                      <c:pt idx="6191">
                        <c:v>-1.8127027790000001</c:v>
                      </c:pt>
                      <c:pt idx="6192">
                        <c:v>-1.81274399</c:v>
                      </c:pt>
                      <c:pt idx="6193">
                        <c:v>-1.812789282</c:v>
                      </c:pt>
                      <c:pt idx="6194">
                        <c:v>-1.812832174</c:v>
                      </c:pt>
                      <c:pt idx="6195">
                        <c:v>-1.813052154</c:v>
                      </c:pt>
                      <c:pt idx="6196">
                        <c:v>-1.8131829020000001</c:v>
                      </c:pt>
                      <c:pt idx="6197">
                        <c:v>-1.8132247889999999</c:v>
                      </c:pt>
                      <c:pt idx="6198">
                        <c:v>-1.813267703</c:v>
                      </c:pt>
                      <c:pt idx="6199">
                        <c:v>-1.8133558869999999</c:v>
                      </c:pt>
                      <c:pt idx="6200">
                        <c:v>-1.813357589</c:v>
                      </c:pt>
                      <c:pt idx="6201">
                        <c:v>-1.8133988000000001</c:v>
                      </c:pt>
                      <c:pt idx="6202">
                        <c:v>-1.8136603179999999</c:v>
                      </c:pt>
                      <c:pt idx="6203">
                        <c:v>-1.8137056110000001</c:v>
                      </c:pt>
                      <c:pt idx="6204">
                        <c:v>-1.8137485019999999</c:v>
                      </c:pt>
                      <c:pt idx="6205">
                        <c:v>-1.8137914159999999</c:v>
                      </c:pt>
                      <c:pt idx="6206">
                        <c:v>-1.813836708</c:v>
                      </c:pt>
                      <c:pt idx="6207">
                        <c:v>-1.8138795999999999</c:v>
                      </c:pt>
                      <c:pt idx="6208">
                        <c:v>-1.8139661030000001</c:v>
                      </c:pt>
                      <c:pt idx="6209">
                        <c:v>-1.8140106970000001</c:v>
                      </c:pt>
                      <c:pt idx="6210">
                        <c:v>-1.8140124</c:v>
                      </c:pt>
                      <c:pt idx="6211">
                        <c:v>-1.8140536110000001</c:v>
                      </c:pt>
                      <c:pt idx="6212">
                        <c:v>-1.8140989030000001</c:v>
                      </c:pt>
                      <c:pt idx="6213">
                        <c:v>-1.8142306770000001</c:v>
                      </c:pt>
                      <c:pt idx="6214">
                        <c:v>-1.8143158049999999</c:v>
                      </c:pt>
                      <c:pt idx="6215">
                        <c:v>-1.8145350870000001</c:v>
                      </c:pt>
                      <c:pt idx="6216">
                        <c:v>-1.814578</c:v>
                      </c:pt>
                      <c:pt idx="6217">
                        <c:v>-1.8146209129999999</c:v>
                      </c:pt>
                      <c:pt idx="6218">
                        <c:v>-1.814664482</c:v>
                      </c:pt>
                      <c:pt idx="6219">
                        <c:v>-1.814840872</c:v>
                      </c:pt>
                      <c:pt idx="6220">
                        <c:v>-1.8148837849999999</c:v>
                      </c:pt>
                      <c:pt idx="6221">
                        <c:v>-1.814885487</c:v>
                      </c:pt>
                      <c:pt idx="6222">
                        <c:v>-1.814926676</c:v>
                      </c:pt>
                      <c:pt idx="6223">
                        <c:v>-1.8149719689999999</c:v>
                      </c:pt>
                      <c:pt idx="6224">
                        <c:v>-1.8150148820000001</c:v>
                      </c:pt>
                      <c:pt idx="6225">
                        <c:v>-1.8152757239999999</c:v>
                      </c:pt>
                      <c:pt idx="6226">
                        <c:v>-1.8155845639999999</c:v>
                      </c:pt>
                      <c:pt idx="6227">
                        <c:v>-1.8163245029999999</c:v>
                      </c:pt>
                      <c:pt idx="6228">
                        <c:v>-1.816369795</c:v>
                      </c:pt>
                      <c:pt idx="6229">
                        <c:v>-1.816410984</c:v>
                      </c:pt>
                      <c:pt idx="6230">
                        <c:v>-1.816542082</c:v>
                      </c:pt>
                      <c:pt idx="6231">
                        <c:v>-1.8165853439999999</c:v>
                      </c:pt>
                      <c:pt idx="6232">
                        <c:v>-1.816628913</c:v>
                      </c:pt>
                      <c:pt idx="6233">
                        <c:v>-1.816674205</c:v>
                      </c:pt>
                      <c:pt idx="6234">
                        <c:v>-1.8166752310000001</c:v>
                      </c:pt>
                      <c:pt idx="6235">
                        <c:v>-1.816719148</c:v>
                      </c:pt>
                      <c:pt idx="6236">
                        <c:v>-1.816807005</c:v>
                      </c:pt>
                      <c:pt idx="6237">
                        <c:v>-1.816849918</c:v>
                      </c:pt>
                      <c:pt idx="6238">
                        <c:v>-1.816891107</c:v>
                      </c:pt>
                      <c:pt idx="6239">
                        <c:v>-1.8169810159999999</c:v>
                      </c:pt>
                      <c:pt idx="6240">
                        <c:v>-1.817022227</c:v>
                      </c:pt>
                      <c:pt idx="6241">
                        <c:v>-1.8170681959999999</c:v>
                      </c:pt>
                      <c:pt idx="6242">
                        <c:v>-1.8171117640000001</c:v>
                      </c:pt>
                      <c:pt idx="6243">
                        <c:v>-1.817153324</c:v>
                      </c:pt>
                      <c:pt idx="6244">
                        <c:v>-1.8172013229999999</c:v>
                      </c:pt>
                      <c:pt idx="6245">
                        <c:v>-1.817417549</c:v>
                      </c:pt>
                      <c:pt idx="6246">
                        <c:v>-1.817458759</c:v>
                      </c:pt>
                      <c:pt idx="6247">
                        <c:v>-1.8175047289999999</c:v>
                      </c:pt>
                      <c:pt idx="6248">
                        <c:v>-1.817810513</c:v>
                      </c:pt>
                      <c:pt idx="6249">
                        <c:v>-1.817894965</c:v>
                      </c:pt>
                      <c:pt idx="6250">
                        <c:v>-1.8179838260000001</c:v>
                      </c:pt>
                      <c:pt idx="6251">
                        <c:v>-1.8180291180000001</c:v>
                      </c:pt>
                      <c:pt idx="6252">
                        <c:v>-1.8181159490000001</c:v>
                      </c:pt>
                      <c:pt idx="6253">
                        <c:v>-1.818159539</c:v>
                      </c:pt>
                      <c:pt idx="6254">
                        <c:v>-1.818331825</c:v>
                      </c:pt>
                      <c:pt idx="6255">
                        <c:v>-1.818420031</c:v>
                      </c:pt>
                      <c:pt idx="6256">
                        <c:v>-1.8184213849999999</c:v>
                      </c:pt>
                      <c:pt idx="6257">
                        <c:v>-1.818554185</c:v>
                      </c:pt>
                      <c:pt idx="6258">
                        <c:v>-1.818595395</c:v>
                      </c:pt>
                      <c:pt idx="6259">
                        <c:v>-1.8185960720000001</c:v>
                      </c:pt>
                      <c:pt idx="6260">
                        <c:v>-1.8186403390000001</c:v>
                      </c:pt>
                      <c:pt idx="6261">
                        <c:v>-1.8186812000000001</c:v>
                      </c:pt>
                      <c:pt idx="6262">
                        <c:v>-1.8187288720000001</c:v>
                      </c:pt>
                      <c:pt idx="6263">
                        <c:v>-1.818771785</c:v>
                      </c:pt>
                      <c:pt idx="6264">
                        <c:v>-1.8188143489999999</c:v>
                      </c:pt>
                      <c:pt idx="6265">
                        <c:v>-1.8190761950000001</c:v>
                      </c:pt>
                      <c:pt idx="6266">
                        <c:v>-1.8191201340000001</c:v>
                      </c:pt>
                      <c:pt idx="6267">
                        <c:v>-1.8191613230000001</c:v>
                      </c:pt>
                      <c:pt idx="6268">
                        <c:v>-1.8192049130000001</c:v>
                      </c:pt>
                      <c:pt idx="6269">
                        <c:v>-1.819294821</c:v>
                      </c:pt>
                      <c:pt idx="6270">
                        <c:v>-1.81933839</c:v>
                      </c:pt>
                      <c:pt idx="6271">
                        <c:v>-1.8193796</c:v>
                      </c:pt>
                      <c:pt idx="6272">
                        <c:v>-1.8194255699999999</c:v>
                      </c:pt>
                      <c:pt idx="6273">
                        <c:v>-1.8194691599999999</c:v>
                      </c:pt>
                      <c:pt idx="6274">
                        <c:v>-1.8195566670000001</c:v>
                      </c:pt>
                      <c:pt idx="6275">
                        <c:v>-1.8196002570000001</c:v>
                      </c:pt>
                      <c:pt idx="6276">
                        <c:v>-1.8196417949999999</c:v>
                      </c:pt>
                      <c:pt idx="6277">
                        <c:v>-1.819687415</c:v>
                      </c:pt>
                      <c:pt idx="6278">
                        <c:v>-1.819731354</c:v>
                      </c:pt>
                      <c:pt idx="6279">
                        <c:v>-1.8197749439999999</c:v>
                      </c:pt>
                      <c:pt idx="6280">
                        <c:v>-1.819815806</c:v>
                      </c:pt>
                      <c:pt idx="6281">
                        <c:v>-1.8199469029999999</c:v>
                      </c:pt>
                      <c:pt idx="6282">
                        <c:v>-1.8199932000000001</c:v>
                      </c:pt>
                      <c:pt idx="6283">
                        <c:v>-1.8200367900000001</c:v>
                      </c:pt>
                      <c:pt idx="6284">
                        <c:v>-1.8200780009999999</c:v>
                      </c:pt>
                      <c:pt idx="6285">
                        <c:v>-1.820167887</c:v>
                      </c:pt>
                      <c:pt idx="6286">
                        <c:v>-1.8202090980000001</c:v>
                      </c:pt>
                      <c:pt idx="6287">
                        <c:v>-1.8202567700000001</c:v>
                      </c:pt>
                      <c:pt idx="6288">
                        <c:v>-1.8202986569999999</c:v>
                      </c:pt>
                      <c:pt idx="6289">
                        <c:v>-1.820339846</c:v>
                      </c:pt>
                      <c:pt idx="6290">
                        <c:v>-1.8203861649999999</c:v>
                      </c:pt>
                      <c:pt idx="6291">
                        <c:v>-1.8204297549999999</c:v>
                      </c:pt>
                      <c:pt idx="6292">
                        <c:v>-1.820470944</c:v>
                      </c:pt>
                      <c:pt idx="6293">
                        <c:v>-1.820514534</c:v>
                      </c:pt>
                      <c:pt idx="6294">
                        <c:v>-1.8205605030000001</c:v>
                      </c:pt>
                      <c:pt idx="6295">
                        <c:v>-1.820604442</c:v>
                      </c:pt>
                      <c:pt idx="6296">
                        <c:v>-1.8206456310000001</c:v>
                      </c:pt>
                      <c:pt idx="6297">
                        <c:v>-1.8206933030000001</c:v>
                      </c:pt>
                      <c:pt idx="6298">
                        <c:v>-1.820736216</c:v>
                      </c:pt>
                      <c:pt idx="6299">
                        <c:v>-1.8207787799999999</c:v>
                      </c:pt>
                      <c:pt idx="6300">
                        <c:v>-1.820819969</c:v>
                      </c:pt>
                      <c:pt idx="6301">
                        <c:v>-1.8208662879999999</c:v>
                      </c:pt>
                      <c:pt idx="6302">
                        <c:v>-1.8209098779999999</c:v>
                      </c:pt>
                      <c:pt idx="6303">
                        <c:v>-1.820951067</c:v>
                      </c:pt>
                      <c:pt idx="6304">
                        <c:v>-1.8209970360000001</c:v>
                      </c:pt>
                      <c:pt idx="6305">
                        <c:v>-1.8210409750000001</c:v>
                      </c:pt>
                      <c:pt idx="6306">
                        <c:v>-1.8210821859999999</c:v>
                      </c:pt>
                      <c:pt idx="6307">
                        <c:v>-1.8211301849999999</c:v>
                      </c:pt>
                      <c:pt idx="6308">
                        <c:v>-1.8212153129999999</c:v>
                      </c:pt>
                      <c:pt idx="6309">
                        <c:v>-1.821300441</c:v>
                      </c:pt>
                      <c:pt idx="6310">
                        <c:v>-1.821348113</c:v>
                      </c:pt>
                      <c:pt idx="6311">
                        <c:v>-1.8213910259999999</c:v>
                      </c:pt>
                      <c:pt idx="6312">
                        <c:v>-1.8214335909999999</c:v>
                      </c:pt>
                      <c:pt idx="6313">
                        <c:v>-1.82147478</c:v>
                      </c:pt>
                      <c:pt idx="6314">
                        <c:v>-1.8215210980000001</c:v>
                      </c:pt>
                      <c:pt idx="6315">
                        <c:v>-1.821564688</c:v>
                      </c:pt>
                      <c:pt idx="6316">
                        <c:v>-1.821608278</c:v>
                      </c:pt>
                      <c:pt idx="6317">
                        <c:v>-1.8216498160000001</c:v>
                      </c:pt>
                      <c:pt idx="6318">
                        <c:v>-1.821824154</c:v>
                      </c:pt>
                      <c:pt idx="6319">
                        <c:v>-1.8218701239999999</c:v>
                      </c:pt>
                      <c:pt idx="6320">
                        <c:v>-1.821911662</c:v>
                      </c:pt>
                      <c:pt idx="6321">
                        <c:v>-1.8219576310000001</c:v>
                      </c:pt>
                      <c:pt idx="6322">
                        <c:v>-1.8220012210000001</c:v>
                      </c:pt>
                      <c:pt idx="6323">
                        <c:v>-1.8220427589999999</c:v>
                      </c:pt>
                      <c:pt idx="6324">
                        <c:v>-1.822088401</c:v>
                      </c:pt>
                      <c:pt idx="6325">
                        <c:v>-1.822132318</c:v>
                      </c:pt>
                      <c:pt idx="6326">
                        <c:v>-1.8221731800000001</c:v>
                      </c:pt>
                      <c:pt idx="6327">
                        <c:v>-1.8222194979999999</c:v>
                      </c:pt>
                      <c:pt idx="6328">
                        <c:v>-1.8222630879999999</c:v>
                      </c:pt>
                      <c:pt idx="6329">
                        <c:v>-1.822304277</c:v>
                      </c:pt>
                      <c:pt idx="6330">
                        <c:v>-1.8223505959999999</c:v>
                      </c:pt>
                      <c:pt idx="6331">
                        <c:v>-1.8223941859999999</c:v>
                      </c:pt>
                      <c:pt idx="6332">
                        <c:v>-1.822435375</c:v>
                      </c:pt>
                      <c:pt idx="6333">
                        <c:v>-1.822478965</c:v>
                      </c:pt>
                      <c:pt idx="6334">
                        <c:v>-1.822524934</c:v>
                      </c:pt>
                      <c:pt idx="6335">
                        <c:v>-1.8225664720000001</c:v>
                      </c:pt>
                      <c:pt idx="6336">
                        <c:v>-1.822612441</c:v>
                      </c:pt>
                      <c:pt idx="6337">
                        <c:v>-1.822656031</c:v>
                      </c:pt>
                      <c:pt idx="6338">
                        <c:v>-1.822697569</c:v>
                      </c:pt>
                      <c:pt idx="6339">
                        <c:v>-1.8227432109999999</c:v>
                      </c:pt>
                      <c:pt idx="6340">
                        <c:v>-1.822787129</c:v>
                      </c:pt>
                      <c:pt idx="6341">
                        <c:v>-1.82282799</c:v>
                      </c:pt>
                      <c:pt idx="6342">
                        <c:v>-1.8229185750000001</c:v>
                      </c:pt>
                      <c:pt idx="6343">
                        <c:v>-1.8229590879999999</c:v>
                      </c:pt>
                      <c:pt idx="6344">
                        <c:v>-1.8230054060000001</c:v>
                      </c:pt>
                      <c:pt idx="6345">
                        <c:v>-1.8230901850000001</c:v>
                      </c:pt>
                      <c:pt idx="6346">
                        <c:v>-1.8231337750000001</c:v>
                      </c:pt>
                      <c:pt idx="6347">
                        <c:v>-1.8233108419999999</c:v>
                      </c:pt>
                      <c:pt idx="6348">
                        <c:v>-1.8233980219999999</c:v>
                      </c:pt>
                      <c:pt idx="6349">
                        <c:v>-1.8234419390000001</c:v>
                      </c:pt>
                      <c:pt idx="6350">
                        <c:v>-1.823529119</c:v>
                      </c:pt>
                      <c:pt idx="6351">
                        <c:v>-1.823616626</c:v>
                      </c:pt>
                      <c:pt idx="6352">
                        <c:v>-1.823657488</c:v>
                      </c:pt>
                      <c:pt idx="6353">
                        <c:v>-1.8237038059999999</c:v>
                      </c:pt>
                      <c:pt idx="6354">
                        <c:v>-1.823965652</c:v>
                      </c:pt>
                      <c:pt idx="6355">
                        <c:v>-1.8240102680000001</c:v>
                      </c:pt>
                      <c:pt idx="6356">
                        <c:v>-1.8240940210000001</c:v>
                      </c:pt>
                      <c:pt idx="6357">
                        <c:v>-1.8241839289999999</c:v>
                      </c:pt>
                      <c:pt idx="6358">
                        <c:v>-1.824268708</c:v>
                      </c:pt>
                      <c:pt idx="6359">
                        <c:v>-1.8246640519999999</c:v>
                      </c:pt>
                      <c:pt idx="6360">
                        <c:v>-1.82470797</c:v>
                      </c:pt>
                      <c:pt idx="6361">
                        <c:v>-1.82474918</c:v>
                      </c:pt>
                      <c:pt idx="6362">
                        <c:v>-1.8247951499999999</c:v>
                      </c:pt>
                      <c:pt idx="6363">
                        <c:v>-1.8248387399999999</c:v>
                      </c:pt>
                      <c:pt idx="6364">
                        <c:v>-1.8249262470000001</c:v>
                      </c:pt>
                      <c:pt idx="6365">
                        <c:v>-1.824969837</c:v>
                      </c:pt>
                      <c:pt idx="6366">
                        <c:v>-1.8250110260000001</c:v>
                      </c:pt>
                      <c:pt idx="6367">
                        <c:v>-1.8250590470000001</c:v>
                      </c:pt>
                      <c:pt idx="6368">
                        <c:v>-1.8250982060000001</c:v>
                      </c:pt>
                      <c:pt idx="6369">
                        <c:v>-1.8252316820000001</c:v>
                      </c:pt>
                      <c:pt idx="6370">
                        <c:v>-1.825276975</c:v>
                      </c:pt>
                      <c:pt idx="6371">
                        <c:v>-1.825318862</c:v>
                      </c:pt>
                      <c:pt idx="6372">
                        <c:v>-1.8253627800000001</c:v>
                      </c:pt>
                      <c:pt idx="6373">
                        <c:v>-1.8254036410000001</c:v>
                      </c:pt>
                      <c:pt idx="6374">
                        <c:v>-1.82544996</c:v>
                      </c:pt>
                      <c:pt idx="6375">
                        <c:v>-1.82553714</c:v>
                      </c:pt>
                      <c:pt idx="6376">
                        <c:v>-1.8256246469999999</c:v>
                      </c:pt>
                      <c:pt idx="6377">
                        <c:v>-1.8256682369999999</c:v>
                      </c:pt>
                      <c:pt idx="6378">
                        <c:v>-1.825753016</c:v>
                      </c:pt>
                      <c:pt idx="6379">
                        <c:v>-1.8258864930000001</c:v>
                      </c:pt>
                      <c:pt idx="6380">
                        <c:v>-1.8259277039999999</c:v>
                      </c:pt>
                      <c:pt idx="6381">
                        <c:v>-1.825974349</c:v>
                      </c:pt>
                      <c:pt idx="6382">
                        <c:v>-1.8260588010000001</c:v>
                      </c:pt>
                      <c:pt idx="6383">
                        <c:v>-1.826189898</c:v>
                      </c:pt>
                      <c:pt idx="6384">
                        <c:v>-1.8262794579999999</c:v>
                      </c:pt>
                      <c:pt idx="6385">
                        <c:v>-1.8263206460000001</c:v>
                      </c:pt>
                      <c:pt idx="6386">
                        <c:v>-1.826368668</c:v>
                      </c:pt>
                      <c:pt idx="6387">
                        <c:v>-1.8264517440000001</c:v>
                      </c:pt>
                      <c:pt idx="6388">
                        <c:v>-1.826497713</c:v>
                      </c:pt>
                      <c:pt idx="6389">
                        <c:v>-1.8265865960000001</c:v>
                      </c:pt>
                      <c:pt idx="6390">
                        <c:v>-1.826977858</c:v>
                      </c:pt>
                      <c:pt idx="6391">
                        <c:v>-1.827062637</c:v>
                      </c:pt>
                      <c:pt idx="6392">
                        <c:v>-1.827106227</c:v>
                      </c:pt>
                      <c:pt idx="6393">
                        <c:v>-1.8274995190000001</c:v>
                      </c:pt>
                      <c:pt idx="6394">
                        <c:v>-1.8275454879999999</c:v>
                      </c:pt>
                      <c:pt idx="6395">
                        <c:v>-1.8275884019999999</c:v>
                      </c:pt>
                      <c:pt idx="6396">
                        <c:v>-1.8275890779999999</c:v>
                      </c:pt>
                      <c:pt idx="6397">
                        <c:v>-1.827630616</c:v>
                      </c:pt>
                      <c:pt idx="6398">
                        <c:v>-1.8277637659999999</c:v>
                      </c:pt>
                      <c:pt idx="6399">
                        <c:v>-1.828067149</c:v>
                      </c:pt>
                      <c:pt idx="6400">
                        <c:v>-1.8283726069999999</c:v>
                      </c:pt>
                      <c:pt idx="6401">
                        <c:v>-1.828418903</c:v>
                      </c:pt>
                      <c:pt idx="6402">
                        <c:v>-1.828504031</c:v>
                      </c:pt>
                      <c:pt idx="6403">
                        <c:v>-1.8285057339999999</c:v>
                      </c:pt>
                      <c:pt idx="6404">
                        <c:v>-1.828546945</c:v>
                      </c:pt>
                      <c:pt idx="6405">
                        <c:v>-1.8285922370000001</c:v>
                      </c:pt>
                      <c:pt idx="6406">
                        <c:v>-1.8285932629999999</c:v>
                      </c:pt>
                      <c:pt idx="6407">
                        <c:v>-1.828898699</c:v>
                      </c:pt>
                      <c:pt idx="6408">
                        <c:v>-1.829027068</c:v>
                      </c:pt>
                      <c:pt idx="6409">
                        <c:v>-1.8290733859999999</c:v>
                      </c:pt>
                      <c:pt idx="6410">
                        <c:v>-1.8292480739999999</c:v>
                      </c:pt>
                      <c:pt idx="6411">
                        <c:v>-1.8292916420000001</c:v>
                      </c:pt>
                      <c:pt idx="6412">
                        <c:v>-1.829378822</c:v>
                      </c:pt>
                      <c:pt idx="6413">
                        <c:v>-1.8294663289999999</c:v>
                      </c:pt>
                      <c:pt idx="6414">
                        <c:v>-1.829815355</c:v>
                      </c:pt>
                      <c:pt idx="6415">
                        <c:v>-1.829858945</c:v>
                      </c:pt>
                      <c:pt idx="6416">
                        <c:v>-1.8299004830000001</c:v>
                      </c:pt>
                      <c:pt idx="6417">
                        <c:v>-1.8299464519999999</c:v>
                      </c:pt>
                      <c:pt idx="6418">
                        <c:v>-1.8303370379999999</c:v>
                      </c:pt>
                      <c:pt idx="6419">
                        <c:v>-1.830383007</c:v>
                      </c:pt>
                      <c:pt idx="6420">
                        <c:v>-1.8306012620000001</c:v>
                      </c:pt>
                      <c:pt idx="6421">
                        <c:v>-1.8306428219999999</c:v>
                      </c:pt>
                      <c:pt idx="6422">
                        <c:v>-1.830688442</c:v>
                      </c:pt>
                      <c:pt idx="6423">
                        <c:v>-1.8309063699999999</c:v>
                      </c:pt>
                      <c:pt idx="6424">
                        <c:v>-1.830991848</c:v>
                      </c:pt>
                      <c:pt idx="6425">
                        <c:v>-1.8310361150000001</c:v>
                      </c:pt>
                      <c:pt idx="6426">
                        <c:v>-1.831079355</c:v>
                      </c:pt>
                      <c:pt idx="6427">
                        <c:v>-1.8311246480000001</c:v>
                      </c:pt>
                      <c:pt idx="6428">
                        <c:v>-1.831168216</c:v>
                      </c:pt>
                      <c:pt idx="6429">
                        <c:v>-1.8312101030000001</c:v>
                      </c:pt>
                      <c:pt idx="6430">
                        <c:v>-1.8312540429999999</c:v>
                      </c:pt>
                      <c:pt idx="6431">
                        <c:v>-1.83138717</c:v>
                      </c:pt>
                      <c:pt idx="6432">
                        <c:v>-1.8314736730000001</c:v>
                      </c:pt>
                      <c:pt idx="6433">
                        <c:v>-1.8315172630000001</c:v>
                      </c:pt>
                      <c:pt idx="6434">
                        <c:v>-1.831559478</c:v>
                      </c:pt>
                      <c:pt idx="6435">
                        <c:v>-1.831607499</c:v>
                      </c:pt>
                      <c:pt idx="6436">
                        <c:v>-1.831648012</c:v>
                      </c:pt>
                      <c:pt idx="6437">
                        <c:v>-1.831690925</c:v>
                      </c:pt>
                      <c:pt idx="6438">
                        <c:v>-1.831692627</c:v>
                      </c:pt>
                      <c:pt idx="6439">
                        <c:v>-1.831779109</c:v>
                      </c:pt>
                      <c:pt idx="6440">
                        <c:v>-1.831779786</c:v>
                      </c:pt>
                      <c:pt idx="6441">
                        <c:v>-1.8318220220000001</c:v>
                      </c:pt>
                      <c:pt idx="6442">
                        <c:v>-1.8318649140000001</c:v>
                      </c:pt>
                      <c:pt idx="6443">
                        <c:v>-1.8319102060000001</c:v>
                      </c:pt>
                      <c:pt idx="6444">
                        <c:v>-1.8319537960000001</c:v>
                      </c:pt>
                      <c:pt idx="6445">
                        <c:v>-1.8319977140000001</c:v>
                      </c:pt>
                      <c:pt idx="6446">
                        <c:v>-1.8319980629999999</c:v>
                      </c:pt>
                      <c:pt idx="6447">
                        <c:v>-1.832083868</c:v>
                      </c:pt>
                      <c:pt idx="6448">
                        <c:v>-1.832172074</c:v>
                      </c:pt>
                      <c:pt idx="6449">
                        <c:v>-1.832215991</c:v>
                      </c:pt>
                      <c:pt idx="6450">
                        <c:v>-1.8323450370000001</c:v>
                      </c:pt>
                      <c:pt idx="6451">
                        <c:v>-1.8323903290000001</c:v>
                      </c:pt>
                      <c:pt idx="6452">
                        <c:v>-1.8324332430000001</c:v>
                      </c:pt>
                      <c:pt idx="6453">
                        <c:v>-1.832476134</c:v>
                      </c:pt>
                      <c:pt idx="6454">
                        <c:v>-1.8325214270000001</c:v>
                      </c:pt>
                      <c:pt idx="6455">
                        <c:v>-1.832608934</c:v>
                      </c:pt>
                      <c:pt idx="6456">
                        <c:v>-1.832609283</c:v>
                      </c:pt>
                      <c:pt idx="6457">
                        <c:v>-1.832652524</c:v>
                      </c:pt>
                      <c:pt idx="6458">
                        <c:v>-1.8326944110000001</c:v>
                      </c:pt>
                      <c:pt idx="6459">
                        <c:v>-1.8327383509999999</c:v>
                      </c:pt>
                      <c:pt idx="6460">
                        <c:v>-1.832827561</c:v>
                      </c:pt>
                      <c:pt idx="6461">
                        <c:v>-1.833089406</c:v>
                      </c:pt>
                      <c:pt idx="6462">
                        <c:v>-1.8331309440000001</c:v>
                      </c:pt>
                      <c:pt idx="6463">
                        <c:v>-1.833176914</c:v>
                      </c:pt>
                      <c:pt idx="6464">
                        <c:v>-1.83330836</c:v>
                      </c:pt>
                      <c:pt idx="6465">
                        <c:v>-1.833436402</c:v>
                      </c:pt>
                      <c:pt idx="6466">
                        <c:v>-1.833524586</c:v>
                      </c:pt>
                      <c:pt idx="6467">
                        <c:v>-1.8335259610000001</c:v>
                      </c:pt>
                      <c:pt idx="6468">
                        <c:v>-1.8335674989999999</c:v>
                      </c:pt>
                      <c:pt idx="6469">
                        <c:v>-1.833613468</c:v>
                      </c:pt>
                      <c:pt idx="6470">
                        <c:v>-1.8336546570000001</c:v>
                      </c:pt>
                      <c:pt idx="6471">
                        <c:v>-1.833700627</c:v>
                      </c:pt>
                      <c:pt idx="6472">
                        <c:v>-1.833744217</c:v>
                      </c:pt>
                      <c:pt idx="6473">
                        <c:v>-1.8337857550000001</c:v>
                      </c:pt>
                      <c:pt idx="6474">
                        <c:v>-1.8338317239999999</c:v>
                      </c:pt>
                      <c:pt idx="6475">
                        <c:v>-1.8338753139999999</c:v>
                      </c:pt>
                      <c:pt idx="6476">
                        <c:v>-1.834311869</c:v>
                      </c:pt>
                      <c:pt idx="6477">
                        <c:v>-1.834353058</c:v>
                      </c:pt>
                      <c:pt idx="6478">
                        <c:v>-1.8343990269999999</c:v>
                      </c:pt>
                      <c:pt idx="6479">
                        <c:v>-1.8344429659999999</c:v>
                      </c:pt>
                      <c:pt idx="6480">
                        <c:v>-1.8348359089999999</c:v>
                      </c:pt>
                      <c:pt idx="6481">
                        <c:v>-1.83487712</c:v>
                      </c:pt>
                      <c:pt idx="6482">
                        <c:v>-1.8350953750000001</c:v>
                      </c:pt>
                      <c:pt idx="6483">
                        <c:v>-1.835140668</c:v>
                      </c:pt>
                      <c:pt idx="6484">
                        <c:v>-1.835184935</c:v>
                      </c:pt>
                      <c:pt idx="6485">
                        <c:v>-1.8354025350000001</c:v>
                      </c:pt>
                      <c:pt idx="6486">
                        <c:v>-1.835445427</c:v>
                      </c:pt>
                      <c:pt idx="6487">
                        <c:v>-1.8354468020000001</c:v>
                      </c:pt>
                      <c:pt idx="6488">
                        <c:v>-1.8354883399999999</c:v>
                      </c:pt>
                      <c:pt idx="6489">
                        <c:v>-1.835532258</c:v>
                      </c:pt>
                      <c:pt idx="6490">
                        <c:v>-1.835534309</c:v>
                      </c:pt>
                      <c:pt idx="6491">
                        <c:v>-1.835620791</c:v>
                      </c:pt>
                      <c:pt idx="6492">
                        <c:v>-1.8356650569999999</c:v>
                      </c:pt>
                      <c:pt idx="6493">
                        <c:v>-1.835926248</c:v>
                      </c:pt>
                      <c:pt idx="6494">
                        <c:v>-1.83596914</c:v>
                      </c:pt>
                      <c:pt idx="6495">
                        <c:v>-1.835970842</c:v>
                      </c:pt>
                      <c:pt idx="6496">
                        <c:v>-1.8360151090000001</c:v>
                      </c:pt>
                      <c:pt idx="6497">
                        <c:v>-1.8360154580000001</c:v>
                      </c:pt>
                      <c:pt idx="6498">
                        <c:v>-1.83605632</c:v>
                      </c:pt>
                      <c:pt idx="6499">
                        <c:v>-1.8360992330000001</c:v>
                      </c:pt>
                      <c:pt idx="6500">
                        <c:v>-1.836144504</c:v>
                      </c:pt>
                      <c:pt idx="6501">
                        <c:v>-1.83618912</c:v>
                      </c:pt>
                      <c:pt idx="6502">
                        <c:v>-1.83623033</c:v>
                      </c:pt>
                      <c:pt idx="6503">
                        <c:v>-1.8362763</c:v>
                      </c:pt>
                      <c:pt idx="6504">
                        <c:v>-1.8363198679999999</c:v>
                      </c:pt>
                      <c:pt idx="6505">
                        <c:v>-1.8364073970000001</c:v>
                      </c:pt>
                      <c:pt idx="6506">
                        <c:v>-1.836494555</c:v>
                      </c:pt>
                      <c:pt idx="6507">
                        <c:v>-1.836670268</c:v>
                      </c:pt>
                      <c:pt idx="6508">
                        <c:v>-1.8368439299999999</c:v>
                      </c:pt>
                      <c:pt idx="6509">
                        <c:v>-1.8370162379999999</c:v>
                      </c:pt>
                      <c:pt idx="6510">
                        <c:v>-1.8371493649999999</c:v>
                      </c:pt>
                      <c:pt idx="6511">
                        <c:v>-1.8371929549999999</c:v>
                      </c:pt>
                      <c:pt idx="6512">
                        <c:v>-1.83749874</c:v>
                      </c:pt>
                      <c:pt idx="6513">
                        <c:v>-1.8375399509999999</c:v>
                      </c:pt>
                      <c:pt idx="6514">
                        <c:v>-1.8375835190000001</c:v>
                      </c:pt>
                      <c:pt idx="6515">
                        <c:v>-1.8376294879999999</c:v>
                      </c:pt>
                      <c:pt idx="6516">
                        <c:v>-1.837673428</c:v>
                      </c:pt>
                      <c:pt idx="6517">
                        <c:v>-1.8377146170000001</c:v>
                      </c:pt>
                      <c:pt idx="6518">
                        <c:v>-1.8377605859999999</c:v>
                      </c:pt>
                      <c:pt idx="6519">
                        <c:v>-1.8378041759999999</c:v>
                      </c:pt>
                      <c:pt idx="6520">
                        <c:v>-1.837845714</c:v>
                      </c:pt>
                      <c:pt idx="6521">
                        <c:v>-1.8378916830000001</c:v>
                      </c:pt>
                      <c:pt idx="6522">
                        <c:v>-1.8379328939999999</c:v>
                      </c:pt>
                      <c:pt idx="6523">
                        <c:v>-1.837978863</c:v>
                      </c:pt>
                      <c:pt idx="6524">
                        <c:v>-1.838066043</c:v>
                      </c:pt>
                      <c:pt idx="6525">
                        <c:v>-1.838109961</c:v>
                      </c:pt>
                      <c:pt idx="6526">
                        <c:v>-1.838151171</c:v>
                      </c:pt>
                      <c:pt idx="6527">
                        <c:v>-1.838194761</c:v>
                      </c:pt>
                      <c:pt idx="6528">
                        <c:v>-1.838240731</c:v>
                      </c:pt>
                      <c:pt idx="6529">
                        <c:v>-1.8382846479999999</c:v>
                      </c:pt>
                      <c:pt idx="6530">
                        <c:v>-1.8383282379999999</c:v>
                      </c:pt>
                      <c:pt idx="6531">
                        <c:v>-1.8383718280000001</c:v>
                      </c:pt>
                      <c:pt idx="6532">
                        <c:v>-1.8384130169999999</c:v>
                      </c:pt>
                      <c:pt idx="6533">
                        <c:v>-1.838458986</c:v>
                      </c:pt>
                      <c:pt idx="6534">
                        <c:v>-1.838502925</c:v>
                      </c:pt>
                      <c:pt idx="6535">
                        <c:v>-1.8385441140000001</c:v>
                      </c:pt>
                      <c:pt idx="6536">
                        <c:v>-1.838590084</c:v>
                      </c:pt>
                      <c:pt idx="6537">
                        <c:v>-1.838634699</c:v>
                      </c:pt>
                      <c:pt idx="6538">
                        <c:v>-1.8387637450000001</c:v>
                      </c:pt>
                      <c:pt idx="6539">
                        <c:v>-1.8393320740000001</c:v>
                      </c:pt>
                      <c:pt idx="6540">
                        <c:v>-1.8396371819999999</c:v>
                      </c:pt>
                      <c:pt idx="6541">
                        <c:v>-1.8399014069999999</c:v>
                      </c:pt>
                      <c:pt idx="6542">
                        <c:v>-1.840074392</c:v>
                      </c:pt>
                      <c:pt idx="6543">
                        <c:v>-1.8402926690000001</c:v>
                      </c:pt>
                      <c:pt idx="6544">
                        <c:v>-1.8405545139999999</c:v>
                      </c:pt>
                      <c:pt idx="6545">
                        <c:v>-1.8405960530000001</c:v>
                      </c:pt>
                      <c:pt idx="6546">
                        <c:v>-1.8406413450000001</c:v>
                      </c:pt>
                      <c:pt idx="6547">
                        <c:v>-1.8406849350000001</c:v>
                      </c:pt>
                      <c:pt idx="6548">
                        <c:v>-1.840726823</c:v>
                      </c:pt>
                      <c:pt idx="6549">
                        <c:v>-1.8408180839999999</c:v>
                      </c:pt>
                      <c:pt idx="6550">
                        <c:v>-1.840859273</c:v>
                      </c:pt>
                      <c:pt idx="6551">
                        <c:v>-1.8408599720000001</c:v>
                      </c:pt>
                      <c:pt idx="6552">
                        <c:v>-1.8409450999999999</c:v>
                      </c:pt>
                      <c:pt idx="6553">
                        <c:v>-1.841035663</c:v>
                      </c:pt>
                      <c:pt idx="6554">
                        <c:v>-1.841122167</c:v>
                      </c:pt>
                      <c:pt idx="6555">
                        <c:v>-1.841206946</c:v>
                      </c:pt>
                      <c:pt idx="6556">
                        <c:v>-1.84151273</c:v>
                      </c:pt>
                      <c:pt idx="6557">
                        <c:v>-1.8416894479999999</c:v>
                      </c:pt>
                      <c:pt idx="6558">
                        <c:v>-1.841951315</c:v>
                      </c:pt>
                      <c:pt idx="6559">
                        <c:v>-1.841992853</c:v>
                      </c:pt>
                      <c:pt idx="6560">
                        <c:v>-1.8420388219999999</c:v>
                      </c:pt>
                      <c:pt idx="6561">
                        <c:v>-1.8426936330000001</c:v>
                      </c:pt>
                      <c:pt idx="6562">
                        <c:v>-1.8427372230000001</c:v>
                      </c:pt>
                      <c:pt idx="6563">
                        <c:v>-1.843084196</c:v>
                      </c:pt>
                      <c:pt idx="6564">
                        <c:v>-1.8431737560000001</c:v>
                      </c:pt>
                      <c:pt idx="6565">
                        <c:v>-1.8435667200000001</c:v>
                      </c:pt>
                      <c:pt idx="6566">
                        <c:v>-1.8436103100000001</c:v>
                      </c:pt>
                      <c:pt idx="6567">
                        <c:v>-1.8441779410000001</c:v>
                      </c:pt>
                      <c:pt idx="6568">
                        <c:v>-1.844309387</c:v>
                      </c:pt>
                      <c:pt idx="6569">
                        <c:v>-1.8446120939999999</c:v>
                      </c:pt>
                      <c:pt idx="6570">
                        <c:v>-1.8447431919999999</c:v>
                      </c:pt>
                      <c:pt idx="6571">
                        <c:v>-1.844789161</c:v>
                      </c:pt>
                      <c:pt idx="6572">
                        <c:v>-1.844876341</c:v>
                      </c:pt>
                      <c:pt idx="6573">
                        <c:v>-1.8449634989999999</c:v>
                      </c:pt>
                      <c:pt idx="6574">
                        <c:v>-1.8450510280000001</c:v>
                      </c:pt>
                      <c:pt idx="6575">
                        <c:v>-1.8457034379999999</c:v>
                      </c:pt>
                      <c:pt idx="6576">
                        <c:v>-1.845749407</c:v>
                      </c:pt>
                      <c:pt idx="6577">
                        <c:v>-1.845791644</c:v>
                      </c:pt>
                      <c:pt idx="6578">
                        <c:v>-1.8458345350000001</c:v>
                      </c:pt>
                      <c:pt idx="6579">
                        <c:v>-1.845921715</c:v>
                      </c:pt>
                      <c:pt idx="6580">
                        <c:v>-1.8459670079999999</c:v>
                      </c:pt>
                      <c:pt idx="6581">
                        <c:v>-1.8459676840000001</c:v>
                      </c:pt>
                      <c:pt idx="6582">
                        <c:v>-1.8460109250000001</c:v>
                      </c:pt>
                      <c:pt idx="6583">
                        <c:v>-1.846360649</c:v>
                      </c:pt>
                      <c:pt idx="6584">
                        <c:v>-1.8470154590000001</c:v>
                      </c:pt>
                      <c:pt idx="6585">
                        <c:v>-1.847056998</c:v>
                      </c:pt>
                      <c:pt idx="6586">
                        <c:v>-1.8472766279999999</c:v>
                      </c:pt>
                      <c:pt idx="6587">
                        <c:v>-1.8473195200000001</c:v>
                      </c:pt>
                      <c:pt idx="6588">
                        <c:v>-1.847362433</c:v>
                      </c:pt>
                      <c:pt idx="6589">
                        <c:v>-1.8474063510000001</c:v>
                      </c:pt>
                      <c:pt idx="6590">
                        <c:v>-1.847757428</c:v>
                      </c:pt>
                      <c:pt idx="6591">
                        <c:v>-1.8484997460000001</c:v>
                      </c:pt>
                      <c:pt idx="6592">
                        <c:v>-1.848718023</c:v>
                      </c:pt>
                      <c:pt idx="6593">
                        <c:v>-1.8489798690000001</c:v>
                      </c:pt>
                      <c:pt idx="6594">
                        <c:v>-1.849198823</c:v>
                      </c:pt>
                      <c:pt idx="6595">
                        <c:v>-1.849634679</c:v>
                      </c:pt>
                      <c:pt idx="6596">
                        <c:v>-1.8499840540000001</c:v>
                      </c:pt>
                      <c:pt idx="6597">
                        <c:v>-1.8500276440000001</c:v>
                      </c:pt>
                      <c:pt idx="6598">
                        <c:v>-1.8501563620000001</c:v>
                      </c:pt>
                      <c:pt idx="6599">
                        <c:v>-1.850202331</c:v>
                      </c:pt>
                      <c:pt idx="6600">
                        <c:v>-1.850243869</c:v>
                      </c:pt>
                      <c:pt idx="6601">
                        <c:v>-1.8502877870000001</c:v>
                      </c:pt>
                      <c:pt idx="6602">
                        <c:v>-1.8502894889999999</c:v>
                      </c:pt>
                      <c:pt idx="6603">
                        <c:v>-1.8504216120000001</c:v>
                      </c:pt>
                      <c:pt idx="6604">
                        <c:v>-1.8504641770000001</c:v>
                      </c:pt>
                      <c:pt idx="6605">
                        <c:v>-1.8505077670000001</c:v>
                      </c:pt>
                      <c:pt idx="6606">
                        <c:v>-1.850638864</c:v>
                      </c:pt>
                      <c:pt idx="6607">
                        <c:v>-1.8509007310000001</c:v>
                      </c:pt>
                      <c:pt idx="6608">
                        <c:v>-1.850944299</c:v>
                      </c:pt>
                      <c:pt idx="6609">
                        <c:v>-1.8510318290000001</c:v>
                      </c:pt>
                      <c:pt idx="6610">
                        <c:v>-1.8513808540000001</c:v>
                      </c:pt>
                      <c:pt idx="6611">
                        <c:v>-1.8514223919999999</c:v>
                      </c:pt>
                      <c:pt idx="6612">
                        <c:v>-1.8514683620000001</c:v>
                      </c:pt>
                      <c:pt idx="6613">
                        <c:v>-1.8515119520000001</c:v>
                      </c:pt>
                      <c:pt idx="6614">
                        <c:v>-1.8515555420000001</c:v>
                      </c:pt>
                      <c:pt idx="6615">
                        <c:v>-1.8515987819999999</c:v>
                      </c:pt>
                      <c:pt idx="6616">
                        <c:v>-1.8516406700000001</c:v>
                      </c:pt>
                      <c:pt idx="6617">
                        <c:v>-1.851731233</c:v>
                      </c:pt>
                      <c:pt idx="6618">
                        <c:v>-1.8519920750000001</c:v>
                      </c:pt>
                      <c:pt idx="6619">
                        <c:v>-1.852034988</c:v>
                      </c:pt>
                      <c:pt idx="6620">
                        <c:v>-1.8520778790000001</c:v>
                      </c:pt>
                      <c:pt idx="6621">
                        <c:v>-1.8521207930000001</c:v>
                      </c:pt>
                      <c:pt idx="6622">
                        <c:v>-1.8521660849999999</c:v>
                      </c:pt>
                      <c:pt idx="6623">
                        <c:v>-1.852166762</c:v>
                      </c:pt>
                      <c:pt idx="6624">
                        <c:v>-1.8522535929999999</c:v>
                      </c:pt>
                      <c:pt idx="6625">
                        <c:v>-1.852343152</c:v>
                      </c:pt>
                      <c:pt idx="6626">
                        <c:v>-1.852603295</c:v>
                      </c:pt>
                      <c:pt idx="6627">
                        <c:v>-1.8527340649999999</c:v>
                      </c:pt>
                      <c:pt idx="6628">
                        <c:v>-1.8527779820000001</c:v>
                      </c:pt>
                      <c:pt idx="6629">
                        <c:v>-1.8532996429999999</c:v>
                      </c:pt>
                      <c:pt idx="6630">
                        <c:v>-1.8535615110000001</c:v>
                      </c:pt>
                      <c:pt idx="6631">
                        <c:v>-1.853736198</c:v>
                      </c:pt>
                      <c:pt idx="6632">
                        <c:v>-1.8537818180000001</c:v>
                      </c:pt>
                      <c:pt idx="6633">
                        <c:v>-1.853956505</c:v>
                      </c:pt>
                      <c:pt idx="6634">
                        <c:v>-1.8541747829999999</c:v>
                      </c:pt>
                      <c:pt idx="6635">
                        <c:v>-1.854307234</c:v>
                      </c:pt>
                      <c:pt idx="6636">
                        <c:v>-1.8543504740000001</c:v>
                      </c:pt>
                      <c:pt idx="6637">
                        <c:v>-1.8543913359999999</c:v>
                      </c:pt>
                      <c:pt idx="6638">
                        <c:v>-1.854436628</c:v>
                      </c:pt>
                      <c:pt idx="6639">
                        <c:v>-1.8544805680000001</c:v>
                      </c:pt>
                      <c:pt idx="6640">
                        <c:v>-1.855616854</c:v>
                      </c:pt>
                      <c:pt idx="6641">
                        <c:v>-1.855660095</c:v>
                      </c:pt>
                      <c:pt idx="6642">
                        <c:v>-1.855700956</c:v>
                      </c:pt>
                      <c:pt idx="6643">
                        <c:v>-1.8557462490000001</c:v>
                      </c:pt>
                      <c:pt idx="6644">
                        <c:v>-1.855838187</c:v>
                      </c:pt>
                      <c:pt idx="6645">
                        <c:v>-1.8559212860000001</c:v>
                      </c:pt>
                      <c:pt idx="6646">
                        <c:v>-1.8559645259999999</c:v>
                      </c:pt>
                      <c:pt idx="6647">
                        <c:v>-1.8562703110000001</c:v>
                      </c:pt>
                      <c:pt idx="6648">
                        <c:v>-1.856357469</c:v>
                      </c:pt>
                      <c:pt idx="6649">
                        <c:v>-1.856401059</c:v>
                      </c:pt>
                      <c:pt idx="6650">
                        <c:v>-1.856488567</c:v>
                      </c:pt>
                      <c:pt idx="6651">
                        <c:v>-1.8568379420000001</c:v>
                      </c:pt>
                      <c:pt idx="6652">
                        <c:v>-1.856880855</c:v>
                      </c:pt>
                      <c:pt idx="6653">
                        <c:v>-1.856881531</c:v>
                      </c:pt>
                      <c:pt idx="6654">
                        <c:v>-1.8569264750000001</c:v>
                      </c:pt>
                      <c:pt idx="6655">
                        <c:v>-1.8569268240000001</c:v>
                      </c:pt>
                      <c:pt idx="6656">
                        <c:v>-1.85701228</c:v>
                      </c:pt>
                      <c:pt idx="6657">
                        <c:v>-1.8570997869999999</c:v>
                      </c:pt>
                      <c:pt idx="6658">
                        <c:v>-1.857318064</c:v>
                      </c:pt>
                      <c:pt idx="6659">
                        <c:v>-1.8573633570000001</c:v>
                      </c:pt>
                      <c:pt idx="6660">
                        <c:v>-1.8578833159999999</c:v>
                      </c:pt>
                      <c:pt idx="6661">
                        <c:v>-1.858061081</c:v>
                      </c:pt>
                      <c:pt idx="6662">
                        <c:v>-1.858234044</c:v>
                      </c:pt>
                      <c:pt idx="6663">
                        <c:v>-1.8582793360000001</c:v>
                      </c:pt>
                      <c:pt idx="6664">
                        <c:v>-1.8583219</c:v>
                      </c:pt>
                      <c:pt idx="6665">
                        <c:v>-1.85836549</c:v>
                      </c:pt>
                      <c:pt idx="6666">
                        <c:v>-1.8584087309999999</c:v>
                      </c:pt>
                      <c:pt idx="6667">
                        <c:v>-1.8585401779999999</c:v>
                      </c:pt>
                      <c:pt idx="6668">
                        <c:v>-1.8586276850000001</c:v>
                      </c:pt>
                      <c:pt idx="6669">
                        <c:v>-1.8586712750000001</c:v>
                      </c:pt>
                      <c:pt idx="6670">
                        <c:v>-1.858758455</c:v>
                      </c:pt>
                      <c:pt idx="6671">
                        <c:v>-1.858802372</c:v>
                      </c:pt>
                      <c:pt idx="6672">
                        <c:v>-1.8589763829999999</c:v>
                      </c:pt>
                      <c:pt idx="6673">
                        <c:v>-1.8589773869999999</c:v>
                      </c:pt>
                      <c:pt idx="6674">
                        <c:v>-1.8590199510000001</c:v>
                      </c:pt>
                      <c:pt idx="6675">
                        <c:v>-1.8590642180000001</c:v>
                      </c:pt>
                      <c:pt idx="6676">
                        <c:v>-1.8591078080000001</c:v>
                      </c:pt>
                      <c:pt idx="6677">
                        <c:v>-1.8593277880000001</c:v>
                      </c:pt>
                      <c:pt idx="6678">
                        <c:v>-1.859370701</c:v>
                      </c:pt>
                      <c:pt idx="6679">
                        <c:v>-1.859893716</c:v>
                      </c:pt>
                      <c:pt idx="6680">
                        <c:v>-1.859937306</c:v>
                      </c:pt>
                      <c:pt idx="6681">
                        <c:v>-1.859982598</c:v>
                      </c:pt>
                      <c:pt idx="6682">
                        <c:v>-1.860025512</c:v>
                      </c:pt>
                      <c:pt idx="6683">
                        <c:v>-1.8600680759999999</c:v>
                      </c:pt>
                      <c:pt idx="6684">
                        <c:v>-1.8601555830000001</c:v>
                      </c:pt>
                      <c:pt idx="6685">
                        <c:v>-1.8601998500000001</c:v>
                      </c:pt>
                      <c:pt idx="6686">
                        <c:v>-1.8602407110000001</c:v>
                      </c:pt>
                      <c:pt idx="6687">
                        <c:v>-1.86028668</c:v>
                      </c:pt>
                      <c:pt idx="6688">
                        <c:v>-1.86033027</c:v>
                      </c:pt>
                      <c:pt idx="6689">
                        <c:v>-1.860373839</c:v>
                      </c:pt>
                      <c:pt idx="6690">
                        <c:v>-1.8604153990000001</c:v>
                      </c:pt>
                      <c:pt idx="6691">
                        <c:v>-1.8605049360000001</c:v>
                      </c:pt>
                      <c:pt idx="6692">
                        <c:v>-1.8609414909999999</c:v>
                      </c:pt>
                      <c:pt idx="6693">
                        <c:v>-1.8614652039999999</c:v>
                      </c:pt>
                      <c:pt idx="6694">
                        <c:v>-1.861682783</c:v>
                      </c:pt>
                      <c:pt idx="6695">
                        <c:v>-1.862423747</c:v>
                      </c:pt>
                      <c:pt idx="6696">
                        <c:v>-1.8624693670000001</c:v>
                      </c:pt>
                      <c:pt idx="6697">
                        <c:v>-1.86251228</c:v>
                      </c:pt>
                      <c:pt idx="6698">
                        <c:v>-1.8625561980000001</c:v>
                      </c:pt>
                      <c:pt idx="6699">
                        <c:v>-1.862599788</c:v>
                      </c:pt>
                      <c:pt idx="6700">
                        <c:v>-1.862643727</c:v>
                      </c:pt>
                      <c:pt idx="6701">
                        <c:v>-1.862686968</c:v>
                      </c:pt>
                      <c:pt idx="6702">
                        <c:v>-1.862731234</c:v>
                      </c:pt>
                      <c:pt idx="6703">
                        <c:v>-1.863211357</c:v>
                      </c:pt>
                      <c:pt idx="6704">
                        <c:v>-1.863299214</c:v>
                      </c:pt>
                      <c:pt idx="6705">
                        <c:v>-1.8634745779999999</c:v>
                      </c:pt>
                      <c:pt idx="6706">
                        <c:v>-1.8634749269999999</c:v>
                      </c:pt>
                      <c:pt idx="6707">
                        <c:v>-1.8635178189999999</c:v>
                      </c:pt>
                      <c:pt idx="6708">
                        <c:v>-1.8635607320000001</c:v>
                      </c:pt>
                      <c:pt idx="6709">
                        <c:v>-1.863604322</c:v>
                      </c:pt>
                      <c:pt idx="6710">
                        <c:v>-1.86364789</c:v>
                      </c:pt>
                      <c:pt idx="6711">
                        <c:v>-1.8636938590000001</c:v>
                      </c:pt>
                      <c:pt idx="6712">
                        <c:v>-1.8637350699999999</c:v>
                      </c:pt>
                      <c:pt idx="6713">
                        <c:v>-1.863778988</c:v>
                      </c:pt>
                      <c:pt idx="6714">
                        <c:v>-1.8639536750000001</c:v>
                      </c:pt>
                      <c:pt idx="6715">
                        <c:v>-1.8642591319999999</c:v>
                      </c:pt>
                      <c:pt idx="6716">
                        <c:v>-1.8644337980000001</c:v>
                      </c:pt>
                      <c:pt idx="6717">
                        <c:v>-1.8644777370000001</c:v>
                      </c:pt>
                      <c:pt idx="6718">
                        <c:v>-1.864608485</c:v>
                      </c:pt>
                      <c:pt idx="6719">
                        <c:v>-1.864652075</c:v>
                      </c:pt>
                      <c:pt idx="6720">
                        <c:v>-1.864784199</c:v>
                      </c:pt>
                      <c:pt idx="6721">
                        <c:v>-1.865046743</c:v>
                      </c:pt>
                      <c:pt idx="6722">
                        <c:v>-1.865132198</c:v>
                      </c:pt>
                      <c:pt idx="6723">
                        <c:v>-1.8651757879999999</c:v>
                      </c:pt>
                      <c:pt idx="6724">
                        <c:v>-1.8654376560000001</c:v>
                      </c:pt>
                      <c:pt idx="6725">
                        <c:v>-1.865874188</c:v>
                      </c:pt>
                      <c:pt idx="6726">
                        <c:v>-1.866005286</c:v>
                      </c:pt>
                      <c:pt idx="6727">
                        <c:v>-1.866048527</c:v>
                      </c:pt>
                      <c:pt idx="6728">
                        <c:v>-1.866048876</c:v>
                      </c:pt>
                      <c:pt idx="6729">
                        <c:v>-1.8660941680000001</c:v>
                      </c:pt>
                      <c:pt idx="6730">
                        <c:v>-1.86613706</c:v>
                      </c:pt>
                      <c:pt idx="6731">
                        <c:v>-1.8661799729999999</c:v>
                      </c:pt>
                      <c:pt idx="6732">
                        <c:v>-1.8662235629999999</c:v>
                      </c:pt>
                      <c:pt idx="6733">
                        <c:v>-1.8663151520000001</c:v>
                      </c:pt>
                      <c:pt idx="6734">
                        <c:v>-1.8665310289999999</c:v>
                      </c:pt>
                      <c:pt idx="6735">
                        <c:v>-1.8667036859999999</c:v>
                      </c:pt>
                      <c:pt idx="6736">
                        <c:v>-1.866748979</c:v>
                      </c:pt>
                      <c:pt idx="6737">
                        <c:v>-1.8667918699999999</c:v>
                      </c:pt>
                      <c:pt idx="6738">
                        <c:v>-1.8669226400000001</c:v>
                      </c:pt>
                      <c:pt idx="6739">
                        <c:v>-1.867096629</c:v>
                      </c:pt>
                      <c:pt idx="6740">
                        <c:v>-1.867185512</c:v>
                      </c:pt>
                      <c:pt idx="6741">
                        <c:v>-1.8672287519999999</c:v>
                      </c:pt>
                      <c:pt idx="6742">
                        <c:v>-1.867622721</c:v>
                      </c:pt>
                      <c:pt idx="6743">
                        <c:v>-1.8676659840000001</c:v>
                      </c:pt>
                      <c:pt idx="6744">
                        <c:v>-1.8677078490000001</c:v>
                      </c:pt>
                      <c:pt idx="6745">
                        <c:v>-1.8677521159999999</c:v>
                      </c:pt>
                      <c:pt idx="6746">
                        <c:v>-1.8677950290000001</c:v>
                      </c:pt>
                      <c:pt idx="6747">
                        <c:v>-1.8678389470000001</c:v>
                      </c:pt>
                      <c:pt idx="6748">
                        <c:v>-1.8678825370000001</c:v>
                      </c:pt>
                      <c:pt idx="6749">
                        <c:v>-1.867926127</c:v>
                      </c:pt>
                      <c:pt idx="6750">
                        <c:v>-1.868013307</c:v>
                      </c:pt>
                      <c:pt idx="6751">
                        <c:v>-1.8686681169999999</c:v>
                      </c:pt>
                      <c:pt idx="6752">
                        <c:v>-1.8689343940000001</c:v>
                      </c:pt>
                      <c:pt idx="6753">
                        <c:v>-1.869061737</c:v>
                      </c:pt>
                      <c:pt idx="6754">
                        <c:v>-1.869149943</c:v>
                      </c:pt>
                      <c:pt idx="6755">
                        <c:v>-1.869279337</c:v>
                      </c:pt>
                      <c:pt idx="6756">
                        <c:v>-1.869322578</c:v>
                      </c:pt>
                      <c:pt idx="6757">
                        <c:v>-1.8693681980000001</c:v>
                      </c:pt>
                      <c:pt idx="6758">
                        <c:v>-1.869541532</c:v>
                      </c:pt>
                      <c:pt idx="6759">
                        <c:v>-1.869584446</c:v>
                      </c:pt>
                      <c:pt idx="6760">
                        <c:v>-1.869759111</c:v>
                      </c:pt>
                      <c:pt idx="6761">
                        <c:v>-1.869802701</c:v>
                      </c:pt>
                      <c:pt idx="6762">
                        <c:v>-1.869934475</c:v>
                      </c:pt>
                      <c:pt idx="6763">
                        <c:v>-1.869977389</c:v>
                      </c:pt>
                      <c:pt idx="6764">
                        <c:v>-1.8701071330000001</c:v>
                      </c:pt>
                      <c:pt idx="6765">
                        <c:v>-1.8701963429999999</c:v>
                      </c:pt>
                      <c:pt idx="6766">
                        <c:v>-1.8701966919999999</c:v>
                      </c:pt>
                      <c:pt idx="6767">
                        <c:v>-1.8702392560000001</c:v>
                      </c:pt>
                      <c:pt idx="6768">
                        <c:v>-1.870326414</c:v>
                      </c:pt>
                      <c:pt idx="6769">
                        <c:v>-1.8703270910000001</c:v>
                      </c:pt>
                      <c:pt idx="6770">
                        <c:v>-1.8705017779999999</c:v>
                      </c:pt>
                      <c:pt idx="6771">
                        <c:v>-1.8709819009999999</c:v>
                      </c:pt>
                      <c:pt idx="6772">
                        <c:v>-1.871026168</c:v>
                      </c:pt>
                      <c:pt idx="6773">
                        <c:v>-1.871243768</c:v>
                      </c:pt>
                      <c:pt idx="6774">
                        <c:v>-1.8712876860000001</c:v>
                      </c:pt>
                      <c:pt idx="6775">
                        <c:v>-1.871330599</c:v>
                      </c:pt>
                      <c:pt idx="6776">
                        <c:v>-1.871331276</c:v>
                      </c:pt>
                      <c:pt idx="6777">
                        <c:v>-1.871418456</c:v>
                      </c:pt>
                      <c:pt idx="6778">
                        <c:v>-1.871462722</c:v>
                      </c:pt>
                      <c:pt idx="6779">
                        <c:v>-1.8715059629999999</c:v>
                      </c:pt>
                      <c:pt idx="6780">
                        <c:v>-1.8716809780000001</c:v>
                      </c:pt>
                      <c:pt idx="6781">
                        <c:v>-1.8721168340000001</c:v>
                      </c:pt>
                      <c:pt idx="6782">
                        <c:v>-1.8725533889999999</c:v>
                      </c:pt>
                      <c:pt idx="6783">
                        <c:v>-1.8725973060000001</c:v>
                      </c:pt>
                      <c:pt idx="6784">
                        <c:v>-1.8726402200000001</c:v>
                      </c:pt>
                      <c:pt idx="6785">
                        <c:v>-1.8726855120000001</c:v>
                      </c:pt>
                      <c:pt idx="6786">
                        <c:v>-1.872728076</c:v>
                      </c:pt>
                      <c:pt idx="6787">
                        <c:v>-1.872771645</c:v>
                      </c:pt>
                      <c:pt idx="6788">
                        <c:v>-1.872815584</c:v>
                      </c:pt>
                      <c:pt idx="6789">
                        <c:v>-1.872859174</c:v>
                      </c:pt>
                      <c:pt idx="6790">
                        <c:v>-1.873252117</c:v>
                      </c:pt>
                      <c:pt idx="6791">
                        <c:v>-1.873295707</c:v>
                      </c:pt>
                      <c:pt idx="6792">
                        <c:v>-1.873339297</c:v>
                      </c:pt>
                      <c:pt idx="6793">
                        <c:v>-1.8735558720000001</c:v>
                      </c:pt>
                      <c:pt idx="6794">
                        <c:v>-1.873688671</c:v>
                      </c:pt>
                      <c:pt idx="6795">
                        <c:v>-1.873731563</c:v>
                      </c:pt>
                      <c:pt idx="6796">
                        <c:v>-1.874212384</c:v>
                      </c:pt>
                      <c:pt idx="6797">
                        <c:v>-1.8743870499999999</c:v>
                      </c:pt>
                      <c:pt idx="6798">
                        <c:v>-1.8745178199999999</c:v>
                      </c:pt>
                      <c:pt idx="6799">
                        <c:v>-1.8747360749999999</c:v>
                      </c:pt>
                      <c:pt idx="6800">
                        <c:v>-1.874780015</c:v>
                      </c:pt>
                      <c:pt idx="6801">
                        <c:v>-1.8751733070000001</c:v>
                      </c:pt>
                      <c:pt idx="6802">
                        <c:v>-1.8753908859999999</c:v>
                      </c:pt>
                      <c:pt idx="6803">
                        <c:v>-1.875959215</c:v>
                      </c:pt>
                      <c:pt idx="6804">
                        <c:v>-1.8765254920000001</c:v>
                      </c:pt>
                      <c:pt idx="6805">
                        <c:v>-1.8765711119999999</c:v>
                      </c:pt>
                      <c:pt idx="6806">
                        <c:v>-1.8766143740000001</c:v>
                      </c:pt>
                      <c:pt idx="6807">
                        <c:v>-1.8766552359999999</c:v>
                      </c:pt>
                      <c:pt idx="6808">
                        <c:v>-1.8767005059999999</c:v>
                      </c:pt>
                      <c:pt idx="6809">
                        <c:v>-1.876743769</c:v>
                      </c:pt>
                      <c:pt idx="6810">
                        <c:v>-1.876833306</c:v>
                      </c:pt>
                      <c:pt idx="6811">
                        <c:v>-1.8768748660000001</c:v>
                      </c:pt>
                      <c:pt idx="6812">
                        <c:v>-1.8770505580000001</c:v>
                      </c:pt>
                      <c:pt idx="6813">
                        <c:v>-1.877093471</c:v>
                      </c:pt>
                      <c:pt idx="6814">
                        <c:v>-1.877312425</c:v>
                      </c:pt>
                      <c:pt idx="6815">
                        <c:v>-1.8773985790000001</c:v>
                      </c:pt>
                      <c:pt idx="6816">
                        <c:v>-1.877441143</c:v>
                      </c:pt>
                      <c:pt idx="6817">
                        <c:v>-1.8774871129999999</c:v>
                      </c:pt>
                      <c:pt idx="6818">
                        <c:v>-1.877573943</c:v>
                      </c:pt>
                      <c:pt idx="6819">
                        <c:v>-1.877616835</c:v>
                      </c:pt>
                      <c:pt idx="6820">
                        <c:v>-1.877705041</c:v>
                      </c:pt>
                      <c:pt idx="6821">
                        <c:v>-1.8777921989999999</c:v>
                      </c:pt>
                      <c:pt idx="6822">
                        <c:v>-1.878054066</c:v>
                      </c:pt>
                      <c:pt idx="6823">
                        <c:v>-1.8781848139999999</c:v>
                      </c:pt>
                      <c:pt idx="6824">
                        <c:v>-1.878228754</c:v>
                      </c:pt>
                      <c:pt idx="6825">
                        <c:v>-1.878272344</c:v>
                      </c:pt>
                      <c:pt idx="6826">
                        <c:v>-1.878317287</c:v>
                      </c:pt>
                      <c:pt idx="6827">
                        <c:v>-1.878360528</c:v>
                      </c:pt>
                      <c:pt idx="6828">
                        <c:v>-1.8784030920000001</c:v>
                      </c:pt>
                      <c:pt idx="6829">
                        <c:v>-1.8784470090000001</c:v>
                      </c:pt>
                      <c:pt idx="6830">
                        <c:v>-1.8784899230000001</c:v>
                      </c:pt>
                      <c:pt idx="6831">
                        <c:v>-1.8785788050000001</c:v>
                      </c:pt>
                      <c:pt idx="6832">
                        <c:v>-1.878621697</c:v>
                      </c:pt>
                      <c:pt idx="6833">
                        <c:v>-1.878665287</c:v>
                      </c:pt>
                      <c:pt idx="6834">
                        <c:v>-1.878757574</c:v>
                      </c:pt>
                      <c:pt idx="6835">
                        <c:v>-1.8787960349999999</c:v>
                      </c:pt>
                      <c:pt idx="6836">
                        <c:v>-1.8789271320000001</c:v>
                      </c:pt>
                      <c:pt idx="6837">
                        <c:v>-1.879058251</c:v>
                      </c:pt>
                      <c:pt idx="6838">
                        <c:v>-1.8792765069999999</c:v>
                      </c:pt>
                      <c:pt idx="6839">
                        <c:v>-1.8793200969999999</c:v>
                      </c:pt>
                      <c:pt idx="6840">
                        <c:v>-1.8793636869999999</c:v>
                      </c:pt>
                      <c:pt idx="6841">
                        <c:v>-1.8794116860000001</c:v>
                      </c:pt>
                      <c:pt idx="6842">
                        <c:v>-1.879538374</c:v>
                      </c:pt>
                      <c:pt idx="6843">
                        <c:v>-1.879670148</c:v>
                      </c:pt>
                      <c:pt idx="6844">
                        <c:v>-1.8797995430000001</c:v>
                      </c:pt>
                      <c:pt idx="6845">
                        <c:v>-1.8798002199999999</c:v>
                      </c:pt>
                      <c:pt idx="6846">
                        <c:v>-1.8798884259999999</c:v>
                      </c:pt>
                      <c:pt idx="6847">
                        <c:v>-1.879931317</c:v>
                      </c:pt>
                      <c:pt idx="6848">
                        <c:v>-1.880149595</c:v>
                      </c:pt>
                      <c:pt idx="6849">
                        <c:v>-1.8803246090000001</c:v>
                      </c:pt>
                      <c:pt idx="6850">
                        <c:v>-1.8808476460000001</c:v>
                      </c:pt>
                      <c:pt idx="6851">
                        <c:v>-1.880891563</c:v>
                      </c:pt>
                      <c:pt idx="6852">
                        <c:v>-1.8809365280000001</c:v>
                      </c:pt>
                      <c:pt idx="6853">
                        <c:v>-1.8809797690000001</c:v>
                      </c:pt>
                      <c:pt idx="6854">
                        <c:v>-1.881198046</c:v>
                      </c:pt>
                      <c:pt idx="6855">
                        <c:v>-1.881374087</c:v>
                      </c:pt>
                      <c:pt idx="6856">
                        <c:v>-1.8814173279999999</c:v>
                      </c:pt>
                      <c:pt idx="6857">
                        <c:v>-1.881633903</c:v>
                      </c:pt>
                      <c:pt idx="6858">
                        <c:v>-1.8816771430000001</c:v>
                      </c:pt>
                      <c:pt idx="6859">
                        <c:v>-1.8817639740000001</c:v>
                      </c:pt>
                      <c:pt idx="6860">
                        <c:v>-1.881894046</c:v>
                      </c:pt>
                      <c:pt idx="6861">
                        <c:v>-1.881939338</c:v>
                      </c:pt>
                      <c:pt idx="6862">
                        <c:v>-1.881982928</c:v>
                      </c:pt>
                      <c:pt idx="6863">
                        <c:v>-1.8821133489999999</c:v>
                      </c:pt>
                      <c:pt idx="6864">
                        <c:v>-1.882157616</c:v>
                      </c:pt>
                      <c:pt idx="6865">
                        <c:v>-1.8822011839999999</c:v>
                      </c:pt>
                      <c:pt idx="6866">
                        <c:v>-1.8824201380000001</c:v>
                      </c:pt>
                      <c:pt idx="6867">
                        <c:v>-1.8828566929999999</c:v>
                      </c:pt>
                      <c:pt idx="6868">
                        <c:v>-1.8832925490000001</c:v>
                      </c:pt>
                      <c:pt idx="6869">
                        <c:v>-1.883379707</c:v>
                      </c:pt>
                      <c:pt idx="6870">
                        <c:v>-1.8834239740000001</c:v>
                      </c:pt>
                      <c:pt idx="6871">
                        <c:v>-1.883467236</c:v>
                      </c:pt>
                      <c:pt idx="6872">
                        <c:v>-1.8837730210000001</c:v>
                      </c:pt>
                      <c:pt idx="6873">
                        <c:v>-1.883947359</c:v>
                      </c:pt>
                      <c:pt idx="6874">
                        <c:v>-1.884034867</c:v>
                      </c:pt>
                      <c:pt idx="6875">
                        <c:v>-1.8846021690000001</c:v>
                      </c:pt>
                      <c:pt idx="6876">
                        <c:v>-1.8849515219999999</c:v>
                      </c:pt>
                      <c:pt idx="6877">
                        <c:v>-1.8849934100000001</c:v>
                      </c:pt>
                      <c:pt idx="6878">
                        <c:v>-1.885039052</c:v>
                      </c:pt>
                      <c:pt idx="6879">
                        <c:v>-1.8850819430000001</c:v>
                      </c:pt>
                      <c:pt idx="6880">
                        <c:v>-1.8851262099999999</c:v>
                      </c:pt>
                      <c:pt idx="6881">
                        <c:v>-1.8851697999999999</c:v>
                      </c:pt>
                      <c:pt idx="6882">
                        <c:v>-1.8852140660000001</c:v>
                      </c:pt>
                      <c:pt idx="6883">
                        <c:v>-1.885344487</c:v>
                      </c:pt>
                      <c:pt idx="6884">
                        <c:v>-1.8859577590000001</c:v>
                      </c:pt>
                      <c:pt idx="6885">
                        <c:v>-1.886001</c:v>
                      </c:pt>
                      <c:pt idx="6886">
                        <c:v>-1.8861753489999999</c:v>
                      </c:pt>
                      <c:pt idx="6887">
                        <c:v>-1.8862611600000001</c:v>
                      </c:pt>
                      <c:pt idx="6888">
                        <c:v>-1.886697743</c:v>
                      </c:pt>
                      <c:pt idx="6889">
                        <c:v>-1.886784579</c:v>
                      </c:pt>
                      <c:pt idx="6890">
                        <c:v>-1.886873118</c:v>
                      </c:pt>
                      <c:pt idx="6891">
                        <c:v>-1.8869596049999999</c:v>
                      </c:pt>
                      <c:pt idx="6892">
                        <c:v>-1.8870031979999999</c:v>
                      </c:pt>
                      <c:pt idx="6893">
                        <c:v>-1.887132601</c:v>
                      </c:pt>
                      <c:pt idx="6894">
                        <c:v>-1.887263707</c:v>
                      </c:pt>
                      <c:pt idx="6895">
                        <c:v>-1.887307649</c:v>
                      </c:pt>
                      <c:pt idx="6896">
                        <c:v>-1.887350893</c:v>
                      </c:pt>
                      <c:pt idx="6897">
                        <c:v>-1.8873525950000001</c:v>
                      </c:pt>
                      <c:pt idx="6898">
                        <c:v>-1.8874394320000001</c:v>
                      </c:pt>
                      <c:pt idx="6899">
                        <c:v>-1.887485055</c:v>
                      </c:pt>
                      <c:pt idx="6900">
                        <c:v>-1.8875279709999999</c:v>
                      </c:pt>
                      <c:pt idx="6901">
                        <c:v>-1.8875691619999999</c:v>
                      </c:pt>
                      <c:pt idx="6902">
                        <c:v>-1.887657701</c:v>
                      </c:pt>
                      <c:pt idx="6903">
                        <c:v>-1.8876580510000001</c:v>
                      </c:pt>
                      <c:pt idx="6904">
                        <c:v>-1.8877033459999999</c:v>
                      </c:pt>
                      <c:pt idx="6905">
                        <c:v>-1.8877465899999999</c:v>
                      </c:pt>
                      <c:pt idx="6906">
                        <c:v>-1.8877891570000001</c:v>
                      </c:pt>
                      <c:pt idx="6907">
                        <c:v>-1.887832749</c:v>
                      </c:pt>
                      <c:pt idx="6908">
                        <c:v>-1.8879250430000001</c:v>
                      </c:pt>
                      <c:pt idx="6909">
                        <c:v>-1.8879655580000001</c:v>
                      </c:pt>
                      <c:pt idx="6910">
                        <c:v>-1.888007448</c:v>
                      </c:pt>
                      <c:pt idx="6911">
                        <c:v>-1.8880946119999999</c:v>
                      </c:pt>
                      <c:pt idx="6912">
                        <c:v>-1.888313253</c:v>
                      </c:pt>
                      <c:pt idx="6913">
                        <c:v>-1.8885791970000001</c:v>
                      </c:pt>
                      <c:pt idx="6914">
                        <c:v>-1.8886623010000001</c:v>
                      </c:pt>
                      <c:pt idx="6915">
                        <c:v>-1.8888380039999999</c:v>
                      </c:pt>
                      <c:pt idx="6916">
                        <c:v>-1.8888812690000001</c:v>
                      </c:pt>
                      <c:pt idx="6917">
                        <c:v>-1.8890130519999999</c:v>
                      </c:pt>
                      <c:pt idx="6918">
                        <c:v>-1.8894039899999999</c:v>
                      </c:pt>
                      <c:pt idx="6919">
                        <c:v>-1.8894475829999999</c:v>
                      </c:pt>
                      <c:pt idx="6920">
                        <c:v>-1.8894918519999999</c:v>
                      </c:pt>
                      <c:pt idx="6921">
                        <c:v>-1.8895354230000001</c:v>
                      </c:pt>
                      <c:pt idx="6922">
                        <c:v>-1.8901048149999999</c:v>
                      </c:pt>
                      <c:pt idx="6923">
                        <c:v>-1.890408917</c:v>
                      </c:pt>
                      <c:pt idx="6924">
                        <c:v>-1.890409244</c:v>
                      </c:pt>
                      <c:pt idx="6925">
                        <c:v>-1.8904518109999999</c:v>
                      </c:pt>
                      <c:pt idx="6926">
                        <c:v>-1.8904960799999999</c:v>
                      </c:pt>
                      <c:pt idx="6927">
                        <c:v>-1.8905389960000001</c:v>
                      </c:pt>
                      <c:pt idx="6928">
                        <c:v>-1.8906704519999999</c:v>
                      </c:pt>
                      <c:pt idx="6929">
                        <c:v>-1.8908022339999999</c:v>
                      </c:pt>
                      <c:pt idx="6930">
                        <c:v>-1.890845128</c:v>
                      </c:pt>
                      <c:pt idx="6931">
                        <c:v>-1.8908893980000001</c:v>
                      </c:pt>
                      <c:pt idx="6932">
                        <c:v>-1.8909326630000001</c:v>
                      </c:pt>
                      <c:pt idx="6933">
                        <c:v>-1.8909779369999999</c:v>
                      </c:pt>
                      <c:pt idx="6934">
                        <c:v>-1.8910208529999999</c:v>
                      </c:pt>
                      <c:pt idx="6935">
                        <c:v>-1.8910640970000001</c:v>
                      </c:pt>
                      <c:pt idx="6936">
                        <c:v>-1.8911070130000001</c:v>
                      </c:pt>
                      <c:pt idx="6937">
                        <c:v>-1.891194526</c:v>
                      </c:pt>
                      <c:pt idx="6938">
                        <c:v>-1.8912381190000001</c:v>
                      </c:pt>
                      <c:pt idx="6939">
                        <c:v>-1.891281711</c:v>
                      </c:pt>
                      <c:pt idx="6940">
                        <c:v>-1.891325981</c:v>
                      </c:pt>
                      <c:pt idx="6941">
                        <c:v>-1.8913695740000001</c:v>
                      </c:pt>
                      <c:pt idx="6942">
                        <c:v>-1.891457414</c:v>
                      </c:pt>
                      <c:pt idx="6943">
                        <c:v>-1.89150068</c:v>
                      </c:pt>
                      <c:pt idx="6944">
                        <c:v>-1.8915435739999999</c:v>
                      </c:pt>
                      <c:pt idx="6945">
                        <c:v>-1.8917189489999999</c:v>
                      </c:pt>
                      <c:pt idx="6946">
                        <c:v>-1.8917618650000001</c:v>
                      </c:pt>
                      <c:pt idx="6947">
                        <c:v>-1.891847676</c:v>
                      </c:pt>
                      <c:pt idx="6948">
                        <c:v>-1.8920240770000001</c:v>
                      </c:pt>
                      <c:pt idx="6949">
                        <c:v>-1.892548501</c:v>
                      </c:pt>
                      <c:pt idx="6950">
                        <c:v>-1.892635686</c:v>
                      </c:pt>
                      <c:pt idx="6951">
                        <c:v>-1.8927654169999999</c:v>
                      </c:pt>
                      <c:pt idx="6952">
                        <c:v>-1.8928083330000001</c:v>
                      </c:pt>
                      <c:pt idx="6953">
                        <c:v>-1.8928096860000001</c:v>
                      </c:pt>
                      <c:pt idx="6954">
                        <c:v>-1.8928536279999999</c:v>
                      </c:pt>
                      <c:pt idx="6955">
                        <c:v>-1.8928539559999999</c:v>
                      </c:pt>
                      <c:pt idx="6956">
                        <c:v>-1.8928972209999999</c:v>
                      </c:pt>
                      <c:pt idx="6957">
                        <c:v>-1.8929843850000001</c:v>
                      </c:pt>
                      <c:pt idx="6958">
                        <c:v>-1.8937264229999999</c:v>
                      </c:pt>
                      <c:pt idx="6959">
                        <c:v>-1.893814286</c:v>
                      </c:pt>
                      <c:pt idx="6960">
                        <c:v>-1.8939443659999999</c:v>
                      </c:pt>
                      <c:pt idx="6961">
                        <c:v>-1.894076825</c:v>
                      </c:pt>
                      <c:pt idx="6962">
                        <c:v>-1.8941200899999999</c:v>
                      </c:pt>
                      <c:pt idx="6963">
                        <c:v>-1.8943383600000001</c:v>
                      </c:pt>
                      <c:pt idx="6964">
                        <c:v>-1.8944732200000001</c:v>
                      </c:pt>
                      <c:pt idx="6965">
                        <c:v>-1.8945123820000001</c:v>
                      </c:pt>
                      <c:pt idx="6966">
                        <c:v>-1.894949969</c:v>
                      </c:pt>
                      <c:pt idx="6967">
                        <c:v>-1.8950800489999999</c:v>
                      </c:pt>
                      <c:pt idx="6968">
                        <c:v>-1.8952115039999999</c:v>
                      </c:pt>
                      <c:pt idx="6969">
                        <c:v>-1.8952983400000001</c:v>
                      </c:pt>
                      <c:pt idx="6970">
                        <c:v>-1.8953855260000001</c:v>
                      </c:pt>
                      <c:pt idx="6971">
                        <c:v>-1.895428093</c:v>
                      </c:pt>
                      <c:pt idx="6972">
                        <c:v>-1.8954290970000001</c:v>
                      </c:pt>
                      <c:pt idx="6973">
                        <c:v>-1.8955602030000001</c:v>
                      </c:pt>
                      <c:pt idx="6974">
                        <c:v>-1.8956477380000001</c:v>
                      </c:pt>
                      <c:pt idx="6975">
                        <c:v>-1.895822764</c:v>
                      </c:pt>
                      <c:pt idx="6976">
                        <c:v>-1.8961265169999999</c:v>
                      </c:pt>
                      <c:pt idx="6977">
                        <c:v>-1.896127892</c:v>
                      </c:pt>
                      <c:pt idx="6978">
                        <c:v>-1.896172161</c:v>
                      </c:pt>
                      <c:pt idx="6979">
                        <c:v>-1.8963008880000001</c:v>
                      </c:pt>
                      <c:pt idx="6980">
                        <c:v>-1.8963461610000001</c:v>
                      </c:pt>
                      <c:pt idx="6981">
                        <c:v>-1.896475565</c:v>
                      </c:pt>
                      <c:pt idx="6982">
                        <c:v>-1.8964769400000001</c:v>
                      </c:pt>
                      <c:pt idx="6983">
                        <c:v>-1.8965208600000001</c:v>
                      </c:pt>
                      <c:pt idx="6984">
                        <c:v>-1.8965212090000001</c:v>
                      </c:pt>
                      <c:pt idx="6985">
                        <c:v>-1.896563776</c:v>
                      </c:pt>
                      <c:pt idx="6986">
                        <c:v>-1.8965644530000001</c:v>
                      </c:pt>
                      <c:pt idx="6987">
                        <c:v>-1.896957094</c:v>
                      </c:pt>
                      <c:pt idx="6988">
                        <c:v>-1.897001014</c:v>
                      </c:pt>
                      <c:pt idx="6989">
                        <c:v>-1.8976562159999999</c:v>
                      </c:pt>
                      <c:pt idx="6990">
                        <c:v>-1.897874158</c:v>
                      </c:pt>
                      <c:pt idx="6991">
                        <c:v>-1.8982232059999999</c:v>
                      </c:pt>
                      <c:pt idx="6992">
                        <c:v>-1.8983979049999999</c:v>
                      </c:pt>
                      <c:pt idx="6993">
                        <c:v>-1.8984854179999999</c:v>
                      </c:pt>
                      <c:pt idx="6994">
                        <c:v>-1.8985290109999999</c:v>
                      </c:pt>
                      <c:pt idx="6995">
                        <c:v>-1.8985726039999999</c:v>
                      </c:pt>
                      <c:pt idx="6996">
                        <c:v>-1.8987037099999999</c:v>
                      </c:pt>
                      <c:pt idx="6997">
                        <c:v>-1.898834466000000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5-62CA-43D1-9B5E-DB9227CD45FB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E$3</c15:sqref>
                        </c15:formulaRef>
                      </c:ext>
                    </c:extLst>
                    <c:strCache>
                      <c:ptCount val="1"/>
                      <c:pt idx="0">
                        <c:v>MAXIMUM_DAILY_PUMP_TORQUE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E$4:$E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-1.807418</c:v>
                      </c:pt>
                      <c:pt idx="421">
                        <c:v>-1.8081017260000001</c:v>
                      </c:pt>
                      <c:pt idx="422">
                        <c:v>-1.808143686</c:v>
                      </c:pt>
                      <c:pt idx="423">
                        <c:v>-1.8083073199999999</c:v>
                      </c:pt>
                      <c:pt idx="424">
                        <c:v>-1.8085126060000001</c:v>
                      </c:pt>
                      <c:pt idx="425">
                        <c:v>-1.8090051490000001</c:v>
                      </c:pt>
                      <c:pt idx="426">
                        <c:v>-1.80908712</c:v>
                      </c:pt>
                      <c:pt idx="427">
                        <c:v>-1.809620987</c:v>
                      </c:pt>
                      <c:pt idx="428">
                        <c:v>-1.8100321749999999</c:v>
                      </c:pt>
                      <c:pt idx="429">
                        <c:v>-1.8103604280000001</c:v>
                      </c:pt>
                      <c:pt idx="430">
                        <c:v>-1.8104420910000001</c:v>
                      </c:pt>
                      <c:pt idx="431">
                        <c:v>-1.8118790520000001</c:v>
                      </c:pt>
                      <c:pt idx="432">
                        <c:v>-1.8122486289999999</c:v>
                      </c:pt>
                      <c:pt idx="433">
                        <c:v>-1.8124129200000001</c:v>
                      </c:pt>
                      <c:pt idx="434">
                        <c:v>-1.8126591809999999</c:v>
                      </c:pt>
                      <c:pt idx="435">
                        <c:v>-1.812741808</c:v>
                      </c:pt>
                      <c:pt idx="436">
                        <c:v>-1.812946438</c:v>
                      </c:pt>
                      <c:pt idx="437">
                        <c:v>-1.8133986419999999</c:v>
                      </c:pt>
                      <c:pt idx="438">
                        <c:v>-1.8136036</c:v>
                      </c:pt>
                      <c:pt idx="439">
                        <c:v>-1.814096143</c:v>
                      </c:pt>
                      <c:pt idx="440">
                        <c:v>-1.814342404</c:v>
                      </c:pt>
                      <c:pt idx="441">
                        <c:v>-1.8144663350000001</c:v>
                      </c:pt>
                      <c:pt idx="442">
                        <c:v>-1.8147536129999999</c:v>
                      </c:pt>
                      <c:pt idx="443">
                        <c:v>-1.8147942800000001</c:v>
                      </c:pt>
                      <c:pt idx="444">
                        <c:v>-1.8148769069999999</c:v>
                      </c:pt>
                      <c:pt idx="445">
                        <c:v>-1.816025955</c:v>
                      </c:pt>
                      <c:pt idx="446">
                        <c:v>-1.8161079259999999</c:v>
                      </c:pt>
                      <c:pt idx="447">
                        <c:v>-1.816189917</c:v>
                      </c:pt>
                      <c:pt idx="448">
                        <c:v>-1.816395204</c:v>
                      </c:pt>
                      <c:pt idx="449">
                        <c:v>-1.8165594940000001</c:v>
                      </c:pt>
                      <c:pt idx="450">
                        <c:v>-1.8166004689999999</c:v>
                      </c:pt>
                      <c:pt idx="451">
                        <c:v>-1.8166417930000001</c:v>
                      </c:pt>
                      <c:pt idx="452">
                        <c:v>-1.8170933410000001</c:v>
                      </c:pt>
                      <c:pt idx="453">
                        <c:v>-1.817216307</c:v>
                      </c:pt>
                      <c:pt idx="454">
                        <c:v>-1.81795544</c:v>
                      </c:pt>
                      <c:pt idx="455">
                        <c:v>-1.8181607259999999</c:v>
                      </c:pt>
                      <c:pt idx="456">
                        <c:v>-1.8186122730000001</c:v>
                      </c:pt>
                      <c:pt idx="457">
                        <c:v>-1.8186532689999999</c:v>
                      </c:pt>
                      <c:pt idx="458">
                        <c:v>-1.8203368209999999</c:v>
                      </c:pt>
                      <c:pt idx="459">
                        <c:v>-1.8203778159999999</c:v>
                      </c:pt>
                      <c:pt idx="460">
                        <c:v>-1.820418791</c:v>
                      </c:pt>
                      <c:pt idx="461">
                        <c:v>-1.8207480089999999</c:v>
                      </c:pt>
                      <c:pt idx="462">
                        <c:v>-1.820829364</c:v>
                      </c:pt>
                      <c:pt idx="463">
                        <c:v>-1.8212405519999999</c:v>
                      </c:pt>
                      <c:pt idx="464">
                        <c:v>-1.8212809109999999</c:v>
                      </c:pt>
                      <c:pt idx="465">
                        <c:v>-1.821527501</c:v>
                      </c:pt>
                      <c:pt idx="466">
                        <c:v>-1.8218147579999999</c:v>
                      </c:pt>
                      <c:pt idx="467">
                        <c:v>-1.822061039</c:v>
                      </c:pt>
                      <c:pt idx="468">
                        <c:v>-1.82222533</c:v>
                      </c:pt>
                      <c:pt idx="469">
                        <c:v>-1.8223073009999999</c:v>
                      </c:pt>
                      <c:pt idx="470">
                        <c:v>-1.8223902569999999</c:v>
                      </c:pt>
                      <c:pt idx="471">
                        <c:v>-1.823292715</c:v>
                      </c:pt>
                      <c:pt idx="472">
                        <c:v>-1.823334019</c:v>
                      </c:pt>
                      <c:pt idx="473">
                        <c:v>-1.823867557</c:v>
                      </c:pt>
                      <c:pt idx="474">
                        <c:v>-1.8239908520000001</c:v>
                      </c:pt>
                      <c:pt idx="475">
                        <c:v>-1.8258390019999999</c:v>
                      </c:pt>
                      <c:pt idx="476">
                        <c:v>-1.826002656</c:v>
                      </c:pt>
                      <c:pt idx="477">
                        <c:v>-1.826166618</c:v>
                      </c:pt>
                      <c:pt idx="478">
                        <c:v>-1.8262088869999999</c:v>
                      </c:pt>
                      <c:pt idx="479">
                        <c:v>-1.827439598</c:v>
                      </c:pt>
                      <c:pt idx="480">
                        <c:v>-1.8278088459999999</c:v>
                      </c:pt>
                      <c:pt idx="481">
                        <c:v>-1.8285070029999999</c:v>
                      </c:pt>
                      <c:pt idx="482">
                        <c:v>-1.8289594950000001</c:v>
                      </c:pt>
                      <c:pt idx="483">
                        <c:v>-1.829041178</c:v>
                      </c:pt>
                      <c:pt idx="484">
                        <c:v>-1.8291644730000001</c:v>
                      </c:pt>
                      <c:pt idx="485">
                        <c:v>-1.829370704</c:v>
                      </c:pt>
                      <c:pt idx="486">
                        <c:v>-1.829575025</c:v>
                      </c:pt>
                      <c:pt idx="487">
                        <c:v>-1.8297386790000001</c:v>
                      </c:pt>
                      <c:pt idx="488">
                        <c:v>-1.8297812550000001</c:v>
                      </c:pt>
                      <c:pt idx="489">
                        <c:v>-1.8298626099999999</c:v>
                      </c:pt>
                      <c:pt idx="490">
                        <c:v>-1.8299029490000001</c:v>
                      </c:pt>
                      <c:pt idx="491">
                        <c:v>-1.8305194440000001</c:v>
                      </c:pt>
                      <c:pt idx="492">
                        <c:v>-1.8306840419999999</c:v>
                      </c:pt>
                      <c:pt idx="493">
                        <c:v>-1.8308886710000001</c:v>
                      </c:pt>
                      <c:pt idx="494">
                        <c:v>-1.8340508170000001</c:v>
                      </c:pt>
                      <c:pt idx="495">
                        <c:v>-1.8355694419999999</c:v>
                      </c:pt>
                      <c:pt idx="496">
                        <c:v>-1.835650776</c:v>
                      </c:pt>
                      <c:pt idx="497">
                        <c:v>-1.8356930440000001</c:v>
                      </c:pt>
                      <c:pt idx="498">
                        <c:v>-1.835733404</c:v>
                      </c:pt>
                      <c:pt idx="499">
                        <c:v>-1.8362262549999999</c:v>
                      </c:pt>
                      <c:pt idx="500">
                        <c:v>-1.8363076089999999</c:v>
                      </c:pt>
                      <c:pt idx="501">
                        <c:v>-1.8365128749999999</c:v>
                      </c:pt>
                      <c:pt idx="502">
                        <c:v>-1.837253609</c:v>
                      </c:pt>
                      <c:pt idx="503">
                        <c:v>-1.837539593</c:v>
                      </c:pt>
                      <c:pt idx="504">
                        <c:v>-1.837909478</c:v>
                      </c:pt>
                      <c:pt idx="505">
                        <c:v>-1.838443345</c:v>
                      </c:pt>
                      <c:pt idx="506">
                        <c:v>-1.83868897</c:v>
                      </c:pt>
                      <c:pt idx="507">
                        <c:v>-1.838731238</c:v>
                      </c:pt>
                      <c:pt idx="508">
                        <c:v>-1.8388948919999999</c:v>
                      </c:pt>
                      <c:pt idx="509">
                        <c:v>-1.839018187</c:v>
                      </c:pt>
                      <c:pt idx="510">
                        <c:v>-1.8396743840000001</c:v>
                      </c:pt>
                      <c:pt idx="511">
                        <c:v>-1.8397973510000001</c:v>
                      </c:pt>
                      <c:pt idx="512">
                        <c:v>-1.8400859009999999</c:v>
                      </c:pt>
                      <c:pt idx="513">
                        <c:v>-1.8402902219999999</c:v>
                      </c:pt>
                      <c:pt idx="514">
                        <c:v>-1.84123462</c:v>
                      </c:pt>
                      <c:pt idx="515">
                        <c:v>-1.8435746770000001</c:v>
                      </c:pt>
                      <c:pt idx="516">
                        <c:v>-1.843657305</c:v>
                      </c:pt>
                      <c:pt idx="517">
                        <c:v>-1.843697972</c:v>
                      </c:pt>
                      <c:pt idx="518">
                        <c:v>-1.843904859</c:v>
                      </c:pt>
                      <c:pt idx="519">
                        <c:v>-1.8440685130000001</c:v>
                      </c:pt>
                      <c:pt idx="520">
                        <c:v>-1.8441921160000001</c:v>
                      </c:pt>
                      <c:pt idx="521">
                        <c:v>-1.8450132400000001</c:v>
                      </c:pt>
                      <c:pt idx="522">
                        <c:v>-1.845177531</c:v>
                      </c:pt>
                      <c:pt idx="523">
                        <c:v>-1.845300825</c:v>
                      </c:pt>
                      <c:pt idx="524">
                        <c:v>-1.845464459</c:v>
                      </c:pt>
                      <c:pt idx="525">
                        <c:v>-1.8455454849999999</c:v>
                      </c:pt>
                      <c:pt idx="526">
                        <c:v>-1.845588411</c:v>
                      </c:pt>
                      <c:pt idx="527">
                        <c:v>-1.845915698</c:v>
                      </c:pt>
                      <c:pt idx="528">
                        <c:v>-1.8459986340000001</c:v>
                      </c:pt>
                      <c:pt idx="529">
                        <c:v>-1.846614472</c:v>
                      </c:pt>
                      <c:pt idx="530">
                        <c:v>-1.8468200859999999</c:v>
                      </c:pt>
                      <c:pt idx="531">
                        <c:v>-1.8474762629999999</c:v>
                      </c:pt>
                      <c:pt idx="532">
                        <c:v>-1.8478871429999999</c:v>
                      </c:pt>
                      <c:pt idx="533">
                        <c:v>-1.849652686</c:v>
                      </c:pt>
                      <c:pt idx="534">
                        <c:v>-1.849939615</c:v>
                      </c:pt>
                      <c:pt idx="535">
                        <c:v>-1.85190915</c:v>
                      </c:pt>
                      <c:pt idx="536">
                        <c:v>-1.852196736</c:v>
                      </c:pt>
                      <c:pt idx="537">
                        <c:v>-1.852319702</c:v>
                      </c:pt>
                      <c:pt idx="538">
                        <c:v>-1.852730274</c:v>
                      </c:pt>
                      <c:pt idx="539">
                        <c:v>-1.8529771719999999</c:v>
                      </c:pt>
                      <c:pt idx="540">
                        <c:v>-1.8530178390000001</c:v>
                      </c:pt>
                      <c:pt idx="541">
                        <c:v>-1.855316921</c:v>
                      </c:pt>
                      <c:pt idx="542">
                        <c:v>-1.8573293609999999</c:v>
                      </c:pt>
                      <c:pt idx="543">
                        <c:v>-1.857615982</c:v>
                      </c:pt>
                      <c:pt idx="544">
                        <c:v>-1.8580265330000001</c:v>
                      </c:pt>
                      <c:pt idx="545">
                        <c:v>-1.858765666</c:v>
                      </c:pt>
                      <c:pt idx="546">
                        <c:v>-1.8589725530000001</c:v>
                      </c:pt>
                      <c:pt idx="547">
                        <c:v>-1.859012584</c:v>
                      </c:pt>
                      <c:pt idx="548">
                        <c:v>-1.8590529229999999</c:v>
                      </c:pt>
                      <c:pt idx="549">
                        <c:v>-1.8590955199999999</c:v>
                      </c:pt>
                      <c:pt idx="550">
                        <c:v>-1.8592594819999999</c:v>
                      </c:pt>
                      <c:pt idx="551">
                        <c:v>-1.85958679</c:v>
                      </c:pt>
                      <c:pt idx="552">
                        <c:v>-1.860163233</c:v>
                      </c:pt>
                      <c:pt idx="553">
                        <c:v>-1.8602032639999999</c:v>
                      </c:pt>
                      <c:pt idx="554">
                        <c:v>-1.860490521</c:v>
                      </c:pt>
                      <c:pt idx="555">
                        <c:v>-1.8610246960000001</c:v>
                      </c:pt>
                      <c:pt idx="556">
                        <c:v>-1.861065363</c:v>
                      </c:pt>
                      <c:pt idx="557">
                        <c:v>-1.8611479909999999</c:v>
                      </c:pt>
                      <c:pt idx="558">
                        <c:v>-1.8615985740000001</c:v>
                      </c:pt>
                      <c:pt idx="559">
                        <c:v>-1.861682166</c:v>
                      </c:pt>
                      <c:pt idx="560">
                        <c:v>-1.861763192</c:v>
                      </c:pt>
                      <c:pt idx="561">
                        <c:v>-1.8619268470000001</c:v>
                      </c:pt>
                      <c:pt idx="562">
                        <c:v>-1.8622160130000001</c:v>
                      </c:pt>
                      <c:pt idx="563">
                        <c:v>-1.862297675</c:v>
                      </c:pt>
                      <c:pt idx="564">
                        <c:v>-1.862790875</c:v>
                      </c:pt>
                      <c:pt idx="565">
                        <c:v>-1.862832179</c:v>
                      </c:pt>
                      <c:pt idx="566">
                        <c:v>-1.863570983</c:v>
                      </c:pt>
                      <c:pt idx="567">
                        <c:v>-1.8637346370000001</c:v>
                      </c:pt>
                      <c:pt idx="568">
                        <c:v>-1.8637749969999999</c:v>
                      </c:pt>
                      <c:pt idx="569">
                        <c:v>-1.867019113</c:v>
                      </c:pt>
                      <c:pt idx="570">
                        <c:v>-1.867430301</c:v>
                      </c:pt>
                      <c:pt idx="571">
                        <c:v>-1.8674706599999999</c:v>
                      </c:pt>
                      <c:pt idx="572">
                        <c:v>-1.86820852</c:v>
                      </c:pt>
                      <c:pt idx="573">
                        <c:v>-1.868251425</c:v>
                      </c:pt>
                      <c:pt idx="574">
                        <c:v>-1.868415079</c:v>
                      </c:pt>
                      <c:pt idx="575">
                        <c:v>-1.8687430030000001</c:v>
                      </c:pt>
                      <c:pt idx="576">
                        <c:v>-1.868825631</c:v>
                      </c:pt>
                      <c:pt idx="577">
                        <c:v>-1.8691125799999999</c:v>
                      </c:pt>
                      <c:pt idx="578">
                        <c:v>-1.870385231</c:v>
                      </c:pt>
                      <c:pt idx="579">
                        <c:v>-1.8708380710000001</c:v>
                      </c:pt>
                      <c:pt idx="580">
                        <c:v>-1.870879067</c:v>
                      </c:pt>
                      <c:pt idx="581">
                        <c:v>-1.871821556</c:v>
                      </c:pt>
                      <c:pt idx="582">
                        <c:v>-1.8719864829999999</c:v>
                      </c:pt>
                      <c:pt idx="583">
                        <c:v>-1.872150773</c:v>
                      </c:pt>
                      <c:pt idx="584">
                        <c:v>-1.8721930419999999</c:v>
                      </c:pt>
                      <c:pt idx="585">
                        <c:v>-1.872643624</c:v>
                      </c:pt>
                      <c:pt idx="586">
                        <c:v>-1.8726855849999999</c:v>
                      </c:pt>
                      <c:pt idx="587">
                        <c:v>-1.8728902140000001</c:v>
                      </c:pt>
                      <c:pt idx="588">
                        <c:v>-1.8729305730000001</c:v>
                      </c:pt>
                      <c:pt idx="589">
                        <c:v>-1.873013837</c:v>
                      </c:pt>
                      <c:pt idx="590">
                        <c:v>-1.873137461</c:v>
                      </c:pt>
                      <c:pt idx="591">
                        <c:v>-1.873301423</c:v>
                      </c:pt>
                      <c:pt idx="592">
                        <c:v>-1.874080258</c:v>
                      </c:pt>
                      <c:pt idx="593">
                        <c:v>-1.8749833730000001</c:v>
                      </c:pt>
                      <c:pt idx="594">
                        <c:v>-1.875066637</c:v>
                      </c:pt>
                      <c:pt idx="595">
                        <c:v>-1.8770367889999999</c:v>
                      </c:pt>
                      <c:pt idx="596">
                        <c:v>-1.8778998730000001</c:v>
                      </c:pt>
                      <c:pt idx="597">
                        <c:v>-1.878022203</c:v>
                      </c:pt>
                      <c:pt idx="598">
                        <c:v>-1.8792128829999999</c:v>
                      </c:pt>
                      <c:pt idx="599">
                        <c:v>-1.8804861909999999</c:v>
                      </c:pt>
                      <c:pt idx="600">
                        <c:v>-1.880568182</c:v>
                      </c:pt>
                      <c:pt idx="601">
                        <c:v>-1.8806488800000001</c:v>
                      </c:pt>
                      <c:pt idx="602">
                        <c:v>-1.8811013919999999</c:v>
                      </c:pt>
                      <c:pt idx="603">
                        <c:v>-1.881142388</c:v>
                      </c:pt>
                      <c:pt idx="604">
                        <c:v>-1.8813076230000001</c:v>
                      </c:pt>
                      <c:pt idx="605">
                        <c:v>-1.881716902</c:v>
                      </c:pt>
                      <c:pt idx="606">
                        <c:v>-1.881757261</c:v>
                      </c:pt>
                      <c:pt idx="607">
                        <c:v>-1.882497995</c:v>
                      </c:pt>
                      <c:pt idx="608">
                        <c:v>-1.8827436200000001</c:v>
                      </c:pt>
                      <c:pt idx="609">
                        <c:v>-1.8827852519999999</c:v>
                      </c:pt>
                      <c:pt idx="610">
                        <c:v>-1.88348341</c:v>
                      </c:pt>
                      <c:pt idx="611">
                        <c:v>-1.8877116469999999</c:v>
                      </c:pt>
                      <c:pt idx="612">
                        <c:v>-1.8889833540000001</c:v>
                      </c:pt>
                      <c:pt idx="613">
                        <c:v>-1.8890259300000001</c:v>
                      </c:pt>
                      <c:pt idx="614">
                        <c:v>-1.8913240469999999</c:v>
                      </c:pt>
                      <c:pt idx="615">
                        <c:v>-1.891365679</c:v>
                      </c:pt>
                      <c:pt idx="616">
                        <c:v>-1.8927209570000001</c:v>
                      </c:pt>
                      <c:pt idx="617">
                        <c:v>-1.89284651</c:v>
                      </c:pt>
                      <c:pt idx="618">
                        <c:v>-1.892885248</c:v>
                      </c:pt>
                      <c:pt idx="619">
                        <c:v>-1.8929662739999999</c:v>
                      </c:pt>
                      <c:pt idx="620">
                        <c:v>-1.893089569</c:v>
                      </c:pt>
                      <c:pt idx="621">
                        <c:v>-1.893255132</c:v>
                      </c:pt>
                      <c:pt idx="622">
                        <c:v>-1.8954718939999999</c:v>
                      </c:pt>
                      <c:pt idx="623">
                        <c:v>-1.8955529200000001</c:v>
                      </c:pt>
                      <c:pt idx="624">
                        <c:v>-1.895595189</c:v>
                      </c:pt>
                      <c:pt idx="625">
                        <c:v>-1.895881809</c:v>
                      </c:pt>
                      <c:pt idx="626">
                        <c:v>-1.8962923810000001</c:v>
                      </c:pt>
                      <c:pt idx="627">
                        <c:v>-1.8963333769999999</c:v>
                      </c:pt>
                      <c:pt idx="628">
                        <c:v>-1.896416313</c:v>
                      </c:pt>
                      <c:pt idx="629">
                        <c:v>-1.896497976</c:v>
                      </c:pt>
                      <c:pt idx="630">
                        <c:v>-1.896538335</c:v>
                      </c:pt>
                      <c:pt idx="631">
                        <c:v>-1.89662127</c:v>
                      </c:pt>
                      <c:pt idx="632">
                        <c:v>-1.8967035699999999</c:v>
                      </c:pt>
                      <c:pt idx="633">
                        <c:v>-1.897401399</c:v>
                      </c:pt>
                      <c:pt idx="634">
                        <c:v>-1.897485936</c:v>
                      </c:pt>
                      <c:pt idx="635">
                        <c:v>-1.8976479879999999</c:v>
                      </c:pt>
                      <c:pt idx="636">
                        <c:v>-1.897852946</c:v>
                      </c:pt>
                      <c:pt idx="637">
                        <c:v>-1.897935245</c:v>
                      </c:pt>
                      <c:pt idx="638">
                        <c:v>-1.898016272</c:v>
                      </c:pt>
                      <c:pt idx="639">
                        <c:v>-1.89830706</c:v>
                      </c:pt>
                      <c:pt idx="640">
                        <c:v>-1.8985510830000001</c:v>
                      </c:pt>
                      <c:pt idx="641">
                        <c:v>-1.898840906</c:v>
                      </c:pt>
                      <c:pt idx="642">
                        <c:v>-1.8991246530000001</c:v>
                      </c:pt>
                      <c:pt idx="643">
                        <c:v>-1.899207917</c:v>
                      </c:pt>
                      <c:pt idx="644">
                        <c:v>-1.899247948</c:v>
                      </c:pt>
                      <c:pt idx="645">
                        <c:v>-1.8992905440000001</c:v>
                      </c:pt>
                      <c:pt idx="646">
                        <c:v>-1.901136457</c:v>
                      </c:pt>
                      <c:pt idx="647">
                        <c:v>-1.9016306009999999</c:v>
                      </c:pt>
                      <c:pt idx="648">
                        <c:v>-1.9017128999999999</c:v>
                      </c:pt>
                      <c:pt idx="649">
                        <c:v>-1.9020020870000001</c:v>
                      </c:pt>
                      <c:pt idx="650">
                        <c:v>-1.9024107290000001</c:v>
                      </c:pt>
                      <c:pt idx="651">
                        <c:v>-1.9060634679999999</c:v>
                      </c:pt>
                      <c:pt idx="652">
                        <c:v>-1.90663833</c:v>
                      </c:pt>
                      <c:pt idx="653">
                        <c:v>-1.9066825080000001</c:v>
                      </c:pt>
                      <c:pt idx="654">
                        <c:v>-1.9071318180000001</c:v>
                      </c:pt>
                      <c:pt idx="655">
                        <c:v>-1.907295143</c:v>
                      </c:pt>
                      <c:pt idx="656">
                        <c:v>-1.907377463</c:v>
                      </c:pt>
                      <c:pt idx="657">
                        <c:v>-1.9102523309999999</c:v>
                      </c:pt>
                      <c:pt idx="658">
                        <c:v>-1.91095014</c:v>
                      </c:pt>
                      <c:pt idx="659">
                        <c:v>-1.9114016869999999</c:v>
                      </c:pt>
                      <c:pt idx="660">
                        <c:v>-1.9114417180000001</c:v>
                      </c:pt>
                      <c:pt idx="661">
                        <c:v>-1.912016581</c:v>
                      </c:pt>
                      <c:pt idx="662">
                        <c:v>-1.912099845</c:v>
                      </c:pt>
                      <c:pt idx="663">
                        <c:v>-1.912758916</c:v>
                      </c:pt>
                      <c:pt idx="664">
                        <c:v>-1.913046501</c:v>
                      </c:pt>
                      <c:pt idx="665">
                        <c:v>-1.913208534</c:v>
                      </c:pt>
                      <c:pt idx="666">
                        <c:v>-1.9135771450000001</c:v>
                      </c:pt>
                      <c:pt idx="667">
                        <c:v>-1.913824371</c:v>
                      </c:pt>
                      <c:pt idx="668">
                        <c:v>-1.913990592</c:v>
                      </c:pt>
                      <c:pt idx="669">
                        <c:v>-1.9140696880000001</c:v>
                      </c:pt>
                      <c:pt idx="670">
                        <c:v>-1.9150137789999999</c:v>
                      </c:pt>
                      <c:pt idx="671">
                        <c:v>-1.915260368</c:v>
                      </c:pt>
                      <c:pt idx="672">
                        <c:v>-1.9154275329999999</c:v>
                      </c:pt>
                      <c:pt idx="673">
                        <c:v>-1.9176004250000001</c:v>
                      </c:pt>
                      <c:pt idx="674">
                        <c:v>-1.917642386</c:v>
                      </c:pt>
                      <c:pt idx="675">
                        <c:v>-1.9176833609999999</c:v>
                      </c:pt>
                      <c:pt idx="676">
                        <c:v>-1.918093933</c:v>
                      </c:pt>
                      <c:pt idx="677">
                        <c:v>-1.9181765609999999</c:v>
                      </c:pt>
                      <c:pt idx="678">
                        <c:v>-1.918301765</c:v>
                      </c:pt>
                      <c:pt idx="679">
                        <c:v>-1.9184628530000001</c:v>
                      </c:pt>
                      <c:pt idx="680">
                        <c:v>-1.919245855</c:v>
                      </c:pt>
                      <c:pt idx="681">
                        <c:v>-1.9194902069999999</c:v>
                      </c:pt>
                      <c:pt idx="682">
                        <c:v>-1.91957187</c:v>
                      </c:pt>
                      <c:pt idx="683">
                        <c:v>-1.9196564270000001</c:v>
                      </c:pt>
                      <c:pt idx="684">
                        <c:v>-1.91973616</c:v>
                      </c:pt>
                      <c:pt idx="685">
                        <c:v>-1.9201057370000001</c:v>
                      </c:pt>
                      <c:pt idx="686">
                        <c:v>-1.920641821</c:v>
                      </c:pt>
                      <c:pt idx="687">
                        <c:v>-1.9211314900000001</c:v>
                      </c:pt>
                      <c:pt idx="688">
                        <c:v>-1.9212954520000001</c:v>
                      </c:pt>
                      <c:pt idx="689">
                        <c:v>-1.921380954</c:v>
                      </c:pt>
                      <c:pt idx="690">
                        <c:v>-1.9219967920000001</c:v>
                      </c:pt>
                      <c:pt idx="691">
                        <c:v>-1.9220762170000001</c:v>
                      </c:pt>
                      <c:pt idx="692">
                        <c:v>-1.9222398709999999</c:v>
                      </c:pt>
                      <c:pt idx="693">
                        <c:v>-1.9222840489999999</c:v>
                      </c:pt>
                      <c:pt idx="694">
                        <c:v>-1.9224464299999999</c:v>
                      </c:pt>
                      <c:pt idx="695">
                        <c:v>-1.922486769</c:v>
                      </c:pt>
                      <c:pt idx="696">
                        <c:v>-1.922527128</c:v>
                      </c:pt>
                      <c:pt idx="697">
                        <c:v>-1.9226126299999999</c:v>
                      </c:pt>
                      <c:pt idx="698">
                        <c:v>-1.922773718</c:v>
                      </c:pt>
                      <c:pt idx="699">
                        <c:v>-1.9228589110000001</c:v>
                      </c:pt>
                      <c:pt idx="700">
                        <c:v>-1.922897649</c:v>
                      </c:pt>
                      <c:pt idx="701">
                        <c:v>-1.922938008</c:v>
                      </c:pt>
                      <c:pt idx="702">
                        <c:v>-1.9230209439999999</c:v>
                      </c:pt>
                      <c:pt idx="703">
                        <c:v>-1.923228468</c:v>
                      </c:pt>
                      <c:pt idx="704">
                        <c:v>-1.9233895560000001</c:v>
                      </c:pt>
                      <c:pt idx="705">
                        <c:v>-1.9235538459999999</c:v>
                      </c:pt>
                      <c:pt idx="706">
                        <c:v>-1.923594842</c:v>
                      </c:pt>
                      <c:pt idx="707">
                        <c:v>-1.923842396</c:v>
                      </c:pt>
                      <c:pt idx="708">
                        <c:v>-1.9239676000000001</c:v>
                      </c:pt>
                      <c:pt idx="709">
                        <c:v>-1.9240053930000001</c:v>
                      </c:pt>
                      <c:pt idx="710">
                        <c:v>-1.9245398970000001</c:v>
                      </c:pt>
                      <c:pt idx="711">
                        <c:v>-1.924867493</c:v>
                      </c:pt>
                      <c:pt idx="712">
                        <c:v>-1.924950449</c:v>
                      </c:pt>
                      <c:pt idx="713">
                        <c:v>-1.9251970380000001</c:v>
                      </c:pt>
                      <c:pt idx="714">
                        <c:v>-1.9253610000000001</c:v>
                      </c:pt>
                      <c:pt idx="715">
                        <c:v>-1.9256918190000001</c:v>
                      </c:pt>
                      <c:pt idx="716">
                        <c:v>-1.926715663</c:v>
                      </c:pt>
                      <c:pt idx="717">
                        <c:v>-1.9269622529999999</c:v>
                      </c:pt>
                      <c:pt idx="718">
                        <c:v>-1.9271262149999999</c:v>
                      </c:pt>
                      <c:pt idx="719">
                        <c:v>-1.9285221809999999</c:v>
                      </c:pt>
                      <c:pt idx="720">
                        <c:v>-1.9285625200000001</c:v>
                      </c:pt>
                      <c:pt idx="721">
                        <c:v>-1.9286067179999999</c:v>
                      </c:pt>
                      <c:pt idx="722">
                        <c:v>-1.9291793230000001</c:v>
                      </c:pt>
                      <c:pt idx="723">
                        <c:v>-1.929219682</c:v>
                      </c:pt>
                      <c:pt idx="724">
                        <c:v>-1.9292638799999999</c:v>
                      </c:pt>
                      <c:pt idx="725">
                        <c:v>-1.9296744320000001</c:v>
                      </c:pt>
                      <c:pt idx="726">
                        <c:v>-1.929753528</c:v>
                      </c:pt>
                      <c:pt idx="727">
                        <c:v>-1.930002684</c:v>
                      </c:pt>
                      <c:pt idx="728">
                        <c:v>-1.9309448650000001</c:v>
                      </c:pt>
                      <c:pt idx="729">
                        <c:v>-1.931191127</c:v>
                      </c:pt>
                      <c:pt idx="730">
                        <c:v>-1.931357655</c:v>
                      </c:pt>
                      <c:pt idx="731">
                        <c:v>-1.9314809500000001</c:v>
                      </c:pt>
                      <c:pt idx="732">
                        <c:v>-1.9315197079999999</c:v>
                      </c:pt>
                      <c:pt idx="733">
                        <c:v>-1.9316430019999999</c:v>
                      </c:pt>
                      <c:pt idx="734">
                        <c:v>-1.931806964</c:v>
                      </c:pt>
                      <c:pt idx="735">
                        <c:v>-1.9318889560000001</c:v>
                      </c:pt>
                      <c:pt idx="736">
                        <c:v>-1.9319734930000001</c:v>
                      </c:pt>
                      <c:pt idx="737">
                        <c:v>-1.932052589</c:v>
                      </c:pt>
                      <c:pt idx="738">
                        <c:v>-1.9332871599999999</c:v>
                      </c:pt>
                      <c:pt idx="739">
                        <c:v>-1.9338594360000001</c:v>
                      </c:pt>
                      <c:pt idx="740">
                        <c:v>-1.933900103</c:v>
                      </c:pt>
                      <c:pt idx="741">
                        <c:v>-1.9339443009999999</c:v>
                      </c:pt>
                      <c:pt idx="742">
                        <c:v>-1.934147021</c:v>
                      </c:pt>
                      <c:pt idx="743">
                        <c:v>-1.9343548530000001</c:v>
                      </c:pt>
                      <c:pt idx="744">
                        <c:v>-1.934968145</c:v>
                      </c:pt>
                      <c:pt idx="745">
                        <c:v>-1.935050752</c:v>
                      </c:pt>
                      <c:pt idx="746">
                        <c:v>-1.9351759770000001</c:v>
                      </c:pt>
                      <c:pt idx="747">
                        <c:v>-1.935298943</c:v>
                      </c:pt>
                      <c:pt idx="748">
                        <c:v>-1.9353780599999999</c:v>
                      </c:pt>
                      <c:pt idx="749">
                        <c:v>-1.935706621</c:v>
                      </c:pt>
                      <c:pt idx="750">
                        <c:v>-1.9357482530000001</c:v>
                      </c:pt>
                      <c:pt idx="751">
                        <c:v>-1.935791815</c:v>
                      </c:pt>
                      <c:pt idx="752">
                        <c:v>-1.937228776</c:v>
                      </c:pt>
                      <c:pt idx="753">
                        <c:v>-1.937390809</c:v>
                      </c:pt>
                      <c:pt idx="754">
                        <c:v>-1.9374750380000001</c:v>
                      </c:pt>
                      <c:pt idx="755">
                        <c:v>-1.9378013810000001</c:v>
                      </c:pt>
                      <c:pt idx="756">
                        <c:v>-1.938008905</c:v>
                      </c:pt>
                      <c:pt idx="757">
                        <c:v>-1.9380498799999999</c:v>
                      </c:pt>
                      <c:pt idx="758">
                        <c:v>-1.938131871</c:v>
                      </c:pt>
                      <c:pt idx="759">
                        <c:v>-1.9382116039999999</c:v>
                      </c:pt>
                      <c:pt idx="760">
                        <c:v>-1.9382961620000001</c:v>
                      </c:pt>
                      <c:pt idx="761">
                        <c:v>-1.938334899</c:v>
                      </c:pt>
                      <c:pt idx="762">
                        <c:v>-1.938375258</c:v>
                      </c:pt>
                      <c:pt idx="763">
                        <c:v>-1.9400174859999999</c:v>
                      </c:pt>
                      <c:pt idx="764">
                        <c:v>-1.9401026800000001</c:v>
                      </c:pt>
                      <c:pt idx="765">
                        <c:v>-1.9403489410000001</c:v>
                      </c:pt>
                      <c:pt idx="766">
                        <c:v>-1.940388027</c:v>
                      </c:pt>
                      <c:pt idx="767">
                        <c:v>-1.9406775220000001</c:v>
                      </c:pt>
                      <c:pt idx="768">
                        <c:v>-1.9414134519999999</c:v>
                      </c:pt>
                      <c:pt idx="769">
                        <c:v>-1.94145765</c:v>
                      </c:pt>
                      <c:pt idx="770">
                        <c:v>-1.942358179</c:v>
                      </c:pt>
                      <c:pt idx="771">
                        <c:v>-1.9435514250000001</c:v>
                      </c:pt>
                      <c:pt idx="772">
                        <c:v>-1.9436334159999999</c:v>
                      </c:pt>
                      <c:pt idx="773">
                        <c:v>-1.944246688</c:v>
                      </c:pt>
                      <c:pt idx="774">
                        <c:v>-1.9446188310000001</c:v>
                      </c:pt>
                      <c:pt idx="775">
                        <c:v>-1.9447398680000001</c:v>
                      </c:pt>
                      <c:pt idx="776">
                        <c:v>-1.944781192</c:v>
                      </c:pt>
                      <c:pt idx="777">
                        <c:v>-1.9448650919999999</c:v>
                      </c:pt>
                      <c:pt idx="778">
                        <c:v>-1.9462200629999999</c:v>
                      </c:pt>
                      <c:pt idx="779">
                        <c:v>-1.9470001910000001</c:v>
                      </c:pt>
                      <c:pt idx="780">
                        <c:v>-1.947161916</c:v>
                      </c:pt>
                      <c:pt idx="781">
                        <c:v>-1.9472848819999999</c:v>
                      </c:pt>
                      <c:pt idx="782">
                        <c:v>-1.9475750329999999</c:v>
                      </c:pt>
                      <c:pt idx="783">
                        <c:v>-1.947655095</c:v>
                      </c:pt>
                      <c:pt idx="784">
                        <c:v>-1.947819057</c:v>
                      </c:pt>
                      <c:pt idx="785">
                        <c:v>-1.9485165579999999</c:v>
                      </c:pt>
                      <c:pt idx="786">
                        <c:v>-1.9488067090000001</c:v>
                      </c:pt>
                      <c:pt idx="787">
                        <c:v>-1.949504538</c:v>
                      </c:pt>
                      <c:pt idx="788">
                        <c:v>-1.9498330989999999</c:v>
                      </c:pt>
                      <c:pt idx="789">
                        <c:v>-1.949871857</c:v>
                      </c:pt>
                      <c:pt idx="790">
                        <c:v>-1.9502824080000001</c:v>
                      </c:pt>
                      <c:pt idx="791">
                        <c:v>-1.9503256419999999</c:v>
                      </c:pt>
                      <c:pt idx="792">
                        <c:v>-1.9503666369999999</c:v>
                      </c:pt>
                      <c:pt idx="793">
                        <c:v>-1.9506926520000001</c:v>
                      </c:pt>
                      <c:pt idx="794">
                        <c:v>-1.9510237989999999</c:v>
                      </c:pt>
                      <c:pt idx="795">
                        <c:v>-1.951803599</c:v>
                      </c:pt>
                      <c:pt idx="796">
                        <c:v>-1.9526224649999999</c:v>
                      </c:pt>
                      <c:pt idx="797">
                        <c:v>-1.9528690550000001</c:v>
                      </c:pt>
                      <c:pt idx="798">
                        <c:v>-1.953076579</c:v>
                      </c:pt>
                      <c:pt idx="799">
                        <c:v>-1.9531563320000001</c:v>
                      </c:pt>
                      <c:pt idx="800">
                        <c:v>-1.9532818649999999</c:v>
                      </c:pt>
                      <c:pt idx="801">
                        <c:v>-1.9536488750000001</c:v>
                      </c:pt>
                      <c:pt idx="802">
                        <c:v>-1.953938698</c:v>
                      </c:pt>
                      <c:pt idx="803">
                        <c:v>-1.9542259550000001</c:v>
                      </c:pt>
                      <c:pt idx="804">
                        <c:v>-1.9543492499999999</c:v>
                      </c:pt>
                      <c:pt idx="805">
                        <c:v>-1.95451354</c:v>
                      </c:pt>
                      <c:pt idx="806">
                        <c:v>-1.95455197</c:v>
                      </c:pt>
                      <c:pt idx="807">
                        <c:v>-1.9551293780000001</c:v>
                      </c:pt>
                      <c:pt idx="808">
                        <c:v>-1.9559069410000001</c:v>
                      </c:pt>
                      <c:pt idx="809">
                        <c:v>-1.955991477</c:v>
                      </c:pt>
                      <c:pt idx="810">
                        <c:v>-1.956361054</c:v>
                      </c:pt>
                      <c:pt idx="811">
                        <c:v>-1.9564020499999999</c:v>
                      </c:pt>
                      <c:pt idx="812">
                        <c:v>-1.9565640820000001</c:v>
                      </c:pt>
                      <c:pt idx="813">
                        <c:v>-1.956810672</c:v>
                      </c:pt>
                      <c:pt idx="814">
                        <c:v>-1.9570153210000001</c:v>
                      </c:pt>
                      <c:pt idx="815">
                        <c:v>-1.957631796</c:v>
                      </c:pt>
                      <c:pt idx="816">
                        <c:v>-1.957672791</c:v>
                      </c:pt>
                      <c:pt idx="817">
                        <c:v>-1.9587401769999999</c:v>
                      </c:pt>
                      <c:pt idx="818">
                        <c:v>-1.9603023420000001</c:v>
                      </c:pt>
                      <c:pt idx="819">
                        <c:v>-1.9607516519999999</c:v>
                      </c:pt>
                      <c:pt idx="820">
                        <c:v>-1.9609595040000001</c:v>
                      </c:pt>
                      <c:pt idx="821">
                        <c:v>-1.9610824710000001</c:v>
                      </c:pt>
                      <c:pt idx="822">
                        <c:v>-1.9615753419999999</c:v>
                      </c:pt>
                      <c:pt idx="823">
                        <c:v>-1.961613772</c:v>
                      </c:pt>
                      <c:pt idx="824">
                        <c:v>-1.9619016650000001</c:v>
                      </c:pt>
                      <c:pt idx="825">
                        <c:v>-1.962065956</c:v>
                      </c:pt>
                      <c:pt idx="826">
                        <c:v>-1.9621498559999999</c:v>
                      </c:pt>
                      <c:pt idx="827">
                        <c:v>-1.96219118</c:v>
                      </c:pt>
                      <c:pt idx="828">
                        <c:v>-1.9622296100000001</c:v>
                      </c:pt>
                      <c:pt idx="829">
                        <c:v>-1.9623141470000001</c:v>
                      </c:pt>
                      <c:pt idx="830">
                        <c:v>-1.9624374410000001</c:v>
                      </c:pt>
                      <c:pt idx="831">
                        <c:v>-1.962847993</c:v>
                      </c:pt>
                      <c:pt idx="832">
                        <c:v>-1.9637075470000001</c:v>
                      </c:pt>
                      <c:pt idx="833">
                        <c:v>-1.964325951</c:v>
                      </c:pt>
                      <c:pt idx="834">
                        <c:v>-1.964818822</c:v>
                      </c:pt>
                      <c:pt idx="835">
                        <c:v>-1.965147075</c:v>
                      </c:pt>
                      <c:pt idx="836">
                        <c:v>-1.9651858120000001</c:v>
                      </c:pt>
                      <c:pt idx="837">
                        <c:v>-1.965968178</c:v>
                      </c:pt>
                      <c:pt idx="838">
                        <c:v>-1.966007244</c:v>
                      </c:pt>
                      <c:pt idx="839">
                        <c:v>-1.9660914730000001</c:v>
                      </c:pt>
                      <c:pt idx="840">
                        <c:v>-1.9679799819999999</c:v>
                      </c:pt>
                      <c:pt idx="841">
                        <c:v>-1.96859582</c:v>
                      </c:pt>
                      <c:pt idx="842">
                        <c:v>-1.968634886</c:v>
                      </c:pt>
                      <c:pt idx="843">
                        <c:v>-1.968678119</c:v>
                      </c:pt>
                      <c:pt idx="844">
                        <c:v>-1.9688830770000001</c:v>
                      </c:pt>
                      <c:pt idx="845">
                        <c:v>-1.9690473669999999</c:v>
                      </c:pt>
                      <c:pt idx="846">
                        <c:v>-1.9690886919999999</c:v>
                      </c:pt>
                      <c:pt idx="847">
                        <c:v>-1.9697045289999999</c:v>
                      </c:pt>
                      <c:pt idx="848">
                        <c:v>-1.970484329</c:v>
                      </c:pt>
                      <c:pt idx="849">
                        <c:v>-1.970689615</c:v>
                      </c:pt>
                      <c:pt idx="850">
                        <c:v>-1.9711414709999999</c:v>
                      </c:pt>
                      <c:pt idx="851">
                        <c:v>-1.972044586</c:v>
                      </c:pt>
                      <c:pt idx="852">
                        <c:v>-1.972329913</c:v>
                      </c:pt>
                      <c:pt idx="853">
                        <c:v>-1.9724141420000001</c:v>
                      </c:pt>
                      <c:pt idx="854">
                        <c:v>-1.9733172370000001</c:v>
                      </c:pt>
                      <c:pt idx="855">
                        <c:v>-1.9734405319999999</c:v>
                      </c:pt>
                      <c:pt idx="856">
                        <c:v>-1.9735205929999999</c:v>
                      </c:pt>
                      <c:pt idx="857">
                        <c:v>-1.974382713</c:v>
                      </c:pt>
                      <c:pt idx="858">
                        <c:v>-1.975614389</c:v>
                      </c:pt>
                      <c:pt idx="859">
                        <c:v>-1.9756576219999999</c:v>
                      </c:pt>
                      <c:pt idx="860">
                        <c:v>-1.975737684</c:v>
                      </c:pt>
                      <c:pt idx="861">
                        <c:v>-1.975821912</c:v>
                      </c:pt>
                      <c:pt idx="862">
                        <c:v>-1.9760271780000001</c:v>
                      </c:pt>
                      <c:pt idx="863">
                        <c:v>-1.9761091690000001</c:v>
                      </c:pt>
                      <c:pt idx="864">
                        <c:v>-1.976150165</c:v>
                      </c:pt>
                      <c:pt idx="865">
                        <c:v>-1.9772178789999999</c:v>
                      </c:pt>
                      <c:pt idx="866">
                        <c:v>-1.9777494879999999</c:v>
                      </c:pt>
                      <c:pt idx="867">
                        <c:v>-1.977792392</c:v>
                      </c:pt>
                      <c:pt idx="868">
                        <c:v>-1.977833717</c:v>
                      </c:pt>
                      <c:pt idx="869">
                        <c:v>-1.979352649</c:v>
                      </c:pt>
                      <c:pt idx="870">
                        <c:v>-1.9795579350000001</c:v>
                      </c:pt>
                      <c:pt idx="871">
                        <c:v>-1.97959891</c:v>
                      </c:pt>
                      <c:pt idx="872">
                        <c:v>-1.980050458</c:v>
                      </c:pt>
                      <c:pt idx="873">
                        <c:v>-1.9800917819999999</c:v>
                      </c:pt>
                      <c:pt idx="874">
                        <c:v>-1.9809948770000001</c:v>
                      </c:pt>
                      <c:pt idx="875">
                        <c:v>-1.981241158</c:v>
                      </c:pt>
                      <c:pt idx="876">
                        <c:v>-1.981282462</c:v>
                      </c:pt>
                      <c:pt idx="877">
                        <c:v>-1.9814877479999999</c:v>
                      </c:pt>
                      <c:pt idx="878">
                        <c:v>-1.9820622619999999</c:v>
                      </c:pt>
                      <c:pt idx="879">
                        <c:v>-1.982185557</c:v>
                      </c:pt>
                      <c:pt idx="880">
                        <c:v>-1.9822243150000001</c:v>
                      </c:pt>
                      <c:pt idx="881">
                        <c:v>-1.982514138</c:v>
                      </c:pt>
                      <c:pt idx="882">
                        <c:v>-1.9827604190000001</c:v>
                      </c:pt>
                      <c:pt idx="883">
                        <c:v>-1.983252942</c:v>
                      </c:pt>
                      <c:pt idx="884">
                        <c:v>-1.9833762370000001</c:v>
                      </c:pt>
                      <c:pt idx="885">
                        <c:v>-1.9834582279999999</c:v>
                      </c:pt>
                      <c:pt idx="886">
                        <c:v>-1.9836635140000001</c:v>
                      </c:pt>
                      <c:pt idx="887">
                        <c:v>-1.983827805</c:v>
                      </c:pt>
                      <c:pt idx="888">
                        <c:v>-1.984402647</c:v>
                      </c:pt>
                      <c:pt idx="889">
                        <c:v>-1.984484618</c:v>
                      </c:pt>
                      <c:pt idx="890">
                        <c:v>-1.984525613</c:v>
                      </c:pt>
                      <c:pt idx="891">
                        <c:v>-1.984731228</c:v>
                      </c:pt>
                      <c:pt idx="892">
                        <c:v>-1.9847722029999999</c:v>
                      </c:pt>
                      <c:pt idx="893">
                        <c:v>-1.98514178</c:v>
                      </c:pt>
                      <c:pt idx="894">
                        <c:v>-1.985182775</c:v>
                      </c:pt>
                      <c:pt idx="895">
                        <c:v>-1.986617479</c:v>
                      </c:pt>
                      <c:pt idx="896">
                        <c:v>-1.988015683</c:v>
                      </c:pt>
                      <c:pt idx="897">
                        <c:v>-1.9882209689999999</c:v>
                      </c:pt>
                      <c:pt idx="898">
                        <c:v>-1.9884262349999999</c:v>
                      </c:pt>
                      <c:pt idx="899">
                        <c:v>-1.9884672299999999</c:v>
                      </c:pt>
                      <c:pt idx="900">
                        <c:v>-1.9886315210000001</c:v>
                      </c:pt>
                      <c:pt idx="901">
                        <c:v>-1.9892063630000001</c:v>
                      </c:pt>
                      <c:pt idx="902">
                        <c:v>-1.989904192</c:v>
                      </c:pt>
                      <c:pt idx="903">
                        <c:v>-1.990150453</c:v>
                      </c:pt>
                      <c:pt idx="904">
                        <c:v>-1.990479034</c:v>
                      </c:pt>
                      <c:pt idx="905">
                        <c:v>-1.9905200300000001</c:v>
                      </c:pt>
                      <c:pt idx="906">
                        <c:v>-1.990561026</c:v>
                      </c:pt>
                      <c:pt idx="907">
                        <c:v>-1.992037053</c:v>
                      </c:pt>
                      <c:pt idx="908">
                        <c:v>-1.9920802870000001</c:v>
                      </c:pt>
                      <c:pt idx="909">
                        <c:v>-1.9921622569999999</c:v>
                      </c:pt>
                      <c:pt idx="910">
                        <c:v>-1.9925728300000001</c:v>
                      </c:pt>
                      <c:pt idx="911">
                        <c:v>-1.992942386</c:v>
                      </c:pt>
                      <c:pt idx="912">
                        <c:v>-1.993065681</c:v>
                      </c:pt>
                      <c:pt idx="913">
                        <c:v>-1.993886805</c:v>
                      </c:pt>
                      <c:pt idx="914">
                        <c:v>-1.9939278</c:v>
                      </c:pt>
                      <c:pt idx="915">
                        <c:v>-1.9939668660000001</c:v>
                      </c:pt>
                      <c:pt idx="916">
                        <c:v>-1.9940507670000001</c:v>
                      </c:pt>
                      <c:pt idx="917">
                        <c:v>-1.9960215750000001</c:v>
                      </c:pt>
                      <c:pt idx="918">
                        <c:v>-1.9967607080000001</c:v>
                      </c:pt>
                      <c:pt idx="919">
                        <c:v>-1.99700699</c:v>
                      </c:pt>
                      <c:pt idx="920">
                        <c:v>-1.997130284</c:v>
                      </c:pt>
                      <c:pt idx="921">
                        <c:v>-1.9975411649999999</c:v>
                      </c:pt>
                      <c:pt idx="922">
                        <c:v>-1.9980743750000001</c:v>
                      </c:pt>
                      <c:pt idx="923">
                        <c:v>-1.998115678</c:v>
                      </c:pt>
                      <c:pt idx="924">
                        <c:v>-1.99827964</c:v>
                      </c:pt>
                      <c:pt idx="925">
                        <c:v>-1.9983206360000001</c:v>
                      </c:pt>
                      <c:pt idx="926">
                        <c:v>-1.998893569</c:v>
                      </c:pt>
                      <c:pt idx="927">
                        <c:v>-1.999018773</c:v>
                      </c:pt>
                      <c:pt idx="928">
                        <c:v>-1.999100764</c:v>
                      </c:pt>
                      <c:pt idx="929">
                        <c:v>-1.999265055</c:v>
                      </c:pt>
                      <c:pt idx="930">
                        <c:v>-1.999429345</c:v>
                      </c:pt>
                      <c:pt idx="931">
                        <c:v>-1.9995523120000001</c:v>
                      </c:pt>
                      <c:pt idx="932">
                        <c:v>-1.9997166019999999</c:v>
                      </c:pt>
                      <c:pt idx="933">
                        <c:v>-2.0000041880000001</c:v>
                      </c:pt>
                      <c:pt idx="934">
                        <c:v>-2.0000451830000001</c:v>
                      </c:pt>
                      <c:pt idx="935">
                        <c:v>-2.0003324400000002</c:v>
                      </c:pt>
                      <c:pt idx="936">
                        <c:v>-2.0007429920000002</c:v>
                      </c:pt>
                      <c:pt idx="937">
                        <c:v>-2.000907282</c:v>
                      </c:pt>
                      <c:pt idx="938">
                        <c:v>-2.0009482780000001</c:v>
                      </c:pt>
                      <c:pt idx="939">
                        <c:v>-2.001399825</c:v>
                      </c:pt>
                      <c:pt idx="940">
                        <c:v>-2.0015231199999999</c:v>
                      </c:pt>
                      <c:pt idx="941">
                        <c:v>-2.001564444</c:v>
                      </c:pt>
                      <c:pt idx="942">
                        <c:v>-2.0018517010000001</c:v>
                      </c:pt>
                      <c:pt idx="943">
                        <c:v>-2.0025495100000001</c:v>
                      </c:pt>
                      <c:pt idx="944">
                        <c:v>-2.0025905060000002</c:v>
                      </c:pt>
                      <c:pt idx="945">
                        <c:v>-2.0026318299999999</c:v>
                      </c:pt>
                      <c:pt idx="946">
                        <c:v>-2.0027957920000001</c:v>
                      </c:pt>
                      <c:pt idx="947">
                        <c:v>-2.002919087</c:v>
                      </c:pt>
                      <c:pt idx="948">
                        <c:v>-2.00341163</c:v>
                      </c:pt>
                      <c:pt idx="949">
                        <c:v>-2.0034939289999998</c:v>
                      </c:pt>
                      <c:pt idx="950">
                        <c:v>-2.0037402110000002</c:v>
                      </c:pt>
                      <c:pt idx="951">
                        <c:v>-2.0038221809999999</c:v>
                      </c:pt>
                      <c:pt idx="952">
                        <c:v>-2.0048898949999998</c:v>
                      </c:pt>
                      <c:pt idx="953">
                        <c:v>-2.0050538570000001</c:v>
                      </c:pt>
                      <c:pt idx="954">
                        <c:v>-2.0051361559999998</c:v>
                      </c:pt>
                      <c:pt idx="955">
                        <c:v>-2.0053004470000002</c:v>
                      </c:pt>
                      <c:pt idx="956">
                        <c:v>-2.0053824379999998</c:v>
                      </c:pt>
                      <c:pt idx="957">
                        <c:v>-2.0059162850000001</c:v>
                      </c:pt>
                      <c:pt idx="958">
                        <c:v>-2.0062858609999998</c:v>
                      </c:pt>
                      <c:pt idx="959">
                        <c:v>-2.0063268569999999</c:v>
                      </c:pt>
                      <c:pt idx="960">
                        <c:v>-2.0073122510000001</c:v>
                      </c:pt>
                      <c:pt idx="961">
                        <c:v>-2.007517537</c:v>
                      </c:pt>
                      <c:pt idx="962">
                        <c:v>-2.0075995080000002</c:v>
                      </c:pt>
                      <c:pt idx="963">
                        <c:v>-2.007763798</c:v>
                      </c:pt>
                      <c:pt idx="964">
                        <c:v>-2.0092417560000002</c:v>
                      </c:pt>
                      <c:pt idx="965">
                        <c:v>-2.0100218839999999</c:v>
                      </c:pt>
                      <c:pt idx="966">
                        <c:v>-2.0104324359999999</c:v>
                      </c:pt>
                      <c:pt idx="967">
                        <c:v>-2.0128137960000001</c:v>
                      </c:pt>
                      <c:pt idx="968">
                        <c:v>-2.014415048</c:v>
                      </c:pt>
                      <c:pt idx="969">
                        <c:v>-2.0148665960000001</c:v>
                      </c:pt>
                      <c:pt idx="970">
                        <c:v>-2.015318143</c:v>
                      </c:pt>
                      <c:pt idx="971">
                        <c:v>-2.0153594469999998</c:v>
                      </c:pt>
                      <c:pt idx="972">
                        <c:v>-2.0158113229999999</c:v>
                      </c:pt>
                      <c:pt idx="973">
                        <c:v>-2.0163445329999998</c:v>
                      </c:pt>
                      <c:pt idx="974">
                        <c:v>-2.0168784</c:v>
                      </c:pt>
                      <c:pt idx="975">
                        <c:v>-2.0169603710000001</c:v>
                      </c:pt>
                      <c:pt idx="976">
                        <c:v>-2.0170423620000002</c:v>
                      </c:pt>
                      <c:pt idx="977">
                        <c:v>-2.0170836649999999</c:v>
                      </c:pt>
                      <c:pt idx="978">
                        <c:v>-2.0173299469999999</c:v>
                      </c:pt>
                      <c:pt idx="979">
                        <c:v>-2.0184799600000001</c:v>
                      </c:pt>
                      <c:pt idx="980">
                        <c:v>-2.018520627</c:v>
                      </c:pt>
                      <c:pt idx="981">
                        <c:v>-2.0186436140000001</c:v>
                      </c:pt>
                      <c:pt idx="982">
                        <c:v>-2.019423722</c:v>
                      </c:pt>
                      <c:pt idx="983">
                        <c:v>-2.0201628550000001</c:v>
                      </c:pt>
                      <c:pt idx="984">
                        <c:v>-2.020778693</c:v>
                      </c:pt>
                      <c:pt idx="985">
                        <c:v>-2.0209429829999999</c:v>
                      </c:pt>
                      <c:pt idx="986">
                        <c:v>-2.023981177</c:v>
                      </c:pt>
                      <c:pt idx="987">
                        <c:v>-2.0244327449999999</c:v>
                      </c:pt>
                      <c:pt idx="988">
                        <c:v>-2.02447372</c:v>
                      </c:pt>
                      <c:pt idx="989">
                        <c:v>-2.024720002</c:v>
                      </c:pt>
                      <c:pt idx="990">
                        <c:v>-2.0257053960000002</c:v>
                      </c:pt>
                      <c:pt idx="991">
                        <c:v>-2.0266498140000002</c:v>
                      </c:pt>
                      <c:pt idx="992">
                        <c:v>-2.0266908099999998</c:v>
                      </c:pt>
                      <c:pt idx="993">
                        <c:v>-2.0268551010000002</c:v>
                      </c:pt>
                      <c:pt idx="994">
                        <c:v>-2.0270193910000001</c:v>
                      </c:pt>
                      <c:pt idx="995">
                        <c:v>-2.0270603660000002</c:v>
                      </c:pt>
                      <c:pt idx="996">
                        <c:v>-2.02788149</c:v>
                      </c:pt>
                      <c:pt idx="997">
                        <c:v>-2.028825581</c:v>
                      </c:pt>
                      <c:pt idx="998">
                        <c:v>-2.0289488750000002</c:v>
                      </c:pt>
                      <c:pt idx="999">
                        <c:v>-2.029401059</c:v>
                      </c:pt>
                      <c:pt idx="1000">
                        <c:v>-2.0296880079999999</c:v>
                      </c:pt>
                      <c:pt idx="1001">
                        <c:v>-2.029729004</c:v>
                      </c:pt>
                      <c:pt idx="1002">
                        <c:v>-2.0300575850000002</c:v>
                      </c:pt>
                      <c:pt idx="1003">
                        <c:v>-2.0316585090000001</c:v>
                      </c:pt>
                      <c:pt idx="1004">
                        <c:v>-2.0318234359999998</c:v>
                      </c:pt>
                      <c:pt idx="1005">
                        <c:v>-2.0318637740000001</c:v>
                      </c:pt>
                      <c:pt idx="1006">
                        <c:v>-2.0338762149999998</c:v>
                      </c:pt>
                      <c:pt idx="1007">
                        <c:v>-2.0342451549999998</c:v>
                      </c:pt>
                      <c:pt idx="1008">
                        <c:v>-2.034327454</c:v>
                      </c:pt>
                      <c:pt idx="1009">
                        <c:v>-2.034819997</c:v>
                      </c:pt>
                      <c:pt idx="1010">
                        <c:v>-2.0356001259999998</c:v>
                      </c:pt>
                      <c:pt idx="1011">
                        <c:v>-2.0358873819999999</c:v>
                      </c:pt>
                      <c:pt idx="1012">
                        <c:v>-2.036011314</c:v>
                      </c:pt>
                      <c:pt idx="1013">
                        <c:v>-2.0362575949999999</c:v>
                      </c:pt>
                      <c:pt idx="1014">
                        <c:v>-2.0365442159999998</c:v>
                      </c:pt>
                      <c:pt idx="1015">
                        <c:v>-2.0367091429999999</c:v>
                      </c:pt>
                      <c:pt idx="1016">
                        <c:v>-2.0371196949999999</c:v>
                      </c:pt>
                      <c:pt idx="1017">
                        <c:v>-2.0371600540000001</c:v>
                      </c:pt>
                      <c:pt idx="1018">
                        <c:v>-2.0372013569999998</c:v>
                      </c:pt>
                      <c:pt idx="1019">
                        <c:v>-2.0381050680000001</c:v>
                      </c:pt>
                      <c:pt idx="1020">
                        <c:v>-2.0381871</c:v>
                      </c:pt>
                      <c:pt idx="1021">
                        <c:v>-2.038269482</c:v>
                      </c:pt>
                      <c:pt idx="1022">
                        <c:v>-2.0383925299999999</c:v>
                      </c:pt>
                      <c:pt idx="1023">
                        <c:v>-2.038721357</c:v>
                      </c:pt>
                      <c:pt idx="1024">
                        <c:v>-2.0389267869999999</c:v>
                      </c:pt>
                      <c:pt idx="1025">
                        <c:v>-2.039173254</c:v>
                      </c:pt>
                      <c:pt idx="1026">
                        <c:v>-2.0392145780000002</c:v>
                      </c:pt>
                      <c:pt idx="1027">
                        <c:v>-2.0404446109999999</c:v>
                      </c:pt>
                      <c:pt idx="1028">
                        <c:v>-2.0405292300000002</c:v>
                      </c:pt>
                      <c:pt idx="1029">
                        <c:v>-2.040732094</c:v>
                      </c:pt>
                      <c:pt idx="1030">
                        <c:v>-2.0413877989999998</c:v>
                      </c:pt>
                      <c:pt idx="1031">
                        <c:v>-2.0427848119999998</c:v>
                      </c:pt>
                      <c:pt idx="1032">
                        <c:v>-2.0434834620000002</c:v>
                      </c:pt>
                      <c:pt idx="1033">
                        <c:v>-2.0435244579999998</c:v>
                      </c:pt>
                      <c:pt idx="1034">
                        <c:v>-2.043729785</c:v>
                      </c:pt>
                      <c:pt idx="1035">
                        <c:v>-2.0447154460000001</c:v>
                      </c:pt>
                      <c:pt idx="1036">
                        <c:v>-2.0454134599999998</c:v>
                      </c:pt>
                      <c:pt idx="1037">
                        <c:v>-2.046111781</c:v>
                      </c:pt>
                      <c:pt idx="1038">
                        <c:v>-2.046193793</c:v>
                      </c:pt>
                      <c:pt idx="1039">
                        <c:v>-2.0467687790000002</c:v>
                      </c:pt>
                      <c:pt idx="1040">
                        <c:v>-2.0472614660000001</c:v>
                      </c:pt>
                      <c:pt idx="1041">
                        <c:v>-2.0475491130000001</c:v>
                      </c:pt>
                      <c:pt idx="1042">
                        <c:v>-2.0477134440000002</c:v>
                      </c:pt>
                      <c:pt idx="1043">
                        <c:v>-2.0478364519999999</c:v>
                      </c:pt>
                      <c:pt idx="1044">
                        <c:v>-2.0480417790000001</c:v>
                      </c:pt>
                      <c:pt idx="1045">
                        <c:v>-2.0481625490000002</c:v>
                      </c:pt>
                      <c:pt idx="1046">
                        <c:v>-2.0484088919999999</c:v>
                      </c:pt>
                      <c:pt idx="1047">
                        <c:v>-2.0489021950000001</c:v>
                      </c:pt>
                      <c:pt idx="1048">
                        <c:v>-2.04947911</c:v>
                      </c:pt>
                      <c:pt idx="1049">
                        <c:v>-2.050215143</c:v>
                      </c:pt>
                      <c:pt idx="1050">
                        <c:v>-2.0502980989999999</c:v>
                      </c:pt>
                      <c:pt idx="1051">
                        <c:v>-2.0503384589999998</c:v>
                      </c:pt>
                      <c:pt idx="1052">
                        <c:v>-2.0504620820000001</c:v>
                      </c:pt>
                      <c:pt idx="1053">
                        <c:v>-2.0507086920000002</c:v>
                      </c:pt>
                      <c:pt idx="1054">
                        <c:v>-2.0509553020000002</c:v>
                      </c:pt>
                      <c:pt idx="1055">
                        <c:v>-2.0512426000000001</c:v>
                      </c:pt>
                      <c:pt idx="1056">
                        <c:v>-2.0513268290000002</c:v>
                      </c:pt>
                      <c:pt idx="1057">
                        <c:v>-2.051365916</c:v>
                      </c:pt>
                      <c:pt idx="1058">
                        <c:v>-2.05152957</c:v>
                      </c:pt>
                      <c:pt idx="1059">
                        <c:v>-2.0515734399999999</c:v>
                      </c:pt>
                      <c:pt idx="1060">
                        <c:v>-2.0516528850000002</c:v>
                      </c:pt>
                      <c:pt idx="1061">
                        <c:v>-2.052025048</c:v>
                      </c:pt>
                      <c:pt idx="1062">
                        <c:v>-2.0524740709999998</c:v>
                      </c:pt>
                      <c:pt idx="1063">
                        <c:v>-2.0525153949999999</c:v>
                      </c:pt>
                      <c:pt idx="1064">
                        <c:v>-2.0528052379999999</c:v>
                      </c:pt>
                      <c:pt idx="1065">
                        <c:v>-2.052843996</c:v>
                      </c:pt>
                      <c:pt idx="1066">
                        <c:v>-2.0548957080000001</c:v>
                      </c:pt>
                      <c:pt idx="1067">
                        <c:v>-2.055143283</c:v>
                      </c:pt>
                      <c:pt idx="1068">
                        <c:v>-2.055347297</c:v>
                      </c:pt>
                      <c:pt idx="1069">
                        <c:v>-2.0559225080000001</c:v>
                      </c:pt>
                      <c:pt idx="1070">
                        <c:v>-2.057114194</c:v>
                      </c:pt>
                      <c:pt idx="1071">
                        <c:v>-2.057442467</c:v>
                      </c:pt>
                      <c:pt idx="1072">
                        <c:v>-2.0575270250000002</c:v>
                      </c:pt>
                      <c:pt idx="1073">
                        <c:v>-2.0587155080000001</c:v>
                      </c:pt>
                      <c:pt idx="1074">
                        <c:v>-2.0587962059999998</c:v>
                      </c:pt>
                      <c:pt idx="1075">
                        <c:v>-2.0594136660000002</c:v>
                      </c:pt>
                      <c:pt idx="1076">
                        <c:v>-2.05978197</c:v>
                      </c:pt>
                      <c:pt idx="1077">
                        <c:v>-2.0598261679999998</c:v>
                      </c:pt>
                      <c:pt idx="1078">
                        <c:v>-2.0598649259999999</c:v>
                      </c:pt>
                      <c:pt idx="1079">
                        <c:v>-2.0599882209999998</c:v>
                      </c:pt>
                      <c:pt idx="1080">
                        <c:v>-2.0601522029999999</c:v>
                      </c:pt>
                      <c:pt idx="1081">
                        <c:v>-2.0602348309999998</c:v>
                      </c:pt>
                      <c:pt idx="1082">
                        <c:v>-2.062492014</c:v>
                      </c:pt>
                      <c:pt idx="1083">
                        <c:v>-2.0626982439999999</c:v>
                      </c:pt>
                      <c:pt idx="1084">
                        <c:v>-2.0630261889999999</c:v>
                      </c:pt>
                      <c:pt idx="1085">
                        <c:v>-2.063272778</c:v>
                      </c:pt>
                      <c:pt idx="1086">
                        <c:v>-2.0634767919999999</c:v>
                      </c:pt>
                      <c:pt idx="1087">
                        <c:v>-2.0635193680000001</c:v>
                      </c:pt>
                      <c:pt idx="1088">
                        <c:v>-2.0636010310000001</c:v>
                      </c:pt>
                      <c:pt idx="1089">
                        <c:v>-2.0636426829999999</c:v>
                      </c:pt>
                      <c:pt idx="1090">
                        <c:v>-2.0639296119999999</c:v>
                      </c:pt>
                      <c:pt idx="1091">
                        <c:v>-2.0644638070000001</c:v>
                      </c:pt>
                      <c:pt idx="1092">
                        <c:v>-2.0645890109999998</c:v>
                      </c:pt>
                      <c:pt idx="1093">
                        <c:v>-2.0648327270000002</c:v>
                      </c:pt>
                      <c:pt idx="1094">
                        <c:v>-2.0649973460000002</c:v>
                      </c:pt>
                      <c:pt idx="1095">
                        <c:v>-2.0650780439999998</c:v>
                      </c:pt>
                      <c:pt idx="1096">
                        <c:v>-2.0652868409999998</c:v>
                      </c:pt>
                      <c:pt idx="1097">
                        <c:v>-2.0654895610000001</c:v>
                      </c:pt>
                      <c:pt idx="1098">
                        <c:v>-2.0656128759999999</c:v>
                      </c:pt>
                      <c:pt idx="1099">
                        <c:v>-2.0661057270000001</c:v>
                      </c:pt>
                      <c:pt idx="1100">
                        <c:v>-2.0666383210000001</c:v>
                      </c:pt>
                      <c:pt idx="1101">
                        <c:v>-2.0666805899999998</c:v>
                      </c:pt>
                      <c:pt idx="1102">
                        <c:v>-2.0669271789999999</c:v>
                      </c:pt>
                      <c:pt idx="1103">
                        <c:v>-2.0674181210000002</c:v>
                      </c:pt>
                      <c:pt idx="1104">
                        <c:v>-2.067541437</c:v>
                      </c:pt>
                      <c:pt idx="1105">
                        <c:v>-2.0676247010000002</c:v>
                      </c:pt>
                      <c:pt idx="1106">
                        <c:v>-2.0677502329999999</c:v>
                      </c:pt>
                      <c:pt idx="1107">
                        <c:v>-2.067992984</c:v>
                      </c:pt>
                      <c:pt idx="1108">
                        <c:v>-2.0690610060000001</c:v>
                      </c:pt>
                      <c:pt idx="1109">
                        <c:v>-2.0693082519999999</c:v>
                      </c:pt>
                      <c:pt idx="1110">
                        <c:v>-2.0695535490000001</c:v>
                      </c:pt>
                      <c:pt idx="1111">
                        <c:v>-2.0696358680000002</c:v>
                      </c:pt>
                      <c:pt idx="1112">
                        <c:v>-2.0698821299999999</c:v>
                      </c:pt>
                      <c:pt idx="1113">
                        <c:v>-2.0700883810000001</c:v>
                      </c:pt>
                      <c:pt idx="1114">
                        <c:v>-2.0701290480000001</c:v>
                      </c:pt>
                      <c:pt idx="1115">
                        <c:v>-2.0702100739999998</c:v>
                      </c:pt>
                      <c:pt idx="1116">
                        <c:v>-2.07025265</c:v>
                      </c:pt>
                      <c:pt idx="1117">
                        <c:v>-2.0702933379999999</c:v>
                      </c:pt>
                      <c:pt idx="1118">
                        <c:v>-2.07050117</c:v>
                      </c:pt>
                      <c:pt idx="1119">
                        <c:v>-2.070539599</c:v>
                      </c:pt>
                      <c:pt idx="1120">
                        <c:v>-2.0705799589999998</c:v>
                      </c:pt>
                      <c:pt idx="1121">
                        <c:v>-2.0709085190000001</c:v>
                      </c:pt>
                      <c:pt idx="1122">
                        <c:v>-2.0711554369999998</c:v>
                      </c:pt>
                      <c:pt idx="1123">
                        <c:v>-2.0714843260000002</c:v>
                      </c:pt>
                      <c:pt idx="1124">
                        <c:v>-2.0718523019999999</c:v>
                      </c:pt>
                      <c:pt idx="1125">
                        <c:v>-2.0725923989999999</c:v>
                      </c:pt>
                      <c:pt idx="1126">
                        <c:v>-2.0732898999999998</c:v>
                      </c:pt>
                      <c:pt idx="1127">
                        <c:v>-2.0733340980000001</c:v>
                      </c:pt>
                      <c:pt idx="1128">
                        <c:v>-2.0737446500000001</c:v>
                      </c:pt>
                      <c:pt idx="1129">
                        <c:v>-2.073783079</c:v>
                      </c:pt>
                      <c:pt idx="1130">
                        <c:v>-2.0739476780000001</c:v>
                      </c:pt>
                      <c:pt idx="1131">
                        <c:v>-2.0750550940000001</c:v>
                      </c:pt>
                      <c:pt idx="1132">
                        <c:v>-2.0750960890000001</c:v>
                      </c:pt>
                      <c:pt idx="1133">
                        <c:v>-2.0752200410000001</c:v>
                      </c:pt>
                      <c:pt idx="1134">
                        <c:v>-2.0757532510000001</c:v>
                      </c:pt>
                      <c:pt idx="1135">
                        <c:v>-2.0758361870000002</c:v>
                      </c:pt>
                      <c:pt idx="1136">
                        <c:v>-2.075959482</c:v>
                      </c:pt>
                      <c:pt idx="1137">
                        <c:v>-2.0763277649999998</c:v>
                      </c:pt>
                      <c:pt idx="1138">
                        <c:v>-2.0763722919999998</c:v>
                      </c:pt>
                      <c:pt idx="1139">
                        <c:v>-2.0766979779999999</c:v>
                      </c:pt>
                      <c:pt idx="1140">
                        <c:v>-2.0772318250000001</c:v>
                      </c:pt>
                      <c:pt idx="1141">
                        <c:v>-2.0778892949999999</c:v>
                      </c:pt>
                      <c:pt idx="1142">
                        <c:v>-2.0795315429999999</c:v>
                      </c:pt>
                      <c:pt idx="1143">
                        <c:v>-2.0797797340000002</c:v>
                      </c:pt>
                      <c:pt idx="1144">
                        <c:v>-2.0803103780000001</c:v>
                      </c:pt>
                      <c:pt idx="1145">
                        <c:v>-2.080393334</c:v>
                      </c:pt>
                      <c:pt idx="1146">
                        <c:v>-2.0804336729999999</c:v>
                      </c:pt>
                      <c:pt idx="1147">
                        <c:v>-2.0812954640000001</c:v>
                      </c:pt>
                      <c:pt idx="1148">
                        <c:v>-2.081501694</c:v>
                      </c:pt>
                      <c:pt idx="1149">
                        <c:v>-2.0818328410000002</c:v>
                      </c:pt>
                      <c:pt idx="1150">
                        <c:v>-2.082774058</c:v>
                      </c:pt>
                      <c:pt idx="1151">
                        <c:v>-2.0833082329999999</c:v>
                      </c:pt>
                      <c:pt idx="1152">
                        <c:v>-2.0838821099999998</c:v>
                      </c:pt>
                      <c:pt idx="1153">
                        <c:v>-2.0849940220000001</c:v>
                      </c:pt>
                      <c:pt idx="1154">
                        <c:v>-2.0850330879999999</c:v>
                      </c:pt>
                      <c:pt idx="1155">
                        <c:v>-2.085853883</c:v>
                      </c:pt>
                      <c:pt idx="1156">
                        <c:v>-2.0859384200000002</c:v>
                      </c:pt>
                      <c:pt idx="1157">
                        <c:v>-2.0860614069999999</c:v>
                      </c:pt>
                      <c:pt idx="1158">
                        <c:v>-2.0861814989999998</c:v>
                      </c:pt>
                      <c:pt idx="1159">
                        <c:v>-2.0865920509999998</c:v>
                      </c:pt>
                      <c:pt idx="1160">
                        <c:v>-2.086633355</c:v>
                      </c:pt>
                      <c:pt idx="1161">
                        <c:v>-2.0867569779999999</c:v>
                      </c:pt>
                      <c:pt idx="1162">
                        <c:v>-2.0881141859999999</c:v>
                      </c:pt>
                      <c:pt idx="1163">
                        <c:v>-2.0885634959999999</c:v>
                      </c:pt>
                      <c:pt idx="1164">
                        <c:v>-2.0896334470000002</c:v>
                      </c:pt>
                      <c:pt idx="1165">
                        <c:v>-2.0908651229999999</c:v>
                      </c:pt>
                      <c:pt idx="1166">
                        <c:v>-2.096322491</c:v>
                      </c:pt>
                      <c:pt idx="1167">
                        <c:v>-2.096405426</c:v>
                      </c:pt>
                      <c:pt idx="1168">
                        <c:v>-2.0964899629999998</c:v>
                      </c:pt>
                      <c:pt idx="1169">
                        <c:v>-2.0981322109999998</c:v>
                      </c:pt>
                      <c:pt idx="1170">
                        <c:v>-2.099610148</c:v>
                      </c:pt>
                      <c:pt idx="1171">
                        <c:v>-2.0996899020000002</c:v>
                      </c:pt>
                      <c:pt idx="1172">
                        <c:v>-2.1011262070000001</c:v>
                      </c:pt>
                      <c:pt idx="1173">
                        <c:v>-2.1011678389999999</c:v>
                      </c:pt>
                      <c:pt idx="1174">
                        <c:v>-2.10124983</c:v>
                      </c:pt>
                      <c:pt idx="1175">
                        <c:v>-2.101496091</c:v>
                      </c:pt>
                      <c:pt idx="1176">
                        <c:v>-2.1015396530000001</c:v>
                      </c:pt>
                      <c:pt idx="1177">
                        <c:v>-2.101865976</c:v>
                      </c:pt>
                      <c:pt idx="1178">
                        <c:v>-2.1029356190000001</c:v>
                      </c:pt>
                      <c:pt idx="1179">
                        <c:v>-2.1030976520000002</c:v>
                      </c:pt>
                      <c:pt idx="1180">
                        <c:v>-2.103138011</c:v>
                      </c:pt>
                      <c:pt idx="1181">
                        <c:v>-2.1033849290000002</c:v>
                      </c:pt>
                      <c:pt idx="1182">
                        <c:v>-2.1036311900000002</c:v>
                      </c:pt>
                      <c:pt idx="1183">
                        <c:v>-2.103713489</c:v>
                      </c:pt>
                      <c:pt idx="1184">
                        <c:v>-2.1055222659999999</c:v>
                      </c:pt>
                      <c:pt idx="1185">
                        <c:v>-2.1062200739999999</c:v>
                      </c:pt>
                      <c:pt idx="1186">
                        <c:v>-2.1090501079999999</c:v>
                      </c:pt>
                      <c:pt idx="1187">
                        <c:v>-2.1102026870000001</c:v>
                      </c:pt>
                      <c:pt idx="1188">
                        <c:v>-2.1103647400000001</c:v>
                      </c:pt>
                      <c:pt idx="1189">
                        <c:v>-2.1105722629999999</c:v>
                      </c:pt>
                      <c:pt idx="1190">
                        <c:v>-2.1134436000000001</c:v>
                      </c:pt>
                      <c:pt idx="1191">
                        <c:v>-2.113526228</c:v>
                      </c:pt>
                      <c:pt idx="1192">
                        <c:v>-2.1136104570000001</c:v>
                      </c:pt>
                      <c:pt idx="1193">
                        <c:v>-2.1139364719999998</c:v>
                      </c:pt>
                      <c:pt idx="1194">
                        <c:v>-2.1140597670000001</c:v>
                      </c:pt>
                      <c:pt idx="1195">
                        <c:v>-2.1141007420000002</c:v>
                      </c:pt>
                      <c:pt idx="1196">
                        <c:v>-2.1143905850000002</c:v>
                      </c:pt>
                      <c:pt idx="1197">
                        <c:v>-2.1146346089999999</c:v>
                      </c:pt>
                      <c:pt idx="1198">
                        <c:v>-2.1149215579999998</c:v>
                      </c:pt>
                      <c:pt idx="1199">
                        <c:v>-2.1165231179999999</c:v>
                      </c:pt>
                      <c:pt idx="1200">
                        <c:v>-2.116810375</c:v>
                      </c:pt>
                      <c:pt idx="1201">
                        <c:v>-2.1171799309999999</c:v>
                      </c:pt>
                      <c:pt idx="1202">
                        <c:v>-2.118167583</c:v>
                      </c:pt>
                      <c:pt idx="1203">
                        <c:v>-2.118370632</c:v>
                      </c:pt>
                      <c:pt idx="1204">
                        <c:v>-2.1184116070000001</c:v>
                      </c:pt>
                      <c:pt idx="1205">
                        <c:v>-2.1193147219999999</c:v>
                      </c:pt>
                      <c:pt idx="1206">
                        <c:v>-2.1193973499999998</c:v>
                      </c:pt>
                      <c:pt idx="1207">
                        <c:v>-2.1195616199999998</c:v>
                      </c:pt>
                      <c:pt idx="1208">
                        <c:v>-2.1213700680000001</c:v>
                      </c:pt>
                      <c:pt idx="1209">
                        <c:v>-2.1231330439999998</c:v>
                      </c:pt>
                      <c:pt idx="1210">
                        <c:v>-2.1232566469999998</c:v>
                      </c:pt>
                      <c:pt idx="1211">
                        <c:v>-2.1237104530000002</c:v>
                      </c:pt>
                      <c:pt idx="1212">
                        <c:v>-2.1241620000000001</c:v>
                      </c:pt>
                      <c:pt idx="1213">
                        <c:v>-2.124818833</c:v>
                      </c:pt>
                      <c:pt idx="1214">
                        <c:v>-2.1253936759999998</c:v>
                      </c:pt>
                      <c:pt idx="1215">
                        <c:v>-2.1254756459999999</c:v>
                      </c:pt>
                      <c:pt idx="1216">
                        <c:v>-2.1259685180000001</c:v>
                      </c:pt>
                      <c:pt idx="1217">
                        <c:v>-2.1260505090000001</c:v>
                      </c:pt>
                      <c:pt idx="1218">
                        <c:v>-2.1261302419999999</c:v>
                      </c:pt>
                      <c:pt idx="1219">
                        <c:v>-2.1267073220000001</c:v>
                      </c:pt>
                      <c:pt idx="1220">
                        <c:v>-2.1267486459999998</c:v>
                      </c:pt>
                      <c:pt idx="1221">
                        <c:v>-2.1269923620000002</c:v>
                      </c:pt>
                      <c:pt idx="1222">
                        <c:v>-2.12777247</c:v>
                      </c:pt>
                      <c:pt idx="1223">
                        <c:v>-2.1278160320000001</c:v>
                      </c:pt>
                      <c:pt idx="1224">
                        <c:v>-2.1281442840000002</c:v>
                      </c:pt>
                      <c:pt idx="1225">
                        <c:v>-2.1290477069999998</c:v>
                      </c:pt>
                      <c:pt idx="1226">
                        <c:v>-2.1294970169999998</c:v>
                      </c:pt>
                      <c:pt idx="1227">
                        <c:v>-2.129540558</c:v>
                      </c:pt>
                      <c:pt idx="1228">
                        <c:v>-2.1297023030000002</c:v>
                      </c:pt>
                      <c:pt idx="1229">
                        <c:v>-2.1300740970000001</c:v>
                      </c:pt>
                      <c:pt idx="1230">
                        <c:v>-2.1301973919999999</c:v>
                      </c:pt>
                      <c:pt idx="1231">
                        <c:v>-2.1305644020000001</c:v>
                      </c:pt>
                      <c:pt idx="1232">
                        <c:v>-2.1320423389999998</c:v>
                      </c:pt>
                      <c:pt idx="1233">
                        <c:v>-2.132535539</c:v>
                      </c:pt>
                      <c:pt idx="1234">
                        <c:v>-2.1327427339999998</c:v>
                      </c:pt>
                      <c:pt idx="1235">
                        <c:v>-2.1333585720000001</c:v>
                      </c:pt>
                      <c:pt idx="1236">
                        <c:v>-2.1335206250000001</c:v>
                      </c:pt>
                      <c:pt idx="1237">
                        <c:v>-2.1338078820000002</c:v>
                      </c:pt>
                      <c:pt idx="1238">
                        <c:v>-2.135983977</c:v>
                      </c:pt>
                      <c:pt idx="1239">
                        <c:v>-2.1368870709999999</c:v>
                      </c:pt>
                      <c:pt idx="1240">
                        <c:v>-2.1395560169999999</c:v>
                      </c:pt>
                      <c:pt idx="1241">
                        <c:v>-2.1397222170000001</c:v>
                      </c:pt>
                      <c:pt idx="1242">
                        <c:v>-2.1398868360000001</c:v>
                      </c:pt>
                      <c:pt idx="1243">
                        <c:v>-2.139927503</c:v>
                      </c:pt>
                      <c:pt idx="1244">
                        <c:v>-2.1400895559999999</c:v>
                      </c:pt>
                      <c:pt idx="1245">
                        <c:v>-2.1401327889999999</c:v>
                      </c:pt>
                      <c:pt idx="1246">
                        <c:v>-2.1402128500000002</c:v>
                      </c:pt>
                      <c:pt idx="1247">
                        <c:v>-2.140582099</c:v>
                      </c:pt>
                      <c:pt idx="1248">
                        <c:v>-2.141321231</c:v>
                      </c:pt>
                      <c:pt idx="1249">
                        <c:v>-2.143540539</c:v>
                      </c:pt>
                      <c:pt idx="1250">
                        <c:v>-2.1441154010000001</c:v>
                      </c:pt>
                      <c:pt idx="1251">
                        <c:v>-2.144443962</c:v>
                      </c:pt>
                      <c:pt idx="1252">
                        <c:v>-2.1448545339999998</c:v>
                      </c:pt>
                      <c:pt idx="1253">
                        <c:v>-2.144936505</c:v>
                      </c:pt>
                      <c:pt idx="1254">
                        <c:v>-2.1450162590000001</c:v>
                      </c:pt>
                      <c:pt idx="1255">
                        <c:v>-2.1451395529999999</c:v>
                      </c:pt>
                      <c:pt idx="1256">
                        <c:v>-2.1455523429999999</c:v>
                      </c:pt>
                      <c:pt idx="1257">
                        <c:v>-2.1456346630000001</c:v>
                      </c:pt>
                      <c:pt idx="1258">
                        <c:v>-2.1456756380000002</c:v>
                      </c:pt>
                      <c:pt idx="1259">
                        <c:v>-2.1460452139999999</c:v>
                      </c:pt>
                      <c:pt idx="1260">
                        <c:v>-2.1462914749999999</c:v>
                      </c:pt>
                      <c:pt idx="1261">
                        <c:v>-2.146578753</c:v>
                      </c:pt>
                      <c:pt idx="1262">
                        <c:v>-2.1468640799999998</c:v>
                      </c:pt>
                      <c:pt idx="1263">
                        <c:v>-2.1469073129999998</c:v>
                      </c:pt>
                      <c:pt idx="1264">
                        <c:v>-2.146989305</c:v>
                      </c:pt>
                      <c:pt idx="1265">
                        <c:v>-2.1471513579999999</c:v>
                      </c:pt>
                      <c:pt idx="1266">
                        <c:v>-2.1472746520000001</c:v>
                      </c:pt>
                      <c:pt idx="1267">
                        <c:v>-2.1475231510000001</c:v>
                      </c:pt>
                      <c:pt idx="1268">
                        <c:v>-2.148631532</c:v>
                      </c:pt>
                      <c:pt idx="1269">
                        <c:v>-2.1487958229999999</c:v>
                      </c:pt>
                      <c:pt idx="1270">
                        <c:v>-2.149039846</c:v>
                      </c:pt>
                      <c:pt idx="1271">
                        <c:v>-2.1490834080000001</c:v>
                      </c:pt>
                      <c:pt idx="1272">
                        <c:v>-2.1496582499999999</c:v>
                      </c:pt>
                      <c:pt idx="1273">
                        <c:v>-2.1510129130000002</c:v>
                      </c:pt>
                      <c:pt idx="1274">
                        <c:v>-2.1513001699999998</c:v>
                      </c:pt>
                      <c:pt idx="1275">
                        <c:v>-2.151341473</c:v>
                      </c:pt>
                      <c:pt idx="1276">
                        <c:v>-2.1517107210000002</c:v>
                      </c:pt>
                      <c:pt idx="1277">
                        <c:v>-2.1519140779999999</c:v>
                      </c:pt>
                      <c:pt idx="1278">
                        <c:v>-2.1519983069999999</c:v>
                      </c:pt>
                      <c:pt idx="1279">
                        <c:v>-2.152285564</c:v>
                      </c:pt>
                      <c:pt idx="1280">
                        <c:v>-2.15249085</c:v>
                      </c:pt>
                      <c:pt idx="1281">
                        <c:v>-2.1525321530000001</c:v>
                      </c:pt>
                      <c:pt idx="1282">
                        <c:v>-2.1528604260000002</c:v>
                      </c:pt>
                      <c:pt idx="1283">
                        <c:v>-2.1530224590000002</c:v>
                      </c:pt>
                      <c:pt idx="1284">
                        <c:v>-2.1532690479999999</c:v>
                      </c:pt>
                      <c:pt idx="1285">
                        <c:v>-2.153884578</c:v>
                      </c:pt>
                      <c:pt idx="1286">
                        <c:v>-2.1540101109999998</c:v>
                      </c:pt>
                      <c:pt idx="1287">
                        <c:v>-2.154254135</c:v>
                      </c:pt>
                      <c:pt idx="1288">
                        <c:v>-2.1545026539999999</c:v>
                      </c:pt>
                      <c:pt idx="1289">
                        <c:v>-2.154790239</c:v>
                      </c:pt>
                      <c:pt idx="1290">
                        <c:v>-2.1549132059999998</c:v>
                      </c:pt>
                      <c:pt idx="1291">
                        <c:v>-2.1555290440000001</c:v>
                      </c:pt>
                      <c:pt idx="1292">
                        <c:v>-2.1556113429999999</c:v>
                      </c:pt>
                      <c:pt idx="1293">
                        <c:v>-2.1558166289999998</c:v>
                      </c:pt>
                      <c:pt idx="1294">
                        <c:v>-2.1559396159999999</c:v>
                      </c:pt>
                      <c:pt idx="1295">
                        <c:v>-2.1561019770000001</c:v>
                      </c:pt>
                      <c:pt idx="1296">
                        <c:v>-2.1562271810000002</c:v>
                      </c:pt>
                      <c:pt idx="1297">
                        <c:v>-2.1571302960000001</c:v>
                      </c:pt>
                      <c:pt idx="1298">
                        <c:v>-2.1576231469999998</c:v>
                      </c:pt>
                      <c:pt idx="1299">
                        <c:v>-2.1577051379999999</c:v>
                      </c:pt>
                      <c:pt idx="1300">
                        <c:v>-2.1608253230000001</c:v>
                      </c:pt>
                      <c:pt idx="1301">
                        <c:v>-2.1611129080000002</c:v>
                      </c:pt>
                      <c:pt idx="1302">
                        <c:v>-2.1625088539999999</c:v>
                      </c:pt>
                      <c:pt idx="1303">
                        <c:v>-2.162590845</c:v>
                      </c:pt>
                      <c:pt idx="1304">
                        <c:v>-2.1627551359999999</c:v>
                      </c:pt>
                      <c:pt idx="1305">
                        <c:v>-2.162796132</c:v>
                      </c:pt>
                      <c:pt idx="1306">
                        <c:v>-2.1628784310000002</c:v>
                      </c:pt>
                      <c:pt idx="1307">
                        <c:v>-2.1638225210000002</c:v>
                      </c:pt>
                      <c:pt idx="1308">
                        <c:v>-2.1638635169999998</c:v>
                      </c:pt>
                      <c:pt idx="1309">
                        <c:v>-2.1640687820000002</c:v>
                      </c:pt>
                      <c:pt idx="1310">
                        <c:v>-2.164848911</c:v>
                      </c:pt>
                      <c:pt idx="1311">
                        <c:v>-2.1651364960000001</c:v>
                      </c:pt>
                      <c:pt idx="1312">
                        <c:v>-2.1652184870000002</c:v>
                      </c:pt>
                      <c:pt idx="1313">
                        <c:v>-2.1655880430000001</c:v>
                      </c:pt>
                      <c:pt idx="1314">
                        <c:v>-2.1656290390000001</c:v>
                      </c:pt>
                      <c:pt idx="1315">
                        <c:v>-2.1677641379999999</c:v>
                      </c:pt>
                      <c:pt idx="1316">
                        <c:v>-2.167846129</c:v>
                      </c:pt>
                      <c:pt idx="1317">
                        <c:v>-2.1681333860000001</c:v>
                      </c:pt>
                      <c:pt idx="1318">
                        <c:v>-2.1682156849999998</c:v>
                      </c:pt>
                      <c:pt idx="1319">
                        <c:v>-2.1685029419999999</c:v>
                      </c:pt>
                      <c:pt idx="1320">
                        <c:v>-2.1685852620000001</c:v>
                      </c:pt>
                      <c:pt idx="1321">
                        <c:v>-2.1687082279999998</c:v>
                      </c:pt>
                      <c:pt idx="1322">
                        <c:v>-2.1696116519999999</c:v>
                      </c:pt>
                      <c:pt idx="1323">
                        <c:v>-2.1696526469999999</c:v>
                      </c:pt>
                      <c:pt idx="1324">
                        <c:v>-2.1698169379999999</c:v>
                      </c:pt>
                      <c:pt idx="1325">
                        <c:v>-2.169898909</c:v>
                      </c:pt>
                      <c:pt idx="1326">
                        <c:v>-2.1712948750000001</c:v>
                      </c:pt>
                      <c:pt idx="1327">
                        <c:v>-2.1713358700000001</c:v>
                      </c:pt>
                      <c:pt idx="1328">
                        <c:v>-2.1717874180000001</c:v>
                      </c:pt>
                      <c:pt idx="1329">
                        <c:v>-2.1719517079999999</c:v>
                      </c:pt>
                      <c:pt idx="1330">
                        <c:v>-2.1722392940000002</c:v>
                      </c:pt>
                      <c:pt idx="1331">
                        <c:v>-2.1728138069999998</c:v>
                      </c:pt>
                      <c:pt idx="1332">
                        <c:v>-2.1735119649999999</c:v>
                      </c:pt>
                      <c:pt idx="1333">
                        <c:v>-2.173840218</c:v>
                      </c:pt>
                      <c:pt idx="1334">
                        <c:v>-2.1738815210000002</c:v>
                      </c:pt>
                      <c:pt idx="1335">
                        <c:v>-2.1758110259999999</c:v>
                      </c:pt>
                      <c:pt idx="1336">
                        <c:v>-2.1762215779999998</c:v>
                      </c:pt>
                      <c:pt idx="1337">
                        <c:v>-2.1763038770000001</c:v>
                      </c:pt>
                      <c:pt idx="1338">
                        <c:v>-2.1763858680000001</c:v>
                      </c:pt>
                      <c:pt idx="1339">
                        <c:v>-2.1766734539999999</c:v>
                      </c:pt>
                      <c:pt idx="1340">
                        <c:v>-2.1767964200000001</c:v>
                      </c:pt>
                      <c:pt idx="1341">
                        <c:v>-2.1768784110000001</c:v>
                      </c:pt>
                      <c:pt idx="1342">
                        <c:v>-2.177001706</c:v>
                      </c:pt>
                      <c:pt idx="1343">
                        <c:v>-2.177083697</c:v>
                      </c:pt>
                      <c:pt idx="1344">
                        <c:v>-2.1773302870000002</c:v>
                      </c:pt>
                      <c:pt idx="1345">
                        <c:v>-2.1777818340000001</c:v>
                      </c:pt>
                      <c:pt idx="1346">
                        <c:v>-2.1786849290000001</c:v>
                      </c:pt>
                      <c:pt idx="1347">
                        <c:v>-2.178890215</c:v>
                      </c:pt>
                      <c:pt idx="1348">
                        <c:v>-2.1791368050000002</c:v>
                      </c:pt>
                      <c:pt idx="1349">
                        <c:v>-2.1797936390000001</c:v>
                      </c:pt>
                      <c:pt idx="1350">
                        <c:v>-2.1798756090000002</c:v>
                      </c:pt>
                      <c:pt idx="1351">
                        <c:v>-2.1799989040000001</c:v>
                      </c:pt>
                      <c:pt idx="1352">
                        <c:v>-2.180163195</c:v>
                      </c:pt>
                      <c:pt idx="1353">
                        <c:v>-2.180450451</c:v>
                      </c:pt>
                      <c:pt idx="1354">
                        <c:v>-2.1805737459999999</c:v>
                      </c:pt>
                      <c:pt idx="1355">
                        <c:v>-2.1806970410000002</c:v>
                      </c:pt>
                      <c:pt idx="1356">
                        <c:v>-2.1807790319999998</c:v>
                      </c:pt>
                      <c:pt idx="1357">
                        <c:v>-2.1808200279999999</c:v>
                      </c:pt>
                      <c:pt idx="1358">
                        <c:v>-2.1821336950000001</c:v>
                      </c:pt>
                      <c:pt idx="1359">
                        <c:v>-2.18225699</c:v>
                      </c:pt>
                      <c:pt idx="1360">
                        <c:v>-2.1825855500000002</c:v>
                      </c:pt>
                      <c:pt idx="1361">
                        <c:v>-2.1826675419999999</c:v>
                      </c:pt>
                      <c:pt idx="1362">
                        <c:v>-2.1832833800000002</c:v>
                      </c:pt>
                      <c:pt idx="1363">
                        <c:v>-2.183899217</c:v>
                      </c:pt>
                      <c:pt idx="1364">
                        <c:v>-2.1850489020000001</c:v>
                      </c:pt>
                      <c:pt idx="1365">
                        <c:v>-2.1859929920000001</c:v>
                      </c:pt>
                      <c:pt idx="1366">
                        <c:v>-2.1860343160000002</c:v>
                      </c:pt>
                      <c:pt idx="1367">
                        <c:v>-2.188456344</c:v>
                      </c:pt>
                      <c:pt idx="1368">
                        <c:v>-2.189154501</c:v>
                      </c:pt>
                      <c:pt idx="1369">
                        <c:v>-2.1892364720000002</c:v>
                      </c:pt>
                      <c:pt idx="1370">
                        <c:v>-2.189606049</c:v>
                      </c:pt>
                      <c:pt idx="1371">
                        <c:v>-2.189688656</c:v>
                      </c:pt>
                      <c:pt idx="1372">
                        <c:v>-2.1900575959999999</c:v>
                      </c:pt>
                      <c:pt idx="1373">
                        <c:v>-2.1902218869999999</c:v>
                      </c:pt>
                      <c:pt idx="1374">
                        <c:v>-2.1903451810000001</c:v>
                      </c:pt>
                      <c:pt idx="1375">
                        <c:v>-2.1903861569999998</c:v>
                      </c:pt>
                      <c:pt idx="1376">
                        <c:v>-2.1904271519999998</c:v>
                      </c:pt>
                      <c:pt idx="1377">
                        <c:v>-2.1921926950000001</c:v>
                      </c:pt>
                      <c:pt idx="1378">
                        <c:v>-2.1937939270000002</c:v>
                      </c:pt>
                      <c:pt idx="1379">
                        <c:v>-2.1940402090000002</c:v>
                      </c:pt>
                      <c:pt idx="1380">
                        <c:v>-2.1941221789999998</c:v>
                      </c:pt>
                      <c:pt idx="1381">
                        <c:v>-2.194533388</c:v>
                      </c:pt>
                      <c:pt idx="1382">
                        <c:v>-2.1947793409999998</c:v>
                      </c:pt>
                      <c:pt idx="1383">
                        <c:v>-2.1972013690000001</c:v>
                      </c:pt>
                      <c:pt idx="1384">
                        <c:v>-2.1977762109999999</c:v>
                      </c:pt>
                      <c:pt idx="1385">
                        <c:v>-2.198802621</c:v>
                      </c:pt>
                      <c:pt idx="1386">
                        <c:v>-2.1992544760000001</c:v>
                      </c:pt>
                      <c:pt idx="1387">
                        <c:v>-2.1992954720000002</c:v>
                      </c:pt>
                      <c:pt idx="1388">
                        <c:v>-2.1993774629999998</c:v>
                      </c:pt>
                      <c:pt idx="1389">
                        <c:v>-2.1999113100000001</c:v>
                      </c:pt>
                      <c:pt idx="1390">
                        <c:v>-2.1999933010000001</c:v>
                      </c:pt>
                      <c:pt idx="1391">
                        <c:v>-2.2001575920000001</c:v>
                      </c:pt>
                      <c:pt idx="1392">
                        <c:v>-2.2003218819999999</c:v>
                      </c:pt>
                      <c:pt idx="1393">
                        <c:v>-2.2003349999999999</c:v>
                      </c:pt>
                      <c:pt idx="1394">
                        <c:v>-2.0919743230000001</c:v>
                      </c:pt>
                      <c:pt idx="1395">
                        <c:v>-2.0710049239999999</c:v>
                      </c:pt>
                      <c:pt idx="1396">
                        <c:v>-2.0431680000000001</c:v>
                      </c:pt>
                      <c:pt idx="1397">
                        <c:v>-2.0431523739999999</c:v>
                      </c:pt>
                      <c:pt idx="1398">
                        <c:v>-2.0430157420000001</c:v>
                      </c:pt>
                      <c:pt idx="1399">
                        <c:v>-2.0429700830000002</c:v>
                      </c:pt>
                      <c:pt idx="1400">
                        <c:v>-2.0426737319999999</c:v>
                      </c:pt>
                      <c:pt idx="1401">
                        <c:v>-2.0421270420000002</c:v>
                      </c:pt>
                      <c:pt idx="1402">
                        <c:v>-2.0421046629999999</c:v>
                      </c:pt>
                      <c:pt idx="1403">
                        <c:v>-2.0416034590000001</c:v>
                      </c:pt>
                      <c:pt idx="1404">
                        <c:v>-2.040965634</c:v>
                      </c:pt>
                      <c:pt idx="1405">
                        <c:v>-2.0406696370000001</c:v>
                      </c:pt>
                      <c:pt idx="1406">
                        <c:v>-2.040601235</c:v>
                      </c:pt>
                      <c:pt idx="1407">
                        <c:v>-2.0405784910000002</c:v>
                      </c:pt>
                      <c:pt idx="1408">
                        <c:v>-2.0403279799999998</c:v>
                      </c:pt>
                      <c:pt idx="1409">
                        <c:v>-2.040236835</c:v>
                      </c:pt>
                      <c:pt idx="1410">
                        <c:v>-2.039667412</c:v>
                      </c:pt>
                      <c:pt idx="1411">
                        <c:v>-2.0396219250000001</c:v>
                      </c:pt>
                      <c:pt idx="1412">
                        <c:v>-2.0394851209999998</c:v>
                      </c:pt>
                      <c:pt idx="1413">
                        <c:v>-2.0394396339999998</c:v>
                      </c:pt>
                      <c:pt idx="1414">
                        <c:v>-2.039303012</c:v>
                      </c:pt>
                      <c:pt idx="1415">
                        <c:v>-2.0390976250000001</c:v>
                      </c:pt>
                      <c:pt idx="1416">
                        <c:v>-2.0386879200000001</c:v>
                      </c:pt>
                      <c:pt idx="1417">
                        <c:v>-2.0366379829999999</c:v>
                      </c:pt>
                      <c:pt idx="1418">
                        <c:v>-2.0366152510000002</c:v>
                      </c:pt>
                      <c:pt idx="1419">
                        <c:v>-2.0365695819999998</c:v>
                      </c:pt>
                      <c:pt idx="1420">
                        <c:v>-2.0364786179999999</c:v>
                      </c:pt>
                      <c:pt idx="1421">
                        <c:v>-2.03643296</c:v>
                      </c:pt>
                      <c:pt idx="1422">
                        <c:v>-2.0353168469999998</c:v>
                      </c:pt>
                      <c:pt idx="1423">
                        <c:v>-2.0352486270000001</c:v>
                      </c:pt>
                      <c:pt idx="1424">
                        <c:v>-2.0352257009999999</c:v>
                      </c:pt>
                      <c:pt idx="1425">
                        <c:v>-2.0348840450000001</c:v>
                      </c:pt>
                      <c:pt idx="1426">
                        <c:v>-2.0342691350000002</c:v>
                      </c:pt>
                      <c:pt idx="1427">
                        <c:v>-2.0315586300000001</c:v>
                      </c:pt>
                      <c:pt idx="1428">
                        <c:v>-2.030237493</c:v>
                      </c:pt>
                      <c:pt idx="1429">
                        <c:v>-2.0298046909999998</c:v>
                      </c:pt>
                      <c:pt idx="1430">
                        <c:v>-2.029668059</c:v>
                      </c:pt>
                      <c:pt idx="1431">
                        <c:v>-2.029235269</c:v>
                      </c:pt>
                      <c:pt idx="1432">
                        <c:v>-2.0285974320000002</c:v>
                      </c:pt>
                      <c:pt idx="1433">
                        <c:v>-2.0277089149999998</c:v>
                      </c:pt>
                      <c:pt idx="1434">
                        <c:v>-2.0269799439999998</c:v>
                      </c:pt>
                      <c:pt idx="1435">
                        <c:v>-2.0269348100000002</c:v>
                      </c:pt>
                      <c:pt idx="1436">
                        <c:v>-2.0266158980000002</c:v>
                      </c:pt>
                      <c:pt idx="1437">
                        <c:v>-2.0264105219999999</c:v>
                      </c:pt>
                      <c:pt idx="1438">
                        <c:v>-2.0263652159999999</c:v>
                      </c:pt>
                      <c:pt idx="1439">
                        <c:v>-2.0252489210000002</c:v>
                      </c:pt>
                      <c:pt idx="1440">
                        <c:v>-2.0252036150000001</c:v>
                      </c:pt>
                      <c:pt idx="1441">
                        <c:v>-2.025135031</c:v>
                      </c:pt>
                      <c:pt idx="1442">
                        <c:v>-2.02506663</c:v>
                      </c:pt>
                      <c:pt idx="1443">
                        <c:v>-2.0249987630000001</c:v>
                      </c:pt>
                      <c:pt idx="1444">
                        <c:v>-2.0246571069999999</c:v>
                      </c:pt>
                      <c:pt idx="1445">
                        <c:v>-2.0244975599999999</c:v>
                      </c:pt>
                      <c:pt idx="1446">
                        <c:v>-2.0244748160000001</c:v>
                      </c:pt>
                      <c:pt idx="1447">
                        <c:v>-2.0241559040000001</c:v>
                      </c:pt>
                      <c:pt idx="1448">
                        <c:v>-2.0239965390000001</c:v>
                      </c:pt>
                      <c:pt idx="1449">
                        <c:v>-2.0238826489999999</c:v>
                      </c:pt>
                      <c:pt idx="1450">
                        <c:v>-2.0236545289999999</c:v>
                      </c:pt>
                      <c:pt idx="1451">
                        <c:v>-2.0232448249999999</c:v>
                      </c:pt>
                      <c:pt idx="1452">
                        <c:v>-2.0229486560000001</c:v>
                      </c:pt>
                      <c:pt idx="1453">
                        <c:v>-2.0228804249999999</c:v>
                      </c:pt>
                      <c:pt idx="1454">
                        <c:v>-2.022834767</c:v>
                      </c:pt>
                      <c:pt idx="1455">
                        <c:v>-2.0214681419999998</c:v>
                      </c:pt>
                      <c:pt idx="1456">
                        <c:v>-2.0210125969999999</c:v>
                      </c:pt>
                      <c:pt idx="1457">
                        <c:v>-2.0198510079999998</c:v>
                      </c:pt>
                      <c:pt idx="1458">
                        <c:v>-2.019828264</c:v>
                      </c:pt>
                      <c:pt idx="1459">
                        <c:v>-2.019759509</c:v>
                      </c:pt>
                      <c:pt idx="1460">
                        <c:v>-2.019144952</c:v>
                      </c:pt>
                      <c:pt idx="1461">
                        <c:v>-2.0190992940000001</c:v>
                      </c:pt>
                      <c:pt idx="1462">
                        <c:v>-2.0180743259999998</c:v>
                      </c:pt>
                      <c:pt idx="1463">
                        <c:v>-2.0179376929999999</c:v>
                      </c:pt>
                      <c:pt idx="1464">
                        <c:v>-2.0179149600000001</c:v>
                      </c:pt>
                      <c:pt idx="1465">
                        <c:v>-2.0177554130000002</c:v>
                      </c:pt>
                      <c:pt idx="1466">
                        <c:v>-2.017732316</c:v>
                      </c:pt>
                      <c:pt idx="1467">
                        <c:v>-2.017163247</c:v>
                      </c:pt>
                      <c:pt idx="1468">
                        <c:v>-2.0166162029999999</c:v>
                      </c:pt>
                      <c:pt idx="1469">
                        <c:v>-2.0165934590000001</c:v>
                      </c:pt>
                      <c:pt idx="1470">
                        <c:v>-2.01647957</c:v>
                      </c:pt>
                      <c:pt idx="1471">
                        <c:v>-2.0159785490000002</c:v>
                      </c:pt>
                      <c:pt idx="1472">
                        <c:v>-2.0159328909999998</c:v>
                      </c:pt>
                      <c:pt idx="1473">
                        <c:v>-2.0155002710000001</c:v>
                      </c:pt>
                      <c:pt idx="1474">
                        <c:v>-2.0154773449999999</c:v>
                      </c:pt>
                      <c:pt idx="1475">
                        <c:v>-2.0154094790000001</c:v>
                      </c:pt>
                      <c:pt idx="1476">
                        <c:v>-2.0140195759999999</c:v>
                      </c:pt>
                      <c:pt idx="1477">
                        <c:v>-2.0118557620000002</c:v>
                      </c:pt>
                      <c:pt idx="1478">
                        <c:v>-2.010967768</c:v>
                      </c:pt>
                      <c:pt idx="1479">
                        <c:v>-2.009396121</c:v>
                      </c:pt>
                      <c:pt idx="1480">
                        <c:v>-2.0083935429999999</c:v>
                      </c:pt>
                      <c:pt idx="1481">
                        <c:v>-2.0083484089999999</c:v>
                      </c:pt>
                      <c:pt idx="1482">
                        <c:v>-2.0081888609999998</c:v>
                      </c:pt>
                      <c:pt idx="1483">
                        <c:v>-2.0079831210000001</c:v>
                      </c:pt>
                      <c:pt idx="1484">
                        <c:v>-2.0079379980000001</c:v>
                      </c:pt>
                      <c:pt idx="1485">
                        <c:v>-2.0074824530000002</c:v>
                      </c:pt>
                      <c:pt idx="1486">
                        <c:v>-2.0065029719999998</c:v>
                      </c:pt>
                      <c:pt idx="1487">
                        <c:v>-2.0063894470000001</c:v>
                      </c:pt>
                      <c:pt idx="1488">
                        <c:v>-2.006275558</c:v>
                      </c:pt>
                      <c:pt idx="1489">
                        <c:v>-2.0062073269999998</c:v>
                      </c:pt>
                      <c:pt idx="1490">
                        <c:v>-2.0047268250000001</c:v>
                      </c:pt>
                      <c:pt idx="1491">
                        <c:v>-2.0046580700000001</c:v>
                      </c:pt>
                      <c:pt idx="1492">
                        <c:v>-2.0045214370000002</c:v>
                      </c:pt>
                      <c:pt idx="1493">
                        <c:v>-2.0044761320000002</c:v>
                      </c:pt>
                      <c:pt idx="1494">
                        <c:v>-2.004088989</c:v>
                      </c:pt>
                      <c:pt idx="1495">
                        <c:v>-2.0040658919999998</c:v>
                      </c:pt>
                      <c:pt idx="1496">
                        <c:v>-2.0028312769999999</c:v>
                      </c:pt>
                      <c:pt idx="1497">
                        <c:v>-2.0027223639999998</c:v>
                      </c:pt>
                      <c:pt idx="1498">
                        <c:v>-2.0026996320000001</c:v>
                      </c:pt>
                      <c:pt idx="1499">
                        <c:v>-2.002471501</c:v>
                      </c:pt>
                      <c:pt idx="1500">
                        <c:v>-2.0024030989999999</c:v>
                      </c:pt>
                      <c:pt idx="1501">
                        <c:v>-2.002312307</c:v>
                      </c:pt>
                      <c:pt idx="1502">
                        <c:v>-2.0014012280000002</c:v>
                      </c:pt>
                      <c:pt idx="1503">
                        <c:v>-2.001264242</c:v>
                      </c:pt>
                      <c:pt idx="1504">
                        <c:v>-2.001173461</c:v>
                      </c:pt>
                      <c:pt idx="1505">
                        <c:v>-2.0009911699999998</c:v>
                      </c:pt>
                      <c:pt idx="1506">
                        <c:v>-2.0009678910000002</c:v>
                      </c:pt>
                      <c:pt idx="1507">
                        <c:v>-2.0005809299999999</c:v>
                      </c:pt>
                      <c:pt idx="1508">
                        <c:v>-2.000489795</c:v>
                      </c:pt>
                      <c:pt idx="1509">
                        <c:v>-2.0001026519999998</c:v>
                      </c:pt>
                      <c:pt idx="1510">
                        <c:v>-1.9982351780000001</c:v>
                      </c:pt>
                      <c:pt idx="1511">
                        <c:v>-1.9976657550000001</c:v>
                      </c:pt>
                      <c:pt idx="1512">
                        <c:v>-1.9975060360000001</c:v>
                      </c:pt>
                      <c:pt idx="1513">
                        <c:v>-1.9974596609999999</c:v>
                      </c:pt>
                      <c:pt idx="1514">
                        <c:v>-1.9972102089999999</c:v>
                      </c:pt>
                      <c:pt idx="1515">
                        <c:v>-1.9951373590000001</c:v>
                      </c:pt>
                      <c:pt idx="1516">
                        <c:v>-1.99502241</c:v>
                      </c:pt>
                      <c:pt idx="1517">
                        <c:v>-1.994999849</c:v>
                      </c:pt>
                      <c:pt idx="1518">
                        <c:v>-1.9944309499999999</c:v>
                      </c:pt>
                      <c:pt idx="1519">
                        <c:v>-1.994066903</c:v>
                      </c:pt>
                      <c:pt idx="1520">
                        <c:v>-1.9937476380000001</c:v>
                      </c:pt>
                      <c:pt idx="1521">
                        <c:v>-1.9936566739999999</c:v>
                      </c:pt>
                      <c:pt idx="1522">
                        <c:v>-1.9929733620000001</c:v>
                      </c:pt>
                      <c:pt idx="1523">
                        <c:v>-1.992949912</c:v>
                      </c:pt>
                      <c:pt idx="1524">
                        <c:v>-1.992927522</c:v>
                      </c:pt>
                      <c:pt idx="1525">
                        <c:v>-1.992517646</c:v>
                      </c:pt>
                      <c:pt idx="1526">
                        <c:v>-1.9924257830000001</c:v>
                      </c:pt>
                      <c:pt idx="1527">
                        <c:v>-1.991743542</c:v>
                      </c:pt>
                      <c:pt idx="1528">
                        <c:v>-1.991287826</c:v>
                      </c:pt>
                      <c:pt idx="1529">
                        <c:v>-1.9912652529999999</c:v>
                      </c:pt>
                      <c:pt idx="1530">
                        <c:v>-1.991218889</c:v>
                      </c:pt>
                      <c:pt idx="1531">
                        <c:v>-1.9911741190000001</c:v>
                      </c:pt>
                      <c:pt idx="1532">
                        <c:v>-1.9900578229999999</c:v>
                      </c:pt>
                      <c:pt idx="1533">
                        <c:v>-1.9900125179999999</c:v>
                      </c:pt>
                      <c:pt idx="1534">
                        <c:v>-1.989419998</c:v>
                      </c:pt>
                      <c:pt idx="1535">
                        <c:v>-1.9888274669999999</c:v>
                      </c:pt>
                      <c:pt idx="1536">
                        <c:v>-1.988645005</c:v>
                      </c:pt>
                      <c:pt idx="1537">
                        <c:v>-1.988075582</c:v>
                      </c:pt>
                      <c:pt idx="1538">
                        <c:v>-1.9878705480000001</c:v>
                      </c:pt>
                      <c:pt idx="1539">
                        <c:v>-1.987643134</c:v>
                      </c:pt>
                      <c:pt idx="1540">
                        <c:v>-1.987597829</c:v>
                      </c:pt>
                      <c:pt idx="1541">
                        <c:v>-1.9875292449999999</c:v>
                      </c:pt>
                      <c:pt idx="1542">
                        <c:v>-1.987415014</c:v>
                      </c:pt>
                      <c:pt idx="1543">
                        <c:v>-1.9873475</c:v>
                      </c:pt>
                      <c:pt idx="1544">
                        <c:v>-1.9855230189999999</c:v>
                      </c:pt>
                      <c:pt idx="1545">
                        <c:v>-1.9853883450000001</c:v>
                      </c:pt>
                      <c:pt idx="1546">
                        <c:v>-1.9851378340000001</c:v>
                      </c:pt>
                      <c:pt idx="1547">
                        <c:v>-1.9851142020000001</c:v>
                      </c:pt>
                      <c:pt idx="1548">
                        <c:v>-1.9850012130000001</c:v>
                      </c:pt>
                      <c:pt idx="1549">
                        <c:v>-1.9833137169999999</c:v>
                      </c:pt>
                      <c:pt idx="1550">
                        <c:v>-1.9831790439999999</c:v>
                      </c:pt>
                      <c:pt idx="1551">
                        <c:v>-1.982655096</c:v>
                      </c:pt>
                      <c:pt idx="1552">
                        <c:v>-1.9826316470000001</c:v>
                      </c:pt>
                      <c:pt idx="1553">
                        <c:v>-1.982586695</c:v>
                      </c:pt>
                      <c:pt idx="1554">
                        <c:v>-1.982312734</c:v>
                      </c:pt>
                      <c:pt idx="1555">
                        <c:v>-1.9816521659999999</c:v>
                      </c:pt>
                      <c:pt idx="1556">
                        <c:v>-1.981425105</c:v>
                      </c:pt>
                      <c:pt idx="1557">
                        <c:v>-1.981333424</c:v>
                      </c:pt>
                      <c:pt idx="1558">
                        <c:v>-1.981264852</c:v>
                      </c:pt>
                      <c:pt idx="1559">
                        <c:v>-1.9811964500000001</c:v>
                      </c:pt>
                      <c:pt idx="1560">
                        <c:v>-1.980650112</c:v>
                      </c:pt>
                      <c:pt idx="1561">
                        <c:v>-1.980536587</c:v>
                      </c:pt>
                      <c:pt idx="1562">
                        <c:v>-1.9805131380000001</c:v>
                      </c:pt>
                      <c:pt idx="1563">
                        <c:v>-1.98017237</c:v>
                      </c:pt>
                      <c:pt idx="1564">
                        <c:v>-1.9800803360000001</c:v>
                      </c:pt>
                      <c:pt idx="1565">
                        <c:v>-1.9800565219999999</c:v>
                      </c:pt>
                      <c:pt idx="1566">
                        <c:v>-1.98001264</c:v>
                      </c:pt>
                      <c:pt idx="1567">
                        <c:v>-1.978873965</c:v>
                      </c:pt>
                      <c:pt idx="1568">
                        <c:v>-1.9788505160000001</c:v>
                      </c:pt>
                      <c:pt idx="1569">
                        <c:v>-1.978577432</c:v>
                      </c:pt>
                      <c:pt idx="1570">
                        <c:v>-1.97805385</c:v>
                      </c:pt>
                      <c:pt idx="1571">
                        <c:v>-1.977893949</c:v>
                      </c:pt>
                      <c:pt idx="1572">
                        <c:v>-1.9777104169999999</c:v>
                      </c:pt>
                      <c:pt idx="1573">
                        <c:v>-1.9776889150000001</c:v>
                      </c:pt>
                      <c:pt idx="1574">
                        <c:v>-1.977666535</c:v>
                      </c:pt>
                      <c:pt idx="1575">
                        <c:v>-1.977620513</c:v>
                      </c:pt>
                      <c:pt idx="1576">
                        <c:v>-1.977575208</c:v>
                      </c:pt>
                      <c:pt idx="1577">
                        <c:v>-1.9761629249999999</c:v>
                      </c:pt>
                      <c:pt idx="1578">
                        <c:v>-1.9749556660000001</c:v>
                      </c:pt>
                      <c:pt idx="1579">
                        <c:v>-1.974477389</c:v>
                      </c:pt>
                      <c:pt idx="1580">
                        <c:v>-1.974386596</c:v>
                      </c:pt>
                      <c:pt idx="1581">
                        <c:v>-1.9742039520000001</c:v>
                      </c:pt>
                      <c:pt idx="1582">
                        <c:v>-1.973634882</c:v>
                      </c:pt>
                      <c:pt idx="1583">
                        <c:v>-1.972677963</c:v>
                      </c:pt>
                      <c:pt idx="1584">
                        <c:v>-1.9726310629999999</c:v>
                      </c:pt>
                      <c:pt idx="1585">
                        <c:v>-1.9725182450000001</c:v>
                      </c:pt>
                      <c:pt idx="1586">
                        <c:v>-1.971926249</c:v>
                      </c:pt>
                      <c:pt idx="1587">
                        <c:v>-1.97190387</c:v>
                      </c:pt>
                      <c:pt idx="1588">
                        <c:v>-1.970992426</c:v>
                      </c:pt>
                      <c:pt idx="1589">
                        <c:v>-1.9706964279999999</c:v>
                      </c:pt>
                      <c:pt idx="1590">
                        <c:v>-1.970355125</c:v>
                      </c:pt>
                      <c:pt idx="1591">
                        <c:v>-1.970218322</c:v>
                      </c:pt>
                      <c:pt idx="1592">
                        <c:v>-1.969784996</c:v>
                      </c:pt>
                      <c:pt idx="1593">
                        <c:v>-1.9696258019999999</c:v>
                      </c:pt>
                      <c:pt idx="1594">
                        <c:v>-1.969603411</c:v>
                      </c:pt>
                      <c:pt idx="1595">
                        <c:v>-1.96837342</c:v>
                      </c:pt>
                      <c:pt idx="1596">
                        <c:v>-1.9677812530000001</c:v>
                      </c:pt>
                      <c:pt idx="1597">
                        <c:v>-1.9677124989999999</c:v>
                      </c:pt>
                      <c:pt idx="1598">
                        <c:v>-1.9676670110000001</c:v>
                      </c:pt>
                      <c:pt idx="1599">
                        <c:v>-1.966938394</c:v>
                      </c:pt>
                      <c:pt idx="1600">
                        <c:v>-1.9657977600000001</c:v>
                      </c:pt>
                      <c:pt idx="1601">
                        <c:v>-1.9656625619999999</c:v>
                      </c:pt>
                      <c:pt idx="1602">
                        <c:v>-1.965114448</c:v>
                      </c:pt>
                      <c:pt idx="1603">
                        <c:v>-1.9649792500000001</c:v>
                      </c:pt>
                      <c:pt idx="1604">
                        <c:v>-1.964585</c:v>
                      </c:pt>
                      <c:pt idx="1605">
                        <c:v>1.7279753390000001</c:v>
                      </c:pt>
                      <c:pt idx="1606">
                        <c:v>9.7224675690000009</c:v>
                      </c:pt>
                      <c:pt idx="1607">
                        <c:v>10.917046859999999</c:v>
                      </c:pt>
                      <c:pt idx="1608">
                        <c:v>11.596612739999999</c:v>
                      </c:pt>
                      <c:pt idx="1609">
                        <c:v>13.12837991</c:v>
                      </c:pt>
                      <c:pt idx="1610">
                        <c:v>19.423829820000002</c:v>
                      </c:pt>
                      <c:pt idx="1611">
                        <c:v>24.016323580000002</c:v>
                      </c:pt>
                      <c:pt idx="1612">
                        <c:v>24.199509410000001</c:v>
                      </c:pt>
                      <c:pt idx="1613">
                        <c:v>30.311858569999998</c:v>
                      </c:pt>
                      <c:pt idx="1614">
                        <c:v>32.358554089999998</c:v>
                      </c:pt>
                      <c:pt idx="1615">
                        <c:v>36.441394709999997</c:v>
                      </c:pt>
                      <c:pt idx="1616">
                        <c:v>39.330932279999999</c:v>
                      </c:pt>
                      <c:pt idx="1617">
                        <c:v>39.514118109999998</c:v>
                      </c:pt>
                      <c:pt idx="1618">
                        <c:v>40.025132589999998</c:v>
                      </c:pt>
                      <c:pt idx="1619">
                        <c:v>45.980842129999999</c:v>
                      </c:pt>
                      <c:pt idx="1620">
                        <c:v>49.884495829999999</c:v>
                      </c:pt>
                      <c:pt idx="1621">
                        <c:v>51.757279650000001</c:v>
                      </c:pt>
                      <c:pt idx="1622">
                        <c:v>52.61739378</c:v>
                      </c:pt>
                      <c:pt idx="1623">
                        <c:v>53.127132000000003</c:v>
                      </c:pt>
                      <c:pt idx="1624">
                        <c:v>55.50965403</c:v>
                      </c:pt>
                      <c:pt idx="1625">
                        <c:v>57.030785700000003</c:v>
                      </c:pt>
                      <c:pt idx="1626">
                        <c:v>57.54043884</c:v>
                      </c:pt>
                      <c:pt idx="1627">
                        <c:v>57.892176079999999</c:v>
                      </c:pt>
                      <c:pt idx="1628">
                        <c:v>58.401914290000001</c:v>
                      </c:pt>
                      <c:pt idx="1629">
                        <c:v>58.912928770000001</c:v>
                      </c:pt>
                      <c:pt idx="1630">
                        <c:v>59.082756430000003</c:v>
                      </c:pt>
                      <c:pt idx="1631">
                        <c:v>65.379567690000002</c:v>
                      </c:pt>
                      <c:pt idx="1632">
                        <c:v>65.719393170000004</c:v>
                      </c:pt>
                      <c:pt idx="1633">
                        <c:v>68.952755179999997</c:v>
                      </c:pt>
                      <c:pt idx="1634">
                        <c:v>69.794235880000002</c:v>
                      </c:pt>
                      <c:pt idx="1635">
                        <c:v>73.887711999999993</c:v>
                      </c:pt>
                      <c:pt idx="1636">
                        <c:v>74.727916460000003</c:v>
                      </c:pt>
                      <c:pt idx="1637">
                        <c:v>74.908379620000005</c:v>
                      </c:pt>
                      <c:pt idx="1638">
                        <c:v>75.589306829999998</c:v>
                      </c:pt>
                      <c:pt idx="1639">
                        <c:v>76.770613030000007</c:v>
                      </c:pt>
                      <c:pt idx="1640">
                        <c:v>78.4709316</c:v>
                      </c:pt>
                      <c:pt idx="1641">
                        <c:v>94.137277539999999</c:v>
                      </c:pt>
                      <c:pt idx="1642">
                        <c:v>95.147394739999996</c:v>
                      </c:pt>
                      <c:pt idx="1643">
                        <c:v>95.327857899999998</c:v>
                      </c:pt>
                      <c:pt idx="1644">
                        <c:v>96.000872290000004</c:v>
                      </c:pt>
                      <c:pt idx="1645">
                        <c:v>108.43121859999999</c:v>
                      </c:pt>
                      <c:pt idx="1646">
                        <c:v>117.6109309</c:v>
                      </c:pt>
                      <c:pt idx="1647">
                        <c:v>118.2904968</c:v>
                      </c:pt>
                      <c:pt idx="1648">
                        <c:v>122.7158005</c:v>
                      </c:pt>
                      <c:pt idx="1649">
                        <c:v>123.0649001</c:v>
                      </c:pt>
                      <c:pt idx="1650">
                        <c:v>143.1404689</c:v>
                      </c:pt>
                      <c:pt idx="1651">
                        <c:v>152.66757910000001</c:v>
                      </c:pt>
                      <c:pt idx="1652">
                        <c:v>158.45363119999999</c:v>
                      </c:pt>
                      <c:pt idx="1653">
                        <c:v>159.31391540000001</c:v>
                      </c:pt>
                      <c:pt idx="1654">
                        <c:v>159.82510009999999</c:v>
                      </c:pt>
                      <c:pt idx="1655">
                        <c:v>159.98573870000001</c:v>
                      </c:pt>
                      <c:pt idx="1656">
                        <c:v>160.49156300000001</c:v>
                      </c:pt>
                      <c:pt idx="1657">
                        <c:v>160.8341112</c:v>
                      </c:pt>
                      <c:pt idx="1658">
                        <c:v>161.00274769999999</c:v>
                      </c:pt>
                      <c:pt idx="1659">
                        <c:v>161.17266040000001</c:v>
                      </c:pt>
                      <c:pt idx="1660">
                        <c:v>161.41030000000001</c:v>
                      </c:pt>
                      <c:pt idx="1661">
                        <c:v>161.50740630000001</c:v>
                      </c:pt>
                      <c:pt idx="1662">
                        <c:v>161.67552029999999</c:v>
                      </c:pt>
                      <c:pt idx="1663">
                        <c:v>161.73304659999999</c:v>
                      </c:pt>
                      <c:pt idx="1664">
                        <c:v>161.7906017</c:v>
                      </c:pt>
                      <c:pt idx="1665">
                        <c:v>161.90746920000001</c:v>
                      </c:pt>
                      <c:pt idx="1666">
                        <c:v>161.96364159999999</c:v>
                      </c:pt>
                      <c:pt idx="1667">
                        <c:v>162.07826209999999</c:v>
                      </c:pt>
                      <c:pt idx="1668">
                        <c:v>162.1362494</c:v>
                      </c:pt>
                      <c:pt idx="1669">
                        <c:v>162.19605139999999</c:v>
                      </c:pt>
                      <c:pt idx="1670">
                        <c:v>162.2522238</c:v>
                      </c:pt>
                      <c:pt idx="1671">
                        <c:v>162.30931810000001</c:v>
                      </c:pt>
                      <c:pt idx="1672">
                        <c:v>162.36684439999999</c:v>
                      </c:pt>
                      <c:pt idx="1673">
                        <c:v>162.4248316</c:v>
                      </c:pt>
                      <c:pt idx="1674">
                        <c:v>162.48149369999999</c:v>
                      </c:pt>
                      <c:pt idx="1675">
                        <c:v>162.59743940000001</c:v>
                      </c:pt>
                      <c:pt idx="1676">
                        <c:v>162.65499449999999</c:v>
                      </c:pt>
                      <c:pt idx="1677">
                        <c:v>162.76961510000001</c:v>
                      </c:pt>
                      <c:pt idx="1678">
                        <c:v>162.8276023</c:v>
                      </c:pt>
                      <c:pt idx="1679">
                        <c:v>162.82803440000001</c:v>
                      </c:pt>
                      <c:pt idx="1680">
                        <c:v>162.88558950000001</c:v>
                      </c:pt>
                      <c:pt idx="1681">
                        <c:v>162.9426838</c:v>
                      </c:pt>
                      <c:pt idx="1682">
                        <c:v>163.0586294</c:v>
                      </c:pt>
                      <c:pt idx="1683">
                        <c:v>163.17417180000001</c:v>
                      </c:pt>
                      <c:pt idx="1684">
                        <c:v>163.2308051</c:v>
                      </c:pt>
                      <c:pt idx="1685">
                        <c:v>163.2883314</c:v>
                      </c:pt>
                      <c:pt idx="1686">
                        <c:v>163.6340079</c:v>
                      </c:pt>
                      <c:pt idx="1687">
                        <c:v>163.7499823</c:v>
                      </c:pt>
                      <c:pt idx="1688">
                        <c:v>163.86549590000001</c:v>
                      </c:pt>
                      <c:pt idx="1689">
                        <c:v>164.0385646</c:v>
                      </c:pt>
                      <c:pt idx="1690">
                        <c:v>164.09519789999999</c:v>
                      </c:pt>
                      <c:pt idx="1691">
                        <c:v>164.21117229999999</c:v>
                      </c:pt>
                      <c:pt idx="1692">
                        <c:v>164.32625379999999</c:v>
                      </c:pt>
                      <c:pt idx="1693">
                        <c:v>164.38331919999999</c:v>
                      </c:pt>
                      <c:pt idx="1694">
                        <c:v>164.44087429999999</c:v>
                      </c:pt>
                      <c:pt idx="1695">
                        <c:v>164.55684880000001</c:v>
                      </c:pt>
                      <c:pt idx="1696">
                        <c:v>164.61437509999999</c:v>
                      </c:pt>
                      <c:pt idx="1697">
                        <c:v>164.86789999999999</c:v>
                      </c:pt>
                      <c:pt idx="1698">
                        <c:v>165.19815</c:v>
                      </c:pt>
                      <c:pt idx="1699">
                        <c:v>165.74755830000001</c:v>
                      </c:pt>
                      <c:pt idx="1700">
                        <c:v>166.8417005</c:v>
                      </c:pt>
                      <c:pt idx="1701">
                        <c:v>167.9487666</c:v>
                      </c:pt>
                      <c:pt idx="1702">
                        <c:v>168.49350039999999</c:v>
                      </c:pt>
                      <c:pt idx="1703">
                        <c:v>169.60056650000001</c:v>
                      </c:pt>
                      <c:pt idx="1704">
                        <c:v>170.14997489999999</c:v>
                      </c:pt>
                      <c:pt idx="1705">
                        <c:v>170.69910830000001</c:v>
                      </c:pt>
                      <c:pt idx="1706">
                        <c:v>171.24411699999999</c:v>
                      </c:pt>
                      <c:pt idx="1707">
                        <c:v>172.35118320000001</c:v>
                      </c:pt>
                      <c:pt idx="1708">
                        <c:v>172.89179229999999</c:v>
                      </c:pt>
                      <c:pt idx="1709">
                        <c:v>173.11920000000001</c:v>
                      </c:pt>
                      <c:pt idx="1710">
                        <c:v>173.48001550000001</c:v>
                      </c:pt>
                      <c:pt idx="1711">
                        <c:v>174.67542359999999</c:v>
                      </c:pt>
                      <c:pt idx="1712">
                        <c:v>175.87563840000001</c:v>
                      </c:pt>
                      <c:pt idx="1713">
                        <c:v>176.4804025</c:v>
                      </c:pt>
                      <c:pt idx="1714">
                        <c:v>178.2898879</c:v>
                      </c:pt>
                      <c:pt idx="1715">
                        <c:v>178.89014560000001</c:v>
                      </c:pt>
                      <c:pt idx="1716">
                        <c:v>180.09006009999999</c:v>
                      </c:pt>
                      <c:pt idx="1717">
                        <c:v>180.6948242</c:v>
                      </c:pt>
                      <c:pt idx="1718">
                        <c:v>181.89954549999999</c:v>
                      </c:pt>
                      <c:pt idx="1719">
                        <c:v>182.07769999999999</c:v>
                      </c:pt>
                      <c:pt idx="1720">
                        <c:v>182.33757399999999</c:v>
                      </c:pt>
                      <c:pt idx="1721">
                        <c:v>183.07684520000001</c:v>
                      </c:pt>
                      <c:pt idx="1722">
                        <c:v>183.44074280000001</c:v>
                      </c:pt>
                      <c:pt idx="1723">
                        <c:v>183.81037839999999</c:v>
                      </c:pt>
                      <c:pt idx="1724">
                        <c:v>184.9250231</c:v>
                      </c:pt>
                      <c:pt idx="1725">
                        <c:v>194.922583</c:v>
                      </c:pt>
                      <c:pt idx="1726">
                        <c:v>196.40408690000001</c:v>
                      </c:pt>
                      <c:pt idx="1727">
                        <c:v>196.77372249999999</c:v>
                      </c:pt>
                      <c:pt idx="1728">
                        <c:v>197.1403966</c:v>
                      </c:pt>
                      <c:pt idx="1729">
                        <c:v>197.51003209999999</c:v>
                      </c:pt>
                      <c:pt idx="1730">
                        <c:v>197.88540570000001</c:v>
                      </c:pt>
                      <c:pt idx="1731">
                        <c:v>198.25800280000001</c:v>
                      </c:pt>
                      <c:pt idx="1732">
                        <c:v>198.6246769</c:v>
                      </c:pt>
                      <c:pt idx="1733">
                        <c:v>198.73740000000001</c:v>
                      </c:pt>
                      <c:pt idx="1734">
                        <c:v>198.75994069999999</c:v>
                      </c:pt>
                      <c:pt idx="1735">
                        <c:v>198.7921278</c:v>
                      </c:pt>
                      <c:pt idx="1736">
                        <c:v>199.01990570000001</c:v>
                      </c:pt>
                      <c:pt idx="1737">
                        <c:v>199.05181669999999</c:v>
                      </c:pt>
                      <c:pt idx="1738">
                        <c:v>199.08450719999999</c:v>
                      </c:pt>
                      <c:pt idx="1739">
                        <c:v>199.11693779999999</c:v>
                      </c:pt>
                      <c:pt idx="1740">
                        <c:v>199.14987189999999</c:v>
                      </c:pt>
                      <c:pt idx="1741">
                        <c:v>199.1817992</c:v>
                      </c:pt>
                      <c:pt idx="1742">
                        <c:v>199.21499309999999</c:v>
                      </c:pt>
                      <c:pt idx="1743">
                        <c:v>199.24742380000001</c:v>
                      </c:pt>
                      <c:pt idx="1744">
                        <c:v>199.2798544</c:v>
                      </c:pt>
                      <c:pt idx="1745">
                        <c:v>199.3122851</c:v>
                      </c:pt>
                      <c:pt idx="1746">
                        <c:v>199.34471579999999</c:v>
                      </c:pt>
                      <c:pt idx="1747">
                        <c:v>199.37714639999999</c:v>
                      </c:pt>
                      <c:pt idx="1748">
                        <c:v>199.4093173</c:v>
                      </c:pt>
                      <c:pt idx="1749">
                        <c:v>199.4417479</c:v>
                      </c:pt>
                      <c:pt idx="1750">
                        <c:v>199.474682</c:v>
                      </c:pt>
                      <c:pt idx="1751">
                        <c:v>199.50660930000001</c:v>
                      </c:pt>
                      <c:pt idx="1752">
                        <c:v>199.53954340000001</c:v>
                      </c:pt>
                      <c:pt idx="1753">
                        <c:v>199.57197400000001</c:v>
                      </c:pt>
                      <c:pt idx="1754">
                        <c:v>199.60466450000001</c:v>
                      </c:pt>
                      <c:pt idx="1755">
                        <c:v>199.6370952</c:v>
                      </c:pt>
                      <c:pt idx="1756">
                        <c:v>199.6695259</c:v>
                      </c:pt>
                      <c:pt idx="1757">
                        <c:v>199.70195649999999</c:v>
                      </c:pt>
                      <c:pt idx="1758">
                        <c:v>199.76707769999999</c:v>
                      </c:pt>
                      <c:pt idx="1759">
                        <c:v>199.79950840000001</c:v>
                      </c:pt>
                      <c:pt idx="1760">
                        <c:v>199.86410979999999</c:v>
                      </c:pt>
                      <c:pt idx="1761">
                        <c:v>199.8968003</c:v>
                      </c:pt>
                      <c:pt idx="1762">
                        <c:v>199.9614018</c:v>
                      </c:pt>
                      <c:pt idx="1763">
                        <c:v>199.99433590000001</c:v>
                      </c:pt>
                      <c:pt idx="1764">
                        <c:v>200.02626319999999</c:v>
                      </c:pt>
                      <c:pt idx="1765">
                        <c:v>200.09188779999999</c:v>
                      </c:pt>
                      <c:pt idx="1766">
                        <c:v>200.1562457</c:v>
                      </c:pt>
                      <c:pt idx="1767">
                        <c:v>200.18968319999999</c:v>
                      </c:pt>
                      <c:pt idx="1768">
                        <c:v>200.25454450000001</c:v>
                      </c:pt>
                      <c:pt idx="1769">
                        <c:v>200.3186426</c:v>
                      </c:pt>
                      <c:pt idx="1770">
                        <c:v>200.35159290000001</c:v>
                      </c:pt>
                      <c:pt idx="1771">
                        <c:v>200.41619439999999</c:v>
                      </c:pt>
                      <c:pt idx="1772">
                        <c:v>200.4491285</c:v>
                      </c:pt>
                      <c:pt idx="1773">
                        <c:v>200.48105580000001</c:v>
                      </c:pt>
                      <c:pt idx="1774">
                        <c:v>200.64346889999999</c:v>
                      </c:pt>
                      <c:pt idx="1775">
                        <c:v>200.6766466</c:v>
                      </c:pt>
                      <c:pt idx="1776">
                        <c:v>200.74150789999999</c:v>
                      </c:pt>
                      <c:pt idx="1777">
                        <c:v>200.77393860000001</c:v>
                      </c:pt>
                      <c:pt idx="1778">
                        <c:v>200.8063693</c:v>
                      </c:pt>
                      <c:pt idx="1779">
                        <c:v>200.83855629999999</c:v>
                      </c:pt>
                      <c:pt idx="1780">
                        <c:v>200.8714904</c:v>
                      </c:pt>
                      <c:pt idx="1781">
                        <c:v>200.90392109999999</c:v>
                      </c:pt>
                      <c:pt idx="1782">
                        <c:v>200.968279</c:v>
                      </c:pt>
                      <c:pt idx="1783">
                        <c:v>201.0012131</c:v>
                      </c:pt>
                      <c:pt idx="1784">
                        <c:v>201.06633429999999</c:v>
                      </c:pt>
                      <c:pt idx="1785">
                        <c:v>201.09876489999999</c:v>
                      </c:pt>
                      <c:pt idx="1786">
                        <c:v>201.1306922</c:v>
                      </c:pt>
                      <c:pt idx="1787">
                        <c:v>201.17349999999999</c:v>
                      </c:pt>
                      <c:pt idx="1788">
                        <c:v>201.5927251</c:v>
                      </c:pt>
                      <c:pt idx="1789">
                        <c:v>202.1797598</c:v>
                      </c:pt>
                      <c:pt idx="1790">
                        <c:v>203.37711949999999</c:v>
                      </c:pt>
                      <c:pt idx="1791">
                        <c:v>203.9778895</c:v>
                      </c:pt>
                      <c:pt idx="1792">
                        <c:v>205.1752491</c:v>
                      </c:pt>
                      <c:pt idx="1793">
                        <c:v>205.7715402</c:v>
                      </c:pt>
                      <c:pt idx="1794">
                        <c:v>206.35857490000001</c:v>
                      </c:pt>
                      <c:pt idx="1795">
                        <c:v>206.96412230000001</c:v>
                      </c:pt>
                      <c:pt idx="1796">
                        <c:v>207.5651909</c:v>
                      </c:pt>
                      <c:pt idx="1797">
                        <c:v>208.151927</c:v>
                      </c:pt>
                      <c:pt idx="1798">
                        <c:v>209.3445092</c:v>
                      </c:pt>
                      <c:pt idx="1799">
                        <c:v>209.9548341</c:v>
                      </c:pt>
                      <c:pt idx="1800">
                        <c:v>210.1319</c:v>
                      </c:pt>
                      <c:pt idx="1801">
                        <c:v>210.4994648</c:v>
                      </c:pt>
                      <c:pt idx="1802">
                        <c:v>211.01416040000001</c:v>
                      </c:pt>
                      <c:pt idx="1803">
                        <c:v>211.54508730000001</c:v>
                      </c:pt>
                      <c:pt idx="1804">
                        <c:v>212.05978279999999</c:v>
                      </c:pt>
                      <c:pt idx="1805">
                        <c:v>212.59070980000001</c:v>
                      </c:pt>
                      <c:pt idx="1806">
                        <c:v>213.10959399999999</c:v>
                      </c:pt>
                      <c:pt idx="1807">
                        <c:v>213.64052100000001</c:v>
                      </c:pt>
                      <c:pt idx="1808">
                        <c:v>214.15521649999999</c:v>
                      </c:pt>
                      <c:pt idx="1809">
                        <c:v>215.20476600000001</c:v>
                      </c:pt>
                      <c:pt idx="1810">
                        <c:v>215.72757720000001</c:v>
                      </c:pt>
                      <c:pt idx="1811">
                        <c:v>216.25850410000001</c:v>
                      </c:pt>
                      <c:pt idx="1812">
                        <c:v>216.77319969999999</c:v>
                      </c:pt>
                      <c:pt idx="1813">
                        <c:v>217.30412670000001</c:v>
                      </c:pt>
                      <c:pt idx="1814">
                        <c:v>217.82301090000001</c:v>
                      </c:pt>
                      <c:pt idx="1815">
                        <c:v>217.99029999999999</c:v>
                      </c:pt>
                      <c:pt idx="1816">
                        <c:v>223.87865830000001</c:v>
                      </c:pt>
                      <c:pt idx="1817">
                        <c:v>227.31021569999999</c:v>
                      </c:pt>
                      <c:pt idx="1818">
                        <c:v>230.76601210000001</c:v>
                      </c:pt>
                      <c:pt idx="1819">
                        <c:v>234.19756910000001</c:v>
                      </c:pt>
                      <c:pt idx="1820">
                        <c:v>237.6550967</c:v>
                      </c:pt>
                      <c:pt idx="1821">
                        <c:v>241.1662967</c:v>
                      </c:pt>
                      <c:pt idx="1822">
                        <c:v>244.56842069999999</c:v>
                      </c:pt>
                      <c:pt idx="1823">
                        <c:v>248.07962069999999</c:v>
                      </c:pt>
                      <c:pt idx="1824">
                        <c:v>251.51117769999999</c:v>
                      </c:pt>
                      <c:pt idx="1825">
                        <c:v>255.04834790000001</c:v>
                      </c:pt>
                      <c:pt idx="1826">
                        <c:v>261.88202919999998</c:v>
                      </c:pt>
                      <c:pt idx="1827">
                        <c:v>265.36725869999998</c:v>
                      </c:pt>
                      <c:pt idx="1828">
                        <c:v>268.87845870000001</c:v>
                      </c:pt>
                      <c:pt idx="1829">
                        <c:v>270.01249999999999</c:v>
                      </c:pt>
                      <c:pt idx="1830">
                        <c:v>270.01765210000002</c:v>
                      </c:pt>
                      <c:pt idx="1831">
                        <c:v>270.02549629999999</c:v>
                      </c:pt>
                      <c:pt idx="1832">
                        <c:v>270.03347009999999</c:v>
                      </c:pt>
                      <c:pt idx="1833">
                        <c:v>270.04119250000002</c:v>
                      </c:pt>
                      <c:pt idx="1834">
                        <c:v>270.04910339999998</c:v>
                      </c:pt>
                      <c:pt idx="1835">
                        <c:v>270.05707330000001</c:v>
                      </c:pt>
                      <c:pt idx="1836">
                        <c:v>270.06479569999999</c:v>
                      </c:pt>
                      <c:pt idx="1837">
                        <c:v>270.07264370000001</c:v>
                      </c:pt>
                      <c:pt idx="1838">
                        <c:v>270.08840279999998</c:v>
                      </c:pt>
                      <c:pt idx="1839">
                        <c:v>270.09630979999997</c:v>
                      </c:pt>
                      <c:pt idx="1840">
                        <c:v>270.09637270000002</c:v>
                      </c:pt>
                      <c:pt idx="1841">
                        <c:v>270.10409499999997</c:v>
                      </c:pt>
                      <c:pt idx="1842">
                        <c:v>270.11194310000002</c:v>
                      </c:pt>
                      <c:pt idx="1843">
                        <c:v>270.1198541</c:v>
                      </c:pt>
                      <c:pt idx="1844">
                        <c:v>270.13567210000002</c:v>
                      </c:pt>
                      <c:pt idx="1845">
                        <c:v>270.14339439999998</c:v>
                      </c:pt>
                      <c:pt idx="1846">
                        <c:v>270.17484960000002</c:v>
                      </c:pt>
                      <c:pt idx="1847">
                        <c:v>270.18269379999998</c:v>
                      </c:pt>
                      <c:pt idx="1848">
                        <c:v>270.19054180000001</c:v>
                      </c:pt>
                      <c:pt idx="1849">
                        <c:v>270.20630089999997</c:v>
                      </c:pt>
                      <c:pt idx="1850">
                        <c:v>270.21432970000001</c:v>
                      </c:pt>
                      <c:pt idx="1851">
                        <c:v>270.2221189</c:v>
                      </c:pt>
                      <c:pt idx="1852">
                        <c:v>270.23781109999999</c:v>
                      </c:pt>
                      <c:pt idx="1853">
                        <c:v>270.24560020000001</c:v>
                      </c:pt>
                      <c:pt idx="1854">
                        <c:v>270.25344439999998</c:v>
                      </c:pt>
                      <c:pt idx="1855">
                        <c:v>270.2692624</c:v>
                      </c:pt>
                      <c:pt idx="1856">
                        <c:v>270.27705150000003</c:v>
                      </c:pt>
                      <c:pt idx="1857">
                        <c:v>270.28489960000002</c:v>
                      </c:pt>
                      <c:pt idx="1858">
                        <c:v>270.29274379999998</c:v>
                      </c:pt>
                      <c:pt idx="1859">
                        <c:v>270.30071759999998</c:v>
                      </c:pt>
                      <c:pt idx="1860">
                        <c:v>270.3084399</c:v>
                      </c:pt>
                      <c:pt idx="1861">
                        <c:v>270.31640979999997</c:v>
                      </c:pt>
                      <c:pt idx="1862">
                        <c:v>270.33204310000002</c:v>
                      </c:pt>
                      <c:pt idx="1863">
                        <c:v>270.34001699999999</c:v>
                      </c:pt>
                      <c:pt idx="1864">
                        <c:v>270.34780219999999</c:v>
                      </c:pt>
                      <c:pt idx="1865">
                        <c:v>270.35565020000001</c:v>
                      </c:pt>
                      <c:pt idx="1866">
                        <c:v>270.37146819999998</c:v>
                      </c:pt>
                      <c:pt idx="1867">
                        <c:v>270.37919060000002</c:v>
                      </c:pt>
                      <c:pt idx="1868">
                        <c:v>270.38716049999999</c:v>
                      </c:pt>
                      <c:pt idx="1869">
                        <c:v>270.40279770000001</c:v>
                      </c:pt>
                      <c:pt idx="1870">
                        <c:v>270.41064180000001</c:v>
                      </c:pt>
                      <c:pt idx="1871">
                        <c:v>270.41861569999998</c:v>
                      </c:pt>
                      <c:pt idx="1872">
                        <c:v>270.42633799999999</c:v>
                      </c:pt>
                      <c:pt idx="1873">
                        <c:v>270.44209710000001</c:v>
                      </c:pt>
                      <c:pt idx="1874">
                        <c:v>270.45012589999999</c:v>
                      </c:pt>
                      <c:pt idx="1875">
                        <c:v>270.45791109999999</c:v>
                      </c:pt>
                      <c:pt idx="1876">
                        <c:v>270.46563739999999</c:v>
                      </c:pt>
                      <c:pt idx="1877">
                        <c:v>270.49727339999998</c:v>
                      </c:pt>
                      <c:pt idx="1878">
                        <c:v>270.50505859999998</c:v>
                      </c:pt>
                      <c:pt idx="1879">
                        <c:v>270.51284770000001</c:v>
                      </c:pt>
                      <c:pt idx="1880">
                        <c:v>270.52081759999999</c:v>
                      </c:pt>
                      <c:pt idx="1881">
                        <c:v>270.5285399</c:v>
                      </c:pt>
                      <c:pt idx="1882">
                        <c:v>270.54423609999998</c:v>
                      </c:pt>
                      <c:pt idx="1883">
                        <c:v>270.55214710000001</c:v>
                      </c:pt>
                      <c:pt idx="1884">
                        <c:v>270.56011699999999</c:v>
                      </c:pt>
                      <c:pt idx="1885">
                        <c:v>270.5678393</c:v>
                      </c:pt>
                      <c:pt idx="1886">
                        <c:v>270.58365730000003</c:v>
                      </c:pt>
                      <c:pt idx="1887">
                        <c:v>270.5914464</c:v>
                      </c:pt>
                      <c:pt idx="1888">
                        <c:v>270.59941629999997</c:v>
                      </c:pt>
                      <c:pt idx="1889">
                        <c:v>270.61498669999997</c:v>
                      </c:pt>
                      <c:pt idx="1890">
                        <c:v>270.62289770000001</c:v>
                      </c:pt>
                      <c:pt idx="1891">
                        <c:v>270.63086759999999</c:v>
                      </c:pt>
                      <c:pt idx="1892">
                        <c:v>270.64656380000002</c:v>
                      </c:pt>
                      <c:pt idx="1893">
                        <c:v>270.65428609999998</c:v>
                      </c:pt>
                      <c:pt idx="1894">
                        <c:v>270.66225600000001</c:v>
                      </c:pt>
                      <c:pt idx="1895">
                        <c:v>270.6778893</c:v>
                      </c:pt>
                      <c:pt idx="1896">
                        <c:v>270.68592210000003</c:v>
                      </c:pt>
                      <c:pt idx="1897">
                        <c:v>270.69370730000003</c:v>
                      </c:pt>
                      <c:pt idx="1898">
                        <c:v>270.70940350000001</c:v>
                      </c:pt>
                      <c:pt idx="1899">
                        <c:v>270.71718870000001</c:v>
                      </c:pt>
                      <c:pt idx="1900">
                        <c:v>270.72516250000001</c:v>
                      </c:pt>
                      <c:pt idx="1901">
                        <c:v>270.73288480000002</c:v>
                      </c:pt>
                      <c:pt idx="1902">
                        <c:v>270.76433609999998</c:v>
                      </c:pt>
                      <c:pt idx="1903">
                        <c:v>270.77218420000003</c:v>
                      </c:pt>
                      <c:pt idx="1904">
                        <c:v>270.7801541</c:v>
                      </c:pt>
                      <c:pt idx="1905">
                        <c:v>270.79578739999999</c:v>
                      </c:pt>
                      <c:pt idx="1906">
                        <c:v>270.80375729999997</c:v>
                      </c:pt>
                      <c:pt idx="1907">
                        <c:v>270.81148359999997</c:v>
                      </c:pt>
                      <c:pt idx="1908">
                        <c:v>270.81939449999999</c:v>
                      </c:pt>
                      <c:pt idx="1909">
                        <c:v>270.82730149999998</c:v>
                      </c:pt>
                      <c:pt idx="1910">
                        <c:v>270.8350868</c:v>
                      </c:pt>
                      <c:pt idx="1911">
                        <c:v>270.84305669999998</c:v>
                      </c:pt>
                      <c:pt idx="1912">
                        <c:v>270.85875279999999</c:v>
                      </c:pt>
                      <c:pt idx="1913">
                        <c:v>270.86653799999999</c:v>
                      </c:pt>
                      <c:pt idx="1914">
                        <c:v>270.87451190000002</c:v>
                      </c:pt>
                      <c:pt idx="1915">
                        <c:v>270.88223420000003</c:v>
                      </c:pt>
                      <c:pt idx="1916">
                        <c:v>270.89008230000002</c:v>
                      </c:pt>
                      <c:pt idx="1917">
                        <c:v>270.89799319999997</c:v>
                      </c:pt>
                      <c:pt idx="1918">
                        <c:v>270.9058374</c:v>
                      </c:pt>
                      <c:pt idx="1919">
                        <c:v>270.91368549999999</c:v>
                      </c:pt>
                      <c:pt idx="1920">
                        <c:v>270.92950350000001</c:v>
                      </c:pt>
                      <c:pt idx="1921">
                        <c:v>270.93722969999999</c:v>
                      </c:pt>
                      <c:pt idx="1922">
                        <c:v>270.94526250000001</c:v>
                      </c:pt>
                      <c:pt idx="1923">
                        <c:v>270.95549999999997</c:v>
                      </c:pt>
                      <c:pt idx="1924">
                        <c:v>270.97003960000001</c:v>
                      </c:pt>
                      <c:pt idx="1925">
                        <c:v>270.99063389999998</c:v>
                      </c:pt>
                      <c:pt idx="1926">
                        <c:v>271.01187759999999</c:v>
                      </c:pt>
                      <c:pt idx="1927">
                        <c:v>271.09555369999998</c:v>
                      </c:pt>
                      <c:pt idx="1928">
                        <c:v>271.26354470000001</c:v>
                      </c:pt>
                      <c:pt idx="1929">
                        <c:v>271.28429610000001</c:v>
                      </c:pt>
                      <c:pt idx="1930">
                        <c:v>271.30489039999998</c:v>
                      </c:pt>
                      <c:pt idx="1931">
                        <c:v>271.34688549999998</c:v>
                      </c:pt>
                      <c:pt idx="1932">
                        <c:v>271.36812930000002</c:v>
                      </c:pt>
                      <c:pt idx="1933">
                        <c:v>271.38872359999999</c:v>
                      </c:pt>
                      <c:pt idx="1934">
                        <c:v>271.40964259999998</c:v>
                      </c:pt>
                      <c:pt idx="1935">
                        <c:v>271.45163769999999</c:v>
                      </c:pt>
                      <c:pt idx="1936">
                        <c:v>271.47255669999998</c:v>
                      </c:pt>
                      <c:pt idx="1937">
                        <c:v>271.49395759999999</c:v>
                      </c:pt>
                      <c:pt idx="1938">
                        <c:v>271.53547090000001</c:v>
                      </c:pt>
                      <c:pt idx="1939">
                        <c:v>271.55671460000002</c:v>
                      </c:pt>
                      <c:pt idx="1940">
                        <c:v>271.57730889999999</c:v>
                      </c:pt>
                      <c:pt idx="1941">
                        <c:v>271.61962879999999</c:v>
                      </c:pt>
                      <c:pt idx="1942">
                        <c:v>271.64022299999999</c:v>
                      </c:pt>
                      <c:pt idx="1943">
                        <c:v>271.66146680000003</c:v>
                      </c:pt>
                      <c:pt idx="1944">
                        <c:v>271.70329429999998</c:v>
                      </c:pt>
                      <c:pt idx="1945">
                        <c:v>271.72388860000001</c:v>
                      </c:pt>
                      <c:pt idx="1946">
                        <c:v>271.74513230000002</c:v>
                      </c:pt>
                      <c:pt idx="1947">
                        <c:v>271.78680279999998</c:v>
                      </c:pt>
                      <c:pt idx="1948">
                        <c:v>271.80804649999999</c:v>
                      </c:pt>
                      <c:pt idx="1949">
                        <c:v>271.82864080000002</c:v>
                      </c:pt>
                      <c:pt idx="1950">
                        <c:v>271.87096070000001</c:v>
                      </c:pt>
                      <c:pt idx="1951">
                        <c:v>271.89155490000002</c:v>
                      </c:pt>
                      <c:pt idx="1952">
                        <c:v>271.91247390000001</c:v>
                      </c:pt>
                      <c:pt idx="1953">
                        <c:v>271.95446909999998</c:v>
                      </c:pt>
                      <c:pt idx="1954">
                        <c:v>271.9757128</c:v>
                      </c:pt>
                      <c:pt idx="1955">
                        <c:v>272.01755079999998</c:v>
                      </c:pt>
                      <c:pt idx="1956">
                        <c:v>272.03813459999998</c:v>
                      </c:pt>
                      <c:pt idx="1957">
                        <c:v>272.08014029999998</c:v>
                      </c:pt>
                      <c:pt idx="1958">
                        <c:v>272.10105929999997</c:v>
                      </c:pt>
                      <c:pt idx="1959">
                        <c:v>272.12246010000001</c:v>
                      </c:pt>
                      <c:pt idx="1960">
                        <c:v>272.16413060000002</c:v>
                      </c:pt>
                      <c:pt idx="1961">
                        <c:v>272.20629330000003</c:v>
                      </c:pt>
                      <c:pt idx="1962">
                        <c:v>272.22672</c:v>
                      </c:pt>
                      <c:pt idx="1963">
                        <c:v>272.24796370000001</c:v>
                      </c:pt>
                      <c:pt idx="1964">
                        <c:v>272.2896341</c:v>
                      </c:pt>
                      <c:pt idx="1965">
                        <c:v>272.31087789999998</c:v>
                      </c:pt>
                      <c:pt idx="1966">
                        <c:v>272.33147220000001</c:v>
                      </c:pt>
                      <c:pt idx="1967">
                        <c:v>272.37346730000002</c:v>
                      </c:pt>
                      <c:pt idx="1968">
                        <c:v>272.39438630000001</c:v>
                      </c:pt>
                      <c:pt idx="1969">
                        <c:v>272.4153053</c:v>
                      </c:pt>
                      <c:pt idx="1970">
                        <c:v>272.45714329999998</c:v>
                      </c:pt>
                      <c:pt idx="1971">
                        <c:v>272.47838710000002</c:v>
                      </c:pt>
                      <c:pt idx="1972">
                        <c:v>272.49913850000002</c:v>
                      </c:pt>
                      <c:pt idx="1973">
                        <c:v>272.54130120000002</c:v>
                      </c:pt>
                      <c:pt idx="1974">
                        <c:v>272.56205260000002</c:v>
                      </c:pt>
                      <c:pt idx="1975">
                        <c:v>272.58297160000001</c:v>
                      </c:pt>
                      <c:pt idx="1976">
                        <c:v>272.62480970000001</c:v>
                      </c:pt>
                      <c:pt idx="1977">
                        <c:v>272.64571819999998</c:v>
                      </c:pt>
                      <c:pt idx="1978">
                        <c:v>272.66680480000002</c:v>
                      </c:pt>
                      <c:pt idx="1979">
                        <c:v>272.68804849999998</c:v>
                      </c:pt>
                      <c:pt idx="1980">
                        <c:v>272.7717141</c:v>
                      </c:pt>
                      <c:pt idx="1981">
                        <c:v>272.79280069999999</c:v>
                      </c:pt>
                      <c:pt idx="1982">
                        <c:v>272.83479590000002</c:v>
                      </c:pt>
                      <c:pt idx="1983">
                        <c:v>272.8415</c:v>
                      </c:pt>
                      <c:pt idx="1984">
                        <c:v>272.84184329999999</c:v>
                      </c:pt>
                      <c:pt idx="1985">
                        <c:v>272.84237050000002</c:v>
                      </c:pt>
                      <c:pt idx="1986">
                        <c:v>272.84341710000001</c:v>
                      </c:pt>
                      <c:pt idx="1987">
                        <c:v>272.84394040000001</c:v>
                      </c:pt>
                      <c:pt idx="1988">
                        <c:v>272.84447189999997</c:v>
                      </c:pt>
                      <c:pt idx="1989">
                        <c:v>272.84499099999999</c:v>
                      </c:pt>
                      <c:pt idx="1990">
                        <c:v>272.84603759999999</c:v>
                      </c:pt>
                      <c:pt idx="1991">
                        <c:v>272.84656899999999</c:v>
                      </c:pt>
                      <c:pt idx="1992">
                        <c:v>272.84708419999998</c:v>
                      </c:pt>
                      <c:pt idx="1993">
                        <c:v>272.84813480000003</c:v>
                      </c:pt>
                      <c:pt idx="1994">
                        <c:v>272.84866620000003</c:v>
                      </c:pt>
                      <c:pt idx="1995">
                        <c:v>272.84918140000002</c:v>
                      </c:pt>
                      <c:pt idx="1996">
                        <c:v>272.85023189999998</c:v>
                      </c:pt>
                      <c:pt idx="1997">
                        <c:v>272.85075519999998</c:v>
                      </c:pt>
                      <c:pt idx="1998">
                        <c:v>272.8512867</c:v>
                      </c:pt>
                      <c:pt idx="1999">
                        <c:v>272.85233299999999</c:v>
                      </c:pt>
                      <c:pt idx="2000">
                        <c:v>272.85285240000002</c:v>
                      </c:pt>
                      <c:pt idx="2001">
                        <c:v>272.85337550000003</c:v>
                      </c:pt>
                      <c:pt idx="2002">
                        <c:v>272.85442210000002</c:v>
                      </c:pt>
                      <c:pt idx="2003">
                        <c:v>272.8549577</c:v>
                      </c:pt>
                      <c:pt idx="2004">
                        <c:v>272.85547259999998</c:v>
                      </c:pt>
                      <c:pt idx="2005">
                        <c:v>272.85600399999998</c:v>
                      </c:pt>
                      <c:pt idx="2006">
                        <c:v>272.85704249999998</c:v>
                      </c:pt>
                      <c:pt idx="2007">
                        <c:v>272.85756579999997</c:v>
                      </c:pt>
                      <c:pt idx="2008">
                        <c:v>272.85861640000002</c:v>
                      </c:pt>
                      <c:pt idx="2009">
                        <c:v>272.86280649999998</c:v>
                      </c:pt>
                      <c:pt idx="2010">
                        <c:v>272.863338</c:v>
                      </c:pt>
                      <c:pt idx="2011">
                        <c:v>272.86385730000001</c:v>
                      </c:pt>
                      <c:pt idx="2012">
                        <c:v>272.86490370000001</c:v>
                      </c:pt>
                      <c:pt idx="2013">
                        <c:v>272.86543510000001</c:v>
                      </c:pt>
                      <c:pt idx="2014">
                        <c:v>272.86595449999999</c:v>
                      </c:pt>
                      <c:pt idx="2015">
                        <c:v>272.86647749999997</c:v>
                      </c:pt>
                      <c:pt idx="2016">
                        <c:v>272.86700089999999</c:v>
                      </c:pt>
                      <c:pt idx="2017">
                        <c:v>272.86752419999999</c:v>
                      </c:pt>
                      <c:pt idx="2018">
                        <c:v>272.86805170000002</c:v>
                      </c:pt>
                      <c:pt idx="2019">
                        <c:v>272.86857889999999</c:v>
                      </c:pt>
                      <c:pt idx="2020">
                        <c:v>272.86909800000001</c:v>
                      </c:pt>
                      <c:pt idx="2021">
                        <c:v>272.86962949999997</c:v>
                      </c:pt>
                      <c:pt idx="2022">
                        <c:v>272.8701446</c:v>
                      </c:pt>
                      <c:pt idx="2023">
                        <c:v>272.87119519999999</c:v>
                      </c:pt>
                      <c:pt idx="2024">
                        <c:v>272.87171849999999</c:v>
                      </c:pt>
                      <c:pt idx="2025">
                        <c:v>272.87224179999998</c:v>
                      </c:pt>
                      <c:pt idx="2026">
                        <c:v>272.87329649999998</c:v>
                      </c:pt>
                      <c:pt idx="2027">
                        <c:v>272.87381570000002</c:v>
                      </c:pt>
                      <c:pt idx="2028">
                        <c:v>272.87433900000002</c:v>
                      </c:pt>
                      <c:pt idx="2029">
                        <c:v>272.8753853</c:v>
                      </c:pt>
                      <c:pt idx="2030">
                        <c:v>272.8759086</c:v>
                      </c:pt>
                      <c:pt idx="2031">
                        <c:v>272.87644010000002</c:v>
                      </c:pt>
                      <c:pt idx="2032">
                        <c:v>272.87695939999998</c:v>
                      </c:pt>
                      <c:pt idx="2033">
                        <c:v>272.87748249999999</c:v>
                      </c:pt>
                      <c:pt idx="2034">
                        <c:v>272.87801389999998</c:v>
                      </c:pt>
                      <c:pt idx="2035">
                        <c:v>272.87853330000002</c:v>
                      </c:pt>
                      <c:pt idx="2036">
                        <c:v>272.88062630000002</c:v>
                      </c:pt>
                      <c:pt idx="2037">
                        <c:v>272.88114960000001</c:v>
                      </c:pt>
                      <c:pt idx="2038">
                        <c:v>272.8832549</c:v>
                      </c:pt>
                      <c:pt idx="2039">
                        <c:v>272.88377400000002</c:v>
                      </c:pt>
                      <c:pt idx="2040">
                        <c:v>272.88430540000002</c:v>
                      </c:pt>
                      <c:pt idx="2041">
                        <c:v>272.88535200000001</c:v>
                      </c:pt>
                      <c:pt idx="2042">
                        <c:v>272.8858669</c:v>
                      </c:pt>
                      <c:pt idx="2043">
                        <c:v>272.88639439999997</c:v>
                      </c:pt>
                      <c:pt idx="2044">
                        <c:v>272.88848739999997</c:v>
                      </c:pt>
                      <c:pt idx="2045">
                        <c:v>272.88953800000002</c:v>
                      </c:pt>
                      <c:pt idx="2046">
                        <c:v>272.89006940000002</c:v>
                      </c:pt>
                      <c:pt idx="2047">
                        <c:v>272.89058460000001</c:v>
                      </c:pt>
                      <c:pt idx="2048">
                        <c:v>272.89163120000001</c:v>
                      </c:pt>
                      <c:pt idx="2049">
                        <c:v>272.89215840000003</c:v>
                      </c:pt>
                      <c:pt idx="2050">
                        <c:v>272.89268989999999</c:v>
                      </c:pt>
                      <c:pt idx="2051">
                        <c:v>272.89373649999999</c:v>
                      </c:pt>
                      <c:pt idx="2052">
                        <c:v>272.89425560000001</c:v>
                      </c:pt>
                      <c:pt idx="2053">
                        <c:v>272.89477890000001</c:v>
                      </c:pt>
                      <c:pt idx="2054">
                        <c:v>272.8953022</c:v>
                      </c:pt>
                      <c:pt idx="2055">
                        <c:v>272.8958336</c:v>
                      </c:pt>
                      <c:pt idx="2056">
                        <c:v>272.89634860000001</c:v>
                      </c:pt>
                      <c:pt idx="2057">
                        <c:v>272.89688000000001</c:v>
                      </c:pt>
                      <c:pt idx="2058">
                        <c:v>272.89793079999998</c:v>
                      </c:pt>
                      <c:pt idx="2059">
                        <c:v>272.89844570000002</c:v>
                      </c:pt>
                      <c:pt idx="2060">
                        <c:v>272.89897719999999</c:v>
                      </c:pt>
                      <c:pt idx="2061">
                        <c:v>272.8994965</c:v>
                      </c:pt>
                      <c:pt idx="2062">
                        <c:v>272.90001960000001</c:v>
                      </c:pt>
                      <c:pt idx="2063">
                        <c:v>272.90421809999998</c:v>
                      </c:pt>
                      <c:pt idx="2064">
                        <c:v>272.9047453</c:v>
                      </c:pt>
                      <c:pt idx="2065">
                        <c:v>272.9052605</c:v>
                      </c:pt>
                      <c:pt idx="2066">
                        <c:v>272.90579200000002</c:v>
                      </c:pt>
                      <c:pt idx="2067">
                        <c:v>272.9063069</c:v>
                      </c:pt>
                      <c:pt idx="2068">
                        <c:v>272.9068383</c:v>
                      </c:pt>
                      <c:pt idx="2069">
                        <c:v>272.9073616</c:v>
                      </c:pt>
                      <c:pt idx="2070">
                        <c:v>272.90788099999997</c:v>
                      </c:pt>
                      <c:pt idx="2071">
                        <c:v>272.90840400000002</c:v>
                      </c:pt>
                      <c:pt idx="2072">
                        <c:v>272.90892739999998</c:v>
                      </c:pt>
                      <c:pt idx="2073">
                        <c:v>272.90945879999998</c:v>
                      </c:pt>
                      <c:pt idx="2074">
                        <c:v>272.9105012</c:v>
                      </c:pt>
                      <c:pt idx="2075">
                        <c:v>272.9110245</c:v>
                      </c:pt>
                      <c:pt idx="2076">
                        <c:v>272.91154779999999</c:v>
                      </c:pt>
                      <c:pt idx="2077">
                        <c:v>272.91259839999998</c:v>
                      </c:pt>
                      <c:pt idx="2078">
                        <c:v>272.91312169999998</c:v>
                      </c:pt>
                      <c:pt idx="2079">
                        <c:v>272.91365309999998</c:v>
                      </c:pt>
                      <c:pt idx="2080">
                        <c:v>272.91416829999997</c:v>
                      </c:pt>
                      <c:pt idx="2081">
                        <c:v>272.91469970000003</c:v>
                      </c:pt>
                      <c:pt idx="2082">
                        <c:v>272.91521879999999</c:v>
                      </c:pt>
                      <c:pt idx="2083">
                        <c:v>272.91574220000001</c:v>
                      </c:pt>
                      <c:pt idx="2084">
                        <c:v>272.9167885</c:v>
                      </c:pt>
                      <c:pt idx="2085">
                        <c:v>272.91731600000003</c:v>
                      </c:pt>
                      <c:pt idx="2086">
                        <c:v>272.91784319999999</c:v>
                      </c:pt>
                      <c:pt idx="2087">
                        <c:v>272.91993230000003</c:v>
                      </c:pt>
                      <c:pt idx="2088">
                        <c:v>272.92009999999999</c:v>
                      </c:pt>
                      <c:pt idx="2089">
                        <c:v>272.94046209999999</c:v>
                      </c:pt>
                      <c:pt idx="2090">
                        <c:v>273.00019789999999</c:v>
                      </c:pt>
                      <c:pt idx="2091">
                        <c:v>273.0293757</c:v>
                      </c:pt>
                      <c:pt idx="2092">
                        <c:v>273.05947359999999</c:v>
                      </c:pt>
                      <c:pt idx="2093">
                        <c:v>273.08887399999998</c:v>
                      </c:pt>
                      <c:pt idx="2094">
                        <c:v>273.14814969999998</c:v>
                      </c:pt>
                      <c:pt idx="2095">
                        <c:v>273.17824769999999</c:v>
                      </c:pt>
                      <c:pt idx="2096">
                        <c:v>273.2074106</c:v>
                      </c:pt>
                      <c:pt idx="2097">
                        <c:v>273.32664469999997</c:v>
                      </c:pt>
                      <c:pt idx="2098">
                        <c:v>273.35605989999999</c:v>
                      </c:pt>
                      <c:pt idx="2099">
                        <c:v>273.3856978</c:v>
                      </c:pt>
                      <c:pt idx="2100">
                        <c:v>273.41532080000002</c:v>
                      </c:pt>
                      <c:pt idx="2101">
                        <c:v>273.4454187</c:v>
                      </c:pt>
                      <c:pt idx="2102">
                        <c:v>273.47459650000002</c:v>
                      </c:pt>
                      <c:pt idx="2103">
                        <c:v>273.53455489999999</c:v>
                      </c:pt>
                      <c:pt idx="2104">
                        <c:v>273.5637327</c:v>
                      </c:pt>
                      <c:pt idx="2105">
                        <c:v>273.59383059999999</c:v>
                      </c:pt>
                      <c:pt idx="2106">
                        <c:v>273.6230084</c:v>
                      </c:pt>
                      <c:pt idx="2107">
                        <c:v>273.6825068</c:v>
                      </c:pt>
                      <c:pt idx="2108">
                        <c:v>273.71260469999999</c:v>
                      </c:pt>
                      <c:pt idx="2109">
                        <c:v>273.7417825</c:v>
                      </c:pt>
                      <c:pt idx="2110">
                        <c:v>273.77188039999999</c:v>
                      </c:pt>
                      <c:pt idx="2111">
                        <c:v>273.80128079999997</c:v>
                      </c:pt>
                      <c:pt idx="2112">
                        <c:v>273.83137870000002</c:v>
                      </c:pt>
                      <c:pt idx="2113">
                        <c:v>273.86055649999997</c:v>
                      </c:pt>
                      <c:pt idx="2114">
                        <c:v>273.9198174</c:v>
                      </c:pt>
                      <c:pt idx="2115">
                        <c:v>273.94969270000001</c:v>
                      </c:pt>
                      <c:pt idx="2116">
                        <c:v>273.9797906</c:v>
                      </c:pt>
                      <c:pt idx="2117">
                        <c:v>274.03905150000003</c:v>
                      </c:pt>
                      <c:pt idx="2118">
                        <c:v>274.06822929999998</c:v>
                      </c:pt>
                      <c:pt idx="2119">
                        <c:v>274.1578255</c:v>
                      </c:pt>
                      <c:pt idx="2120">
                        <c:v>274.2171012</c:v>
                      </c:pt>
                      <c:pt idx="2121">
                        <c:v>274.24673910000001</c:v>
                      </c:pt>
                      <c:pt idx="2122">
                        <c:v>274.25599999999997</c:v>
                      </c:pt>
                      <c:pt idx="2123">
                        <c:v>274.42280899999997</c:v>
                      </c:pt>
                      <c:pt idx="2124">
                        <c:v>275.40657659999999</c:v>
                      </c:pt>
                      <c:pt idx="2125">
                        <c:v>275.65586819999999</c:v>
                      </c:pt>
                      <c:pt idx="2126">
                        <c:v>276.14289639999998</c:v>
                      </c:pt>
                      <c:pt idx="2127">
                        <c:v>276.39218799999998</c:v>
                      </c:pt>
                      <c:pt idx="2128">
                        <c:v>276.63963569999999</c:v>
                      </c:pt>
                      <c:pt idx="2129">
                        <c:v>277.13047469999998</c:v>
                      </c:pt>
                      <c:pt idx="2130">
                        <c:v>277.37214490000002</c:v>
                      </c:pt>
                      <c:pt idx="2131">
                        <c:v>277.62143650000002</c:v>
                      </c:pt>
                      <c:pt idx="2132">
                        <c:v>277.86876130000002</c:v>
                      </c:pt>
                      <c:pt idx="2133">
                        <c:v>277.94940000000003</c:v>
                      </c:pt>
                      <c:pt idx="2134">
                        <c:v>277.97474399999999</c:v>
                      </c:pt>
                      <c:pt idx="2135">
                        <c:v>278.01337910000001</c:v>
                      </c:pt>
                      <c:pt idx="2136">
                        <c:v>278.05261389999998</c:v>
                      </c:pt>
                      <c:pt idx="2137">
                        <c:v>278.0906493</c:v>
                      </c:pt>
                      <c:pt idx="2138">
                        <c:v>278.12988410000003</c:v>
                      </c:pt>
                      <c:pt idx="2139">
                        <c:v>278.16820969999998</c:v>
                      </c:pt>
                      <c:pt idx="2140">
                        <c:v>278.20744450000001</c:v>
                      </c:pt>
                      <c:pt idx="2141">
                        <c:v>278.24546049999998</c:v>
                      </c:pt>
                      <c:pt idx="2142">
                        <c:v>278.32304019999998</c:v>
                      </c:pt>
                      <c:pt idx="2143">
                        <c:v>278.36227509999998</c:v>
                      </c:pt>
                      <c:pt idx="2144">
                        <c:v>278.4002911</c:v>
                      </c:pt>
                      <c:pt idx="2145">
                        <c:v>278.478161</c:v>
                      </c:pt>
                      <c:pt idx="2146">
                        <c:v>278.51648649999998</c:v>
                      </c:pt>
                      <c:pt idx="2147">
                        <c:v>278.55572139999998</c:v>
                      </c:pt>
                      <c:pt idx="2148">
                        <c:v>278.67102690000002</c:v>
                      </c:pt>
                      <c:pt idx="2149">
                        <c:v>278.71026180000001</c:v>
                      </c:pt>
                      <c:pt idx="2150">
                        <c:v>278.7485873</c:v>
                      </c:pt>
                      <c:pt idx="2151">
                        <c:v>278.82585749999998</c:v>
                      </c:pt>
                      <c:pt idx="2152">
                        <c:v>278.86509230000001</c:v>
                      </c:pt>
                      <c:pt idx="2153">
                        <c:v>278.90341790000002</c:v>
                      </c:pt>
                      <c:pt idx="2154">
                        <c:v>278.94294289999999</c:v>
                      </c:pt>
                      <c:pt idx="2155">
                        <c:v>279.01930379999999</c:v>
                      </c:pt>
                      <c:pt idx="2156">
                        <c:v>279.05853860000002</c:v>
                      </c:pt>
                      <c:pt idx="2157">
                        <c:v>279.09686420000003</c:v>
                      </c:pt>
                      <c:pt idx="2158">
                        <c:v>279.13549929999999</c:v>
                      </c:pt>
                      <c:pt idx="2159">
                        <c:v>279.21336919999999</c:v>
                      </c:pt>
                      <c:pt idx="2160">
                        <c:v>279.25200430000001</c:v>
                      </c:pt>
                      <c:pt idx="2161">
                        <c:v>279.29032979999999</c:v>
                      </c:pt>
                      <c:pt idx="2162">
                        <c:v>279.36819980000001</c:v>
                      </c:pt>
                      <c:pt idx="2163">
                        <c:v>279.4062351</c:v>
                      </c:pt>
                      <c:pt idx="2164">
                        <c:v>279.44547</c:v>
                      </c:pt>
                      <c:pt idx="2165">
                        <c:v>279.52243060000001</c:v>
                      </c:pt>
                      <c:pt idx="2166">
                        <c:v>279.56104629999999</c:v>
                      </c:pt>
                      <c:pt idx="2167">
                        <c:v>279.60028119999998</c:v>
                      </c:pt>
                      <c:pt idx="2168">
                        <c:v>279.63862610000001</c:v>
                      </c:pt>
                      <c:pt idx="2169">
                        <c:v>279.71647669999999</c:v>
                      </c:pt>
                      <c:pt idx="2170">
                        <c:v>279.75451199999998</c:v>
                      </c:pt>
                      <c:pt idx="2171">
                        <c:v>279.79374680000001</c:v>
                      </c:pt>
                      <c:pt idx="2172">
                        <c:v>279.87070749999998</c:v>
                      </c:pt>
                      <c:pt idx="2173">
                        <c:v>279.9093426</c:v>
                      </c:pt>
                      <c:pt idx="2174">
                        <c:v>279.98661279999999</c:v>
                      </c:pt>
                      <c:pt idx="2175">
                        <c:v>280.02584760000002</c:v>
                      </c:pt>
                      <c:pt idx="2176">
                        <c:v>280.1806588</c:v>
                      </c:pt>
                      <c:pt idx="2177">
                        <c:v>280.2962546</c:v>
                      </c:pt>
                      <c:pt idx="2178">
                        <c:v>280.33579889999999</c:v>
                      </c:pt>
                      <c:pt idx="2179">
                        <c:v>280.37412449999999</c:v>
                      </c:pt>
                      <c:pt idx="2180">
                        <c:v>280.56759010000002</c:v>
                      </c:pt>
                      <c:pt idx="2181">
                        <c:v>280.60591570000003</c:v>
                      </c:pt>
                      <c:pt idx="2182">
                        <c:v>280.64455079999999</c:v>
                      </c:pt>
                      <c:pt idx="2183">
                        <c:v>280.68378560000002</c:v>
                      </c:pt>
                      <c:pt idx="2184">
                        <c:v>280.76043670000001</c:v>
                      </c:pt>
                      <c:pt idx="2185">
                        <c:v>280.79967160000001</c:v>
                      </c:pt>
                      <c:pt idx="2186">
                        <c:v>280.8379971</c:v>
                      </c:pt>
                      <c:pt idx="2187">
                        <c:v>280.91526729999998</c:v>
                      </c:pt>
                      <c:pt idx="2188">
                        <c:v>280.95450210000001</c:v>
                      </c:pt>
                      <c:pt idx="2189">
                        <c:v>280.99282770000002</c:v>
                      </c:pt>
                      <c:pt idx="2190">
                        <c:v>281.07009790000001</c:v>
                      </c:pt>
                      <c:pt idx="2191">
                        <c:v>281.10933269999998</c:v>
                      </c:pt>
                      <c:pt idx="2192">
                        <c:v>281.14736799999997</c:v>
                      </c:pt>
                      <c:pt idx="2193">
                        <c:v>281.22492840000001</c:v>
                      </c:pt>
                      <c:pt idx="2194">
                        <c:v>281.2644535</c:v>
                      </c:pt>
                      <c:pt idx="2195">
                        <c:v>281.30279830000001</c:v>
                      </c:pt>
                      <c:pt idx="2196">
                        <c:v>281.37975899999998</c:v>
                      </c:pt>
                      <c:pt idx="2197">
                        <c:v>281.41899380000001</c:v>
                      </c:pt>
                      <c:pt idx="2198">
                        <c:v>281.45760960000001</c:v>
                      </c:pt>
                      <c:pt idx="2199">
                        <c:v>281.5348798</c:v>
                      </c:pt>
                      <c:pt idx="2200">
                        <c:v>281.57320529999998</c:v>
                      </c:pt>
                      <c:pt idx="2201">
                        <c:v>281.61244010000001</c:v>
                      </c:pt>
                      <c:pt idx="2202">
                        <c:v>281.68911059999999</c:v>
                      </c:pt>
                      <c:pt idx="2203">
                        <c:v>281.72834540000002</c:v>
                      </c:pt>
                      <c:pt idx="2204">
                        <c:v>281.76667099999997</c:v>
                      </c:pt>
                      <c:pt idx="2205">
                        <c:v>281.8053061</c:v>
                      </c:pt>
                      <c:pt idx="2206">
                        <c:v>281.84454090000003</c:v>
                      </c:pt>
                      <c:pt idx="2207">
                        <c:v>281.92179169999997</c:v>
                      </c:pt>
                      <c:pt idx="2208">
                        <c:v>281.9601366</c:v>
                      </c:pt>
                      <c:pt idx="2209">
                        <c:v>281.9987524</c:v>
                      </c:pt>
                      <c:pt idx="2210">
                        <c:v>282.1535829</c:v>
                      </c:pt>
                      <c:pt idx="2211">
                        <c:v>282.1928178</c:v>
                      </c:pt>
                      <c:pt idx="2212">
                        <c:v>282.26948820000001</c:v>
                      </c:pt>
                      <c:pt idx="2213">
                        <c:v>282.30872310000001</c:v>
                      </c:pt>
                      <c:pt idx="2214">
                        <c:v>282.38568370000002</c:v>
                      </c:pt>
                      <c:pt idx="2215">
                        <c:v>282.46355360000001</c:v>
                      </c:pt>
                      <c:pt idx="2216">
                        <c:v>282.50216940000001</c:v>
                      </c:pt>
                      <c:pt idx="2217">
                        <c:v>282.54051429999998</c:v>
                      </c:pt>
                      <c:pt idx="2218">
                        <c:v>282.57974910000002</c:v>
                      </c:pt>
                      <c:pt idx="2219">
                        <c:v>282.61836479999999</c:v>
                      </c:pt>
                      <c:pt idx="2220">
                        <c:v>282.65640020000001</c:v>
                      </c:pt>
                      <c:pt idx="2221">
                        <c:v>282.69563499999998</c:v>
                      </c:pt>
                      <c:pt idx="2222">
                        <c:v>282.73396059999999</c:v>
                      </c:pt>
                      <c:pt idx="2223">
                        <c:v>282.77259570000001</c:v>
                      </c:pt>
                      <c:pt idx="2224">
                        <c:v>282.81183049999999</c:v>
                      </c:pt>
                      <c:pt idx="2225">
                        <c:v>282.8498659</c:v>
                      </c:pt>
                      <c:pt idx="2226">
                        <c:v>282.92773579999999</c:v>
                      </c:pt>
                      <c:pt idx="2227">
                        <c:v>282.96606129999998</c:v>
                      </c:pt>
                      <c:pt idx="2228">
                        <c:v>283.00529619999998</c:v>
                      </c:pt>
                      <c:pt idx="2229">
                        <c:v>283.0433122</c:v>
                      </c:pt>
                      <c:pt idx="2230">
                        <c:v>283.54703869999997</c:v>
                      </c:pt>
                      <c:pt idx="2231">
                        <c:v>283.5856738</c:v>
                      </c:pt>
                      <c:pt idx="2232">
                        <c:v>283.62430890000002</c:v>
                      </c:pt>
                      <c:pt idx="2233">
                        <c:v>283.6626344</c:v>
                      </c:pt>
                      <c:pt idx="2234">
                        <c:v>283.70126950000002</c:v>
                      </c:pt>
                      <c:pt idx="2235">
                        <c:v>283.74050440000002</c:v>
                      </c:pt>
                      <c:pt idx="2236">
                        <c:v>283.8180648</c:v>
                      </c:pt>
                      <c:pt idx="2237">
                        <c:v>283.85608079999997</c:v>
                      </c:pt>
                      <c:pt idx="2238">
                        <c:v>283.8953156</c:v>
                      </c:pt>
                      <c:pt idx="2239">
                        <c:v>283.97258579999999</c:v>
                      </c:pt>
                      <c:pt idx="2240">
                        <c:v>284.01122090000001</c:v>
                      </c:pt>
                      <c:pt idx="2241">
                        <c:v>284.0495464</c:v>
                      </c:pt>
                      <c:pt idx="2242">
                        <c:v>284.12681659999998</c:v>
                      </c:pt>
                      <c:pt idx="2243">
                        <c:v>284.16605140000001</c:v>
                      </c:pt>
                      <c:pt idx="2244">
                        <c:v>284.20468649999998</c:v>
                      </c:pt>
                      <c:pt idx="2245">
                        <c:v>284.24301209999999</c:v>
                      </c:pt>
                      <c:pt idx="2246">
                        <c:v>284.28224690000002</c:v>
                      </c:pt>
                      <c:pt idx="2247">
                        <c:v>284.32026289999999</c:v>
                      </c:pt>
                      <c:pt idx="2248">
                        <c:v>284.35889800000001</c:v>
                      </c:pt>
                      <c:pt idx="2249">
                        <c:v>284.39844240000002</c:v>
                      </c:pt>
                      <c:pt idx="2250">
                        <c:v>284.43645839999999</c:v>
                      </c:pt>
                      <c:pt idx="2251">
                        <c:v>284.47569320000002</c:v>
                      </c:pt>
                      <c:pt idx="2252">
                        <c:v>284.51372859999998</c:v>
                      </c:pt>
                      <c:pt idx="2253">
                        <c:v>284.55296340000001</c:v>
                      </c:pt>
                      <c:pt idx="2254">
                        <c:v>284.59099880000002</c:v>
                      </c:pt>
                      <c:pt idx="2255">
                        <c:v>284.8236799</c:v>
                      </c:pt>
                      <c:pt idx="2256">
                        <c:v>284.86202479999997</c:v>
                      </c:pt>
                      <c:pt idx="2257">
                        <c:v>285.01714559999999</c:v>
                      </c:pt>
                      <c:pt idx="2258">
                        <c:v>285.09470599999997</c:v>
                      </c:pt>
                      <c:pt idx="2259">
                        <c:v>285.13274130000002</c:v>
                      </c:pt>
                      <c:pt idx="2260">
                        <c:v>285.17197609999999</c:v>
                      </c:pt>
                      <c:pt idx="2261">
                        <c:v>285.49340000000001</c:v>
                      </c:pt>
                      <c:pt idx="2262">
                        <c:v>285.49340000000001</c:v>
                      </c:pt>
                      <c:pt idx="2263">
                        <c:v>285.49340000000001</c:v>
                      </c:pt>
                      <c:pt idx="2264">
                        <c:v>285.49340000000001</c:v>
                      </c:pt>
                      <c:pt idx="2265">
                        <c:v>285.49340000000001</c:v>
                      </c:pt>
                      <c:pt idx="2266">
                        <c:v>285.49340000000001</c:v>
                      </c:pt>
                      <c:pt idx="2267">
                        <c:v>285.49340000000001</c:v>
                      </c:pt>
                      <c:pt idx="2268">
                        <c:v>285.49340000000001</c:v>
                      </c:pt>
                      <c:pt idx="2269">
                        <c:v>285.49340000000001</c:v>
                      </c:pt>
                      <c:pt idx="2270">
                        <c:v>285.49340000000001</c:v>
                      </c:pt>
                      <c:pt idx="2271">
                        <c:v>285.49340000000001</c:v>
                      </c:pt>
                      <c:pt idx="2272">
                        <c:v>285.49340000000001</c:v>
                      </c:pt>
                      <c:pt idx="2273">
                        <c:v>285.49340000000001</c:v>
                      </c:pt>
                      <c:pt idx="2274">
                        <c:v>285.49340000000001</c:v>
                      </c:pt>
                      <c:pt idx="2275">
                        <c:v>285.49340000000001</c:v>
                      </c:pt>
                      <c:pt idx="2276">
                        <c:v>285.49340000000001</c:v>
                      </c:pt>
                      <c:pt idx="2277">
                        <c:v>285.49340000000001</c:v>
                      </c:pt>
                      <c:pt idx="2278">
                        <c:v>285.49340000000001</c:v>
                      </c:pt>
                      <c:pt idx="2279">
                        <c:v>285.49340000000001</c:v>
                      </c:pt>
                      <c:pt idx="2280">
                        <c:v>285.49340000000001</c:v>
                      </c:pt>
                      <c:pt idx="2281">
                        <c:v>285.49340000000001</c:v>
                      </c:pt>
                      <c:pt idx="2282">
                        <c:v>285.49340000000001</c:v>
                      </c:pt>
                      <c:pt idx="2283">
                        <c:v>285.49340000000001</c:v>
                      </c:pt>
                      <c:pt idx="2284">
                        <c:v>285.49340000000001</c:v>
                      </c:pt>
                      <c:pt idx="2285">
                        <c:v>285.49340000000001</c:v>
                      </c:pt>
                      <c:pt idx="2286">
                        <c:v>285.49340000000001</c:v>
                      </c:pt>
                      <c:pt idx="2287">
                        <c:v>285.49340000000001</c:v>
                      </c:pt>
                      <c:pt idx="2288">
                        <c:v>285.49340000000001</c:v>
                      </c:pt>
                      <c:pt idx="2289">
                        <c:v>285.49340000000001</c:v>
                      </c:pt>
                      <c:pt idx="2290">
                        <c:v>285.49340000000001</c:v>
                      </c:pt>
                      <c:pt idx="2291">
                        <c:v>285.49340000000001</c:v>
                      </c:pt>
                      <c:pt idx="2292">
                        <c:v>285.49340000000001</c:v>
                      </c:pt>
                      <c:pt idx="2293">
                        <c:v>285.49340000000001</c:v>
                      </c:pt>
                      <c:pt idx="2294">
                        <c:v>285.49340000000001</c:v>
                      </c:pt>
                      <c:pt idx="2295">
                        <c:v>285.49340000000001</c:v>
                      </c:pt>
                      <c:pt idx="2296">
                        <c:v>285.49340000000001</c:v>
                      </c:pt>
                      <c:pt idx="2297">
                        <c:v>285.49340000000001</c:v>
                      </c:pt>
                      <c:pt idx="2298">
                        <c:v>285.49340000000001</c:v>
                      </c:pt>
                      <c:pt idx="2299">
                        <c:v>285.49340000000001</c:v>
                      </c:pt>
                      <c:pt idx="2300">
                        <c:v>285.49340000000001</c:v>
                      </c:pt>
                      <c:pt idx="2301">
                        <c:v>285.49340000000001</c:v>
                      </c:pt>
                      <c:pt idx="2302">
                        <c:v>285.49340000000001</c:v>
                      </c:pt>
                      <c:pt idx="2303">
                        <c:v>285.49340000000001</c:v>
                      </c:pt>
                      <c:pt idx="2304">
                        <c:v>285.49340000000001</c:v>
                      </c:pt>
                      <c:pt idx="2305">
                        <c:v>285.49340000000001</c:v>
                      </c:pt>
                      <c:pt idx="2306">
                        <c:v>285.49340000000001</c:v>
                      </c:pt>
                      <c:pt idx="2307">
                        <c:v>285.49340000000001</c:v>
                      </c:pt>
                      <c:pt idx="2308">
                        <c:v>285.49340000000001</c:v>
                      </c:pt>
                      <c:pt idx="2309">
                        <c:v>285.49340000000001</c:v>
                      </c:pt>
                      <c:pt idx="2310">
                        <c:v>285.49340000000001</c:v>
                      </c:pt>
                      <c:pt idx="2311">
                        <c:v>285.49340000000001</c:v>
                      </c:pt>
                      <c:pt idx="2312">
                        <c:v>285.49340000000001</c:v>
                      </c:pt>
                      <c:pt idx="2313">
                        <c:v>285.49340000000001</c:v>
                      </c:pt>
                      <c:pt idx="2314">
                        <c:v>285.49340000000001</c:v>
                      </c:pt>
                      <c:pt idx="2315">
                        <c:v>285.49340000000001</c:v>
                      </c:pt>
                      <c:pt idx="2316">
                        <c:v>285.49340000000001</c:v>
                      </c:pt>
                      <c:pt idx="2317">
                        <c:v>285.49340000000001</c:v>
                      </c:pt>
                      <c:pt idx="2318">
                        <c:v>285.49340000000001</c:v>
                      </c:pt>
                      <c:pt idx="2319">
                        <c:v>285.49340000000001</c:v>
                      </c:pt>
                      <c:pt idx="2320">
                        <c:v>285.49340000000001</c:v>
                      </c:pt>
                      <c:pt idx="2321">
                        <c:v>285.49340000000001</c:v>
                      </c:pt>
                      <c:pt idx="2322">
                        <c:v>285.49340000000001</c:v>
                      </c:pt>
                      <c:pt idx="2323">
                        <c:v>285.49340000000001</c:v>
                      </c:pt>
                      <c:pt idx="2324">
                        <c:v>285.49340000000001</c:v>
                      </c:pt>
                      <c:pt idx="2325">
                        <c:v>285.49340000000001</c:v>
                      </c:pt>
                      <c:pt idx="2326">
                        <c:v>285.49340000000001</c:v>
                      </c:pt>
                      <c:pt idx="2327">
                        <c:v>285.49340000000001</c:v>
                      </c:pt>
                      <c:pt idx="2328">
                        <c:v>285.49340000000001</c:v>
                      </c:pt>
                      <c:pt idx="2329">
                        <c:v>285.49340000000001</c:v>
                      </c:pt>
                      <c:pt idx="2330">
                        <c:v>285.49340000000001</c:v>
                      </c:pt>
                      <c:pt idx="2331">
                        <c:v>285.49340000000001</c:v>
                      </c:pt>
                      <c:pt idx="2332">
                        <c:v>285.49340000000001</c:v>
                      </c:pt>
                      <c:pt idx="2333">
                        <c:v>285.49340000000001</c:v>
                      </c:pt>
                      <c:pt idx="2334">
                        <c:v>285.49340000000001</c:v>
                      </c:pt>
                      <c:pt idx="2335">
                        <c:v>285.49340000000001</c:v>
                      </c:pt>
                      <c:pt idx="2336">
                        <c:v>285.49340000000001</c:v>
                      </c:pt>
                      <c:pt idx="2337">
                        <c:v>285.49340000000001</c:v>
                      </c:pt>
                      <c:pt idx="2338">
                        <c:v>285.49340000000001</c:v>
                      </c:pt>
                      <c:pt idx="2339">
                        <c:v>285.49340000000001</c:v>
                      </c:pt>
                      <c:pt idx="2340">
                        <c:v>285.49340000000001</c:v>
                      </c:pt>
                      <c:pt idx="2341">
                        <c:v>285.49340000000001</c:v>
                      </c:pt>
                      <c:pt idx="2342">
                        <c:v>285.49340000000001</c:v>
                      </c:pt>
                      <c:pt idx="2343">
                        <c:v>285.49340000000001</c:v>
                      </c:pt>
                      <c:pt idx="2344">
                        <c:v>285.49340000000001</c:v>
                      </c:pt>
                      <c:pt idx="2345">
                        <c:v>285.49340000000001</c:v>
                      </c:pt>
                      <c:pt idx="2346">
                        <c:v>285.49340000000001</c:v>
                      </c:pt>
                      <c:pt idx="2347">
                        <c:v>285.49340000000001</c:v>
                      </c:pt>
                      <c:pt idx="2348">
                        <c:v>285.49340000000001</c:v>
                      </c:pt>
                      <c:pt idx="2349">
                        <c:v>285.49340000000001</c:v>
                      </c:pt>
                      <c:pt idx="2350">
                        <c:v>285.49340000000001</c:v>
                      </c:pt>
                      <c:pt idx="2351">
                        <c:v>285.49340000000001</c:v>
                      </c:pt>
                      <c:pt idx="2352">
                        <c:v>285.49340000000001</c:v>
                      </c:pt>
                      <c:pt idx="2353">
                        <c:v>285.49340000000001</c:v>
                      </c:pt>
                      <c:pt idx="2354">
                        <c:v>285.49340000000001</c:v>
                      </c:pt>
                      <c:pt idx="2355">
                        <c:v>285.49340000000001</c:v>
                      </c:pt>
                      <c:pt idx="2356">
                        <c:v>285.49340000000001</c:v>
                      </c:pt>
                      <c:pt idx="2357">
                        <c:v>285.49340000000001</c:v>
                      </c:pt>
                      <c:pt idx="2358">
                        <c:v>285.49340000000001</c:v>
                      </c:pt>
                      <c:pt idx="2359">
                        <c:v>285.49340000000001</c:v>
                      </c:pt>
                      <c:pt idx="2360">
                        <c:v>285.49340000000001</c:v>
                      </c:pt>
                      <c:pt idx="2361">
                        <c:v>285.49340000000001</c:v>
                      </c:pt>
                      <c:pt idx="2362">
                        <c:v>285.49340000000001</c:v>
                      </c:pt>
                      <c:pt idx="2363">
                        <c:v>285.49340000000001</c:v>
                      </c:pt>
                      <c:pt idx="2364">
                        <c:v>285.49340000000001</c:v>
                      </c:pt>
                      <c:pt idx="2365">
                        <c:v>285.49340000000001</c:v>
                      </c:pt>
                      <c:pt idx="2366">
                        <c:v>285.49340000000001</c:v>
                      </c:pt>
                      <c:pt idx="2367">
                        <c:v>285.49340000000001</c:v>
                      </c:pt>
                      <c:pt idx="2368">
                        <c:v>285.49340000000001</c:v>
                      </c:pt>
                      <c:pt idx="2369">
                        <c:v>285.49340000000001</c:v>
                      </c:pt>
                      <c:pt idx="2370">
                        <c:v>285.49340000000001</c:v>
                      </c:pt>
                      <c:pt idx="2371">
                        <c:v>285.49340000000001</c:v>
                      </c:pt>
                      <c:pt idx="2372">
                        <c:v>285.49340000000001</c:v>
                      </c:pt>
                      <c:pt idx="2373">
                        <c:v>285.49340000000001</c:v>
                      </c:pt>
                      <c:pt idx="2374">
                        <c:v>285.49340000000001</c:v>
                      </c:pt>
                      <c:pt idx="2375">
                        <c:v>285.49340000000001</c:v>
                      </c:pt>
                      <c:pt idx="2376">
                        <c:v>285.49340000000001</c:v>
                      </c:pt>
                      <c:pt idx="2377">
                        <c:v>285.49340000000001</c:v>
                      </c:pt>
                      <c:pt idx="2378">
                        <c:v>285.49340000000001</c:v>
                      </c:pt>
                      <c:pt idx="2379">
                        <c:v>285.49340000000001</c:v>
                      </c:pt>
                      <c:pt idx="2380">
                        <c:v>285.49340000000001</c:v>
                      </c:pt>
                      <c:pt idx="2381">
                        <c:v>285.49340000000001</c:v>
                      </c:pt>
                      <c:pt idx="2382">
                        <c:v>285.49340000000001</c:v>
                      </c:pt>
                      <c:pt idx="2383">
                        <c:v>285.49340000000001</c:v>
                      </c:pt>
                      <c:pt idx="2384">
                        <c:v>285.49340000000001</c:v>
                      </c:pt>
                      <c:pt idx="2385">
                        <c:v>285.49340000000001</c:v>
                      </c:pt>
                      <c:pt idx="2386">
                        <c:v>285.49340000000001</c:v>
                      </c:pt>
                      <c:pt idx="2387">
                        <c:v>285.49340000000001</c:v>
                      </c:pt>
                      <c:pt idx="2388">
                        <c:v>285.49340000000001</c:v>
                      </c:pt>
                      <c:pt idx="2389">
                        <c:v>285.49340000000001</c:v>
                      </c:pt>
                      <c:pt idx="2390">
                        <c:v>285.49340000000001</c:v>
                      </c:pt>
                      <c:pt idx="2391">
                        <c:v>285.49340000000001</c:v>
                      </c:pt>
                      <c:pt idx="2392">
                        <c:v>285.49340000000001</c:v>
                      </c:pt>
                      <c:pt idx="2393">
                        <c:v>285.49340000000001</c:v>
                      </c:pt>
                      <c:pt idx="2394">
                        <c:v>285.49340000000001</c:v>
                      </c:pt>
                      <c:pt idx="2395">
                        <c:v>285.49340000000001</c:v>
                      </c:pt>
                      <c:pt idx="2396">
                        <c:v>285.49340000000001</c:v>
                      </c:pt>
                      <c:pt idx="2397">
                        <c:v>285.49340000000001</c:v>
                      </c:pt>
                      <c:pt idx="2398">
                        <c:v>285.49340000000001</c:v>
                      </c:pt>
                      <c:pt idx="2399">
                        <c:v>285.49340000000001</c:v>
                      </c:pt>
                      <c:pt idx="2400">
                        <c:v>285.49340000000001</c:v>
                      </c:pt>
                      <c:pt idx="2401">
                        <c:v>285.49340000000001</c:v>
                      </c:pt>
                      <c:pt idx="2402">
                        <c:v>285.49340000000001</c:v>
                      </c:pt>
                      <c:pt idx="2403">
                        <c:v>285.49340000000001</c:v>
                      </c:pt>
                      <c:pt idx="2404">
                        <c:v>285.49340000000001</c:v>
                      </c:pt>
                      <c:pt idx="2405">
                        <c:v>285.49340000000001</c:v>
                      </c:pt>
                      <c:pt idx="2406">
                        <c:v>285.49340000000001</c:v>
                      </c:pt>
                      <c:pt idx="2407">
                        <c:v>285.49340000000001</c:v>
                      </c:pt>
                      <c:pt idx="2408">
                        <c:v>285.49340000000001</c:v>
                      </c:pt>
                      <c:pt idx="2409">
                        <c:v>285.49340000000001</c:v>
                      </c:pt>
                      <c:pt idx="2410">
                        <c:v>285.49340000000001</c:v>
                      </c:pt>
                      <c:pt idx="2411">
                        <c:v>285.49340000000001</c:v>
                      </c:pt>
                      <c:pt idx="2412">
                        <c:v>285.49340000000001</c:v>
                      </c:pt>
                      <c:pt idx="2413">
                        <c:v>285.49340000000001</c:v>
                      </c:pt>
                      <c:pt idx="2414">
                        <c:v>285.49340000000001</c:v>
                      </c:pt>
                      <c:pt idx="2415">
                        <c:v>285.49340000000001</c:v>
                      </c:pt>
                      <c:pt idx="2416">
                        <c:v>285.49340000000001</c:v>
                      </c:pt>
                      <c:pt idx="2417">
                        <c:v>285.49340000000001</c:v>
                      </c:pt>
                      <c:pt idx="2418">
                        <c:v>285.49340000000001</c:v>
                      </c:pt>
                      <c:pt idx="2419">
                        <c:v>285.49340000000001</c:v>
                      </c:pt>
                      <c:pt idx="2420">
                        <c:v>285.49340000000001</c:v>
                      </c:pt>
                      <c:pt idx="2421">
                        <c:v>285.49340000000001</c:v>
                      </c:pt>
                      <c:pt idx="2422">
                        <c:v>285.49340000000001</c:v>
                      </c:pt>
                      <c:pt idx="2423">
                        <c:v>285.49340000000001</c:v>
                      </c:pt>
                      <c:pt idx="2424">
                        <c:v>285.49340000000001</c:v>
                      </c:pt>
                      <c:pt idx="2425">
                        <c:v>285.49340000000001</c:v>
                      </c:pt>
                      <c:pt idx="2426">
                        <c:v>285.49340000000001</c:v>
                      </c:pt>
                      <c:pt idx="2427">
                        <c:v>285.49340000000001</c:v>
                      </c:pt>
                      <c:pt idx="2428">
                        <c:v>285.49340000000001</c:v>
                      </c:pt>
                      <c:pt idx="2429">
                        <c:v>285.49340000000001</c:v>
                      </c:pt>
                      <c:pt idx="2430">
                        <c:v>285.49340000000001</c:v>
                      </c:pt>
                      <c:pt idx="2431">
                        <c:v>285.49340000000001</c:v>
                      </c:pt>
                      <c:pt idx="2432">
                        <c:v>285.49340000000001</c:v>
                      </c:pt>
                      <c:pt idx="2433">
                        <c:v>285.49340000000001</c:v>
                      </c:pt>
                      <c:pt idx="2434">
                        <c:v>285.49340000000001</c:v>
                      </c:pt>
                      <c:pt idx="2435">
                        <c:v>285.49340000000001</c:v>
                      </c:pt>
                      <c:pt idx="2436">
                        <c:v>285.49340000000001</c:v>
                      </c:pt>
                      <c:pt idx="2437">
                        <c:v>285.49340000000001</c:v>
                      </c:pt>
                      <c:pt idx="2438">
                        <c:v>285.49340000000001</c:v>
                      </c:pt>
                      <c:pt idx="2439">
                        <c:v>285.49340000000001</c:v>
                      </c:pt>
                      <c:pt idx="2440">
                        <c:v>285.49340000000001</c:v>
                      </c:pt>
                      <c:pt idx="2441">
                        <c:v>285.49340000000001</c:v>
                      </c:pt>
                      <c:pt idx="2442">
                        <c:v>285.49340000000001</c:v>
                      </c:pt>
                      <c:pt idx="2443">
                        <c:v>285.49340000000001</c:v>
                      </c:pt>
                      <c:pt idx="2444">
                        <c:v>285.49340000000001</c:v>
                      </c:pt>
                      <c:pt idx="2445">
                        <c:v>285.49340000000001</c:v>
                      </c:pt>
                      <c:pt idx="2446">
                        <c:v>285.49340000000001</c:v>
                      </c:pt>
                      <c:pt idx="2447">
                        <c:v>285.49340000000001</c:v>
                      </c:pt>
                      <c:pt idx="2448">
                        <c:v>285.49340000000001</c:v>
                      </c:pt>
                      <c:pt idx="2449">
                        <c:v>285.49340000000001</c:v>
                      </c:pt>
                      <c:pt idx="2450">
                        <c:v>285.49340000000001</c:v>
                      </c:pt>
                      <c:pt idx="2451">
                        <c:v>285.49340000000001</c:v>
                      </c:pt>
                      <c:pt idx="2452">
                        <c:v>285.49340000000001</c:v>
                      </c:pt>
                      <c:pt idx="2453">
                        <c:v>285.49340000000001</c:v>
                      </c:pt>
                      <c:pt idx="2454">
                        <c:v>285.49340000000001</c:v>
                      </c:pt>
                      <c:pt idx="2455">
                        <c:v>285.49340000000001</c:v>
                      </c:pt>
                      <c:pt idx="2456">
                        <c:v>285.49340000000001</c:v>
                      </c:pt>
                      <c:pt idx="2457">
                        <c:v>285.49340000000001</c:v>
                      </c:pt>
                      <c:pt idx="2458">
                        <c:v>285.49340000000001</c:v>
                      </c:pt>
                      <c:pt idx="2459">
                        <c:v>285.49340000000001</c:v>
                      </c:pt>
                      <c:pt idx="2460">
                        <c:v>285.49340000000001</c:v>
                      </c:pt>
                      <c:pt idx="2461">
                        <c:v>285.49340000000001</c:v>
                      </c:pt>
                      <c:pt idx="2462">
                        <c:v>285.49340000000001</c:v>
                      </c:pt>
                      <c:pt idx="2463">
                        <c:v>285.49340000000001</c:v>
                      </c:pt>
                      <c:pt idx="2464">
                        <c:v>285.49340000000001</c:v>
                      </c:pt>
                      <c:pt idx="2465">
                        <c:v>285.49340000000001</c:v>
                      </c:pt>
                      <c:pt idx="2466">
                        <c:v>285.49340000000001</c:v>
                      </c:pt>
                      <c:pt idx="2467">
                        <c:v>285.49340000000001</c:v>
                      </c:pt>
                      <c:pt idx="2468">
                        <c:v>285.49340000000001</c:v>
                      </c:pt>
                      <c:pt idx="2469">
                        <c:v>285.49340000000001</c:v>
                      </c:pt>
                      <c:pt idx="2470">
                        <c:v>285.49340000000001</c:v>
                      </c:pt>
                      <c:pt idx="2471">
                        <c:v>285.49340000000001</c:v>
                      </c:pt>
                      <c:pt idx="2472">
                        <c:v>285.49340000000001</c:v>
                      </c:pt>
                      <c:pt idx="2473">
                        <c:v>285.49340000000001</c:v>
                      </c:pt>
                      <c:pt idx="2474">
                        <c:v>285.49340000000001</c:v>
                      </c:pt>
                      <c:pt idx="2475">
                        <c:v>285.49340000000001</c:v>
                      </c:pt>
                      <c:pt idx="2476">
                        <c:v>285.49340000000001</c:v>
                      </c:pt>
                      <c:pt idx="2477">
                        <c:v>285.49340000000001</c:v>
                      </c:pt>
                      <c:pt idx="2478">
                        <c:v>285.49340000000001</c:v>
                      </c:pt>
                      <c:pt idx="2479">
                        <c:v>285.49340000000001</c:v>
                      </c:pt>
                      <c:pt idx="2480">
                        <c:v>285.49340000000001</c:v>
                      </c:pt>
                      <c:pt idx="2481">
                        <c:v>285.49340000000001</c:v>
                      </c:pt>
                      <c:pt idx="2482">
                        <c:v>285.49340000000001</c:v>
                      </c:pt>
                      <c:pt idx="2483">
                        <c:v>285.49340000000001</c:v>
                      </c:pt>
                      <c:pt idx="2484">
                        <c:v>285.49340000000001</c:v>
                      </c:pt>
                      <c:pt idx="2485">
                        <c:v>285.49340000000001</c:v>
                      </c:pt>
                      <c:pt idx="2486">
                        <c:v>285.49340000000001</c:v>
                      </c:pt>
                      <c:pt idx="2487">
                        <c:v>285.49340000000001</c:v>
                      </c:pt>
                      <c:pt idx="2488">
                        <c:v>285.49340000000001</c:v>
                      </c:pt>
                      <c:pt idx="2489">
                        <c:v>285.49340000000001</c:v>
                      </c:pt>
                      <c:pt idx="2490">
                        <c:v>285.49340000000001</c:v>
                      </c:pt>
                      <c:pt idx="2491">
                        <c:v>285.49340000000001</c:v>
                      </c:pt>
                      <c:pt idx="2492">
                        <c:v>285.49340000000001</c:v>
                      </c:pt>
                      <c:pt idx="2493">
                        <c:v>285.49340000000001</c:v>
                      </c:pt>
                      <c:pt idx="2494">
                        <c:v>285.49340000000001</c:v>
                      </c:pt>
                      <c:pt idx="2495">
                        <c:v>285.49340000000001</c:v>
                      </c:pt>
                      <c:pt idx="2496">
                        <c:v>285.49340000000001</c:v>
                      </c:pt>
                      <c:pt idx="2497">
                        <c:v>285.49340000000001</c:v>
                      </c:pt>
                      <c:pt idx="2498">
                        <c:v>285.49340000000001</c:v>
                      </c:pt>
                      <c:pt idx="2499">
                        <c:v>285.49340000000001</c:v>
                      </c:pt>
                      <c:pt idx="2500">
                        <c:v>285.49340000000001</c:v>
                      </c:pt>
                      <c:pt idx="2501">
                        <c:v>285.49340000000001</c:v>
                      </c:pt>
                      <c:pt idx="2502">
                        <c:v>285.49340000000001</c:v>
                      </c:pt>
                      <c:pt idx="2503">
                        <c:v>285.49340000000001</c:v>
                      </c:pt>
                      <c:pt idx="2504">
                        <c:v>285.49340000000001</c:v>
                      </c:pt>
                      <c:pt idx="2505">
                        <c:v>285.49340000000001</c:v>
                      </c:pt>
                      <c:pt idx="2506">
                        <c:v>285.49340000000001</c:v>
                      </c:pt>
                      <c:pt idx="2507">
                        <c:v>285.49340000000001</c:v>
                      </c:pt>
                      <c:pt idx="2508">
                        <c:v>285.49340000000001</c:v>
                      </c:pt>
                      <c:pt idx="2509">
                        <c:v>285.49340000000001</c:v>
                      </c:pt>
                      <c:pt idx="2510">
                        <c:v>285.49340000000001</c:v>
                      </c:pt>
                      <c:pt idx="2511">
                        <c:v>285.49340000000001</c:v>
                      </c:pt>
                      <c:pt idx="2512">
                        <c:v>285.49340000000001</c:v>
                      </c:pt>
                      <c:pt idx="2513">
                        <c:v>285.49340000000001</c:v>
                      </c:pt>
                      <c:pt idx="2514">
                        <c:v>285.49340000000001</c:v>
                      </c:pt>
                      <c:pt idx="2515">
                        <c:v>285.49340000000001</c:v>
                      </c:pt>
                      <c:pt idx="2516">
                        <c:v>285.49340000000001</c:v>
                      </c:pt>
                      <c:pt idx="2517">
                        <c:v>285.49340000000001</c:v>
                      </c:pt>
                      <c:pt idx="2518">
                        <c:v>285.49340000000001</c:v>
                      </c:pt>
                      <c:pt idx="2519">
                        <c:v>285.49340000000001</c:v>
                      </c:pt>
                      <c:pt idx="2520">
                        <c:v>285.49340000000001</c:v>
                      </c:pt>
                      <c:pt idx="2521">
                        <c:v>285.49340000000001</c:v>
                      </c:pt>
                      <c:pt idx="2522">
                        <c:v>285.49340000000001</c:v>
                      </c:pt>
                      <c:pt idx="2523">
                        <c:v>285.49340000000001</c:v>
                      </c:pt>
                      <c:pt idx="2524">
                        <c:v>285.49340000000001</c:v>
                      </c:pt>
                      <c:pt idx="2525">
                        <c:v>285.49340000000001</c:v>
                      </c:pt>
                      <c:pt idx="2526">
                        <c:v>285.49340000000001</c:v>
                      </c:pt>
                      <c:pt idx="2527">
                        <c:v>285.49340000000001</c:v>
                      </c:pt>
                      <c:pt idx="2528">
                        <c:v>285.49340000000001</c:v>
                      </c:pt>
                      <c:pt idx="2529">
                        <c:v>285.49340000000001</c:v>
                      </c:pt>
                      <c:pt idx="2530">
                        <c:v>285.49340000000001</c:v>
                      </c:pt>
                      <c:pt idx="2531">
                        <c:v>285.49340000000001</c:v>
                      </c:pt>
                      <c:pt idx="2532">
                        <c:v>285.49340000000001</c:v>
                      </c:pt>
                      <c:pt idx="2533">
                        <c:v>285.49340000000001</c:v>
                      </c:pt>
                      <c:pt idx="2534">
                        <c:v>285.49340000000001</c:v>
                      </c:pt>
                      <c:pt idx="2535">
                        <c:v>285.49340000000001</c:v>
                      </c:pt>
                      <c:pt idx="2536">
                        <c:v>285.49340000000001</c:v>
                      </c:pt>
                      <c:pt idx="2537">
                        <c:v>285.49340000000001</c:v>
                      </c:pt>
                      <c:pt idx="2538">
                        <c:v>285.49340000000001</c:v>
                      </c:pt>
                      <c:pt idx="2539">
                        <c:v>285.49340000000001</c:v>
                      </c:pt>
                      <c:pt idx="2540">
                        <c:v>285.49340000000001</c:v>
                      </c:pt>
                      <c:pt idx="2541">
                        <c:v>285.49340000000001</c:v>
                      </c:pt>
                      <c:pt idx="2542">
                        <c:v>285.49340000000001</c:v>
                      </c:pt>
                      <c:pt idx="2543">
                        <c:v>285.49340000000001</c:v>
                      </c:pt>
                      <c:pt idx="2544">
                        <c:v>285.49340000000001</c:v>
                      </c:pt>
                      <c:pt idx="2545">
                        <c:v>285.49340000000001</c:v>
                      </c:pt>
                      <c:pt idx="2546">
                        <c:v>285.49340000000001</c:v>
                      </c:pt>
                      <c:pt idx="2547">
                        <c:v>285.49340000000001</c:v>
                      </c:pt>
                      <c:pt idx="2548">
                        <c:v>285.49340000000001</c:v>
                      </c:pt>
                      <c:pt idx="2549">
                        <c:v>285.49340000000001</c:v>
                      </c:pt>
                      <c:pt idx="2550">
                        <c:v>285.49340000000001</c:v>
                      </c:pt>
                      <c:pt idx="2551">
                        <c:v>285.49340000000001</c:v>
                      </c:pt>
                      <c:pt idx="2552">
                        <c:v>285.49340000000001</c:v>
                      </c:pt>
                      <c:pt idx="2553">
                        <c:v>285.49340000000001</c:v>
                      </c:pt>
                      <c:pt idx="2554">
                        <c:v>285.49340000000001</c:v>
                      </c:pt>
                      <c:pt idx="2555">
                        <c:v>285.49340000000001</c:v>
                      </c:pt>
                      <c:pt idx="2556">
                        <c:v>285.49340000000001</c:v>
                      </c:pt>
                      <c:pt idx="2557">
                        <c:v>285.49340000000001</c:v>
                      </c:pt>
                      <c:pt idx="2558">
                        <c:v>285.49340000000001</c:v>
                      </c:pt>
                      <c:pt idx="2559">
                        <c:v>285.49340000000001</c:v>
                      </c:pt>
                      <c:pt idx="2560">
                        <c:v>285.49340000000001</c:v>
                      </c:pt>
                      <c:pt idx="2561">
                        <c:v>285.49340000000001</c:v>
                      </c:pt>
                      <c:pt idx="2562">
                        <c:v>285.49340000000001</c:v>
                      </c:pt>
                      <c:pt idx="2563">
                        <c:v>285.49340000000001</c:v>
                      </c:pt>
                      <c:pt idx="2564">
                        <c:v>285.49340000000001</c:v>
                      </c:pt>
                      <c:pt idx="2565">
                        <c:v>285.49340000000001</c:v>
                      </c:pt>
                      <c:pt idx="2566">
                        <c:v>285.49340000000001</c:v>
                      </c:pt>
                      <c:pt idx="2567">
                        <c:v>285.49340000000001</c:v>
                      </c:pt>
                      <c:pt idx="2568">
                        <c:v>285.49340000000001</c:v>
                      </c:pt>
                      <c:pt idx="2569">
                        <c:v>285.49340000000001</c:v>
                      </c:pt>
                      <c:pt idx="2570">
                        <c:v>285.49340000000001</c:v>
                      </c:pt>
                      <c:pt idx="2571">
                        <c:v>285.49340000000001</c:v>
                      </c:pt>
                      <c:pt idx="2572">
                        <c:v>285.49340000000001</c:v>
                      </c:pt>
                      <c:pt idx="2573">
                        <c:v>285.49340000000001</c:v>
                      </c:pt>
                      <c:pt idx="2574">
                        <c:v>285.49340000000001</c:v>
                      </c:pt>
                      <c:pt idx="2575">
                        <c:v>285.49340000000001</c:v>
                      </c:pt>
                      <c:pt idx="2576">
                        <c:v>285.49340000000001</c:v>
                      </c:pt>
                      <c:pt idx="2577">
                        <c:v>285.49340000000001</c:v>
                      </c:pt>
                      <c:pt idx="2578">
                        <c:v>285.49340000000001</c:v>
                      </c:pt>
                      <c:pt idx="2579">
                        <c:v>285.49340000000001</c:v>
                      </c:pt>
                      <c:pt idx="2580">
                        <c:v>285.49340000000001</c:v>
                      </c:pt>
                      <c:pt idx="2581">
                        <c:v>285.49340000000001</c:v>
                      </c:pt>
                      <c:pt idx="2582">
                        <c:v>285.49340000000001</c:v>
                      </c:pt>
                      <c:pt idx="2583">
                        <c:v>285.49340000000001</c:v>
                      </c:pt>
                      <c:pt idx="2584">
                        <c:v>285.49340000000001</c:v>
                      </c:pt>
                      <c:pt idx="2585">
                        <c:v>285.49340000000001</c:v>
                      </c:pt>
                      <c:pt idx="2586">
                        <c:v>285.49340000000001</c:v>
                      </c:pt>
                      <c:pt idx="2587">
                        <c:v>285.49340000000001</c:v>
                      </c:pt>
                      <c:pt idx="2588">
                        <c:v>285.49340000000001</c:v>
                      </c:pt>
                      <c:pt idx="2589">
                        <c:v>285.49340000000001</c:v>
                      </c:pt>
                      <c:pt idx="2590">
                        <c:v>285.49340000000001</c:v>
                      </c:pt>
                      <c:pt idx="2591">
                        <c:v>285.49340000000001</c:v>
                      </c:pt>
                      <c:pt idx="2592">
                        <c:v>285.49340000000001</c:v>
                      </c:pt>
                      <c:pt idx="2593">
                        <c:v>285.49340000000001</c:v>
                      </c:pt>
                      <c:pt idx="2594">
                        <c:v>285.49340000000001</c:v>
                      </c:pt>
                      <c:pt idx="2595">
                        <c:v>285.49340000000001</c:v>
                      </c:pt>
                      <c:pt idx="2596">
                        <c:v>285.49340000000001</c:v>
                      </c:pt>
                      <c:pt idx="2597">
                        <c:v>285.49340000000001</c:v>
                      </c:pt>
                      <c:pt idx="2598">
                        <c:v>285.49340000000001</c:v>
                      </c:pt>
                      <c:pt idx="2599">
                        <c:v>285.49340000000001</c:v>
                      </c:pt>
                      <c:pt idx="2600">
                        <c:v>285.49340000000001</c:v>
                      </c:pt>
                      <c:pt idx="2601">
                        <c:v>285.49340000000001</c:v>
                      </c:pt>
                      <c:pt idx="2602">
                        <c:v>285.49340000000001</c:v>
                      </c:pt>
                      <c:pt idx="2603">
                        <c:v>285.49340000000001</c:v>
                      </c:pt>
                      <c:pt idx="2604">
                        <c:v>285.49340000000001</c:v>
                      </c:pt>
                      <c:pt idx="2605">
                        <c:v>285.49340000000001</c:v>
                      </c:pt>
                      <c:pt idx="2606">
                        <c:v>285.49340000000001</c:v>
                      </c:pt>
                      <c:pt idx="2607">
                        <c:v>285.49340000000001</c:v>
                      </c:pt>
                      <c:pt idx="2608">
                        <c:v>285.49340000000001</c:v>
                      </c:pt>
                      <c:pt idx="2609">
                        <c:v>285.49340000000001</c:v>
                      </c:pt>
                      <c:pt idx="2610">
                        <c:v>285.49340000000001</c:v>
                      </c:pt>
                      <c:pt idx="2611">
                        <c:v>285.49340000000001</c:v>
                      </c:pt>
                      <c:pt idx="2612">
                        <c:v>285.49340000000001</c:v>
                      </c:pt>
                      <c:pt idx="2613">
                        <c:v>285.49340000000001</c:v>
                      </c:pt>
                      <c:pt idx="2614">
                        <c:v>285.49340000000001</c:v>
                      </c:pt>
                      <c:pt idx="2615">
                        <c:v>285.49340000000001</c:v>
                      </c:pt>
                      <c:pt idx="2616">
                        <c:v>285.49340000000001</c:v>
                      </c:pt>
                      <c:pt idx="2617">
                        <c:v>285.49340000000001</c:v>
                      </c:pt>
                      <c:pt idx="2618">
                        <c:v>285.49340000000001</c:v>
                      </c:pt>
                      <c:pt idx="2619">
                        <c:v>285.49340000000001</c:v>
                      </c:pt>
                      <c:pt idx="2620">
                        <c:v>285.49340000000001</c:v>
                      </c:pt>
                      <c:pt idx="2621">
                        <c:v>285.49340000000001</c:v>
                      </c:pt>
                      <c:pt idx="2622">
                        <c:v>285.49340000000001</c:v>
                      </c:pt>
                      <c:pt idx="2623">
                        <c:v>285.49340000000001</c:v>
                      </c:pt>
                      <c:pt idx="2624">
                        <c:v>285.49340000000001</c:v>
                      </c:pt>
                      <c:pt idx="2625">
                        <c:v>285.49340000000001</c:v>
                      </c:pt>
                      <c:pt idx="2626">
                        <c:v>285.49340000000001</c:v>
                      </c:pt>
                      <c:pt idx="2627">
                        <c:v>285.49340000000001</c:v>
                      </c:pt>
                      <c:pt idx="2628">
                        <c:v>285.49340000000001</c:v>
                      </c:pt>
                      <c:pt idx="2629">
                        <c:v>285.49340000000001</c:v>
                      </c:pt>
                      <c:pt idx="2630">
                        <c:v>285.49340000000001</c:v>
                      </c:pt>
                      <c:pt idx="2631">
                        <c:v>285.49340000000001</c:v>
                      </c:pt>
                      <c:pt idx="2632">
                        <c:v>285.49340000000001</c:v>
                      </c:pt>
                      <c:pt idx="2633">
                        <c:v>285.49340000000001</c:v>
                      </c:pt>
                      <c:pt idx="2634">
                        <c:v>285.49340000000001</c:v>
                      </c:pt>
                      <c:pt idx="2635">
                        <c:v>285.49340000000001</c:v>
                      </c:pt>
                      <c:pt idx="2636">
                        <c:v>285.49340000000001</c:v>
                      </c:pt>
                      <c:pt idx="2637">
                        <c:v>285.49340000000001</c:v>
                      </c:pt>
                      <c:pt idx="2638">
                        <c:v>285.49340000000001</c:v>
                      </c:pt>
                      <c:pt idx="2639">
                        <c:v>285.49340000000001</c:v>
                      </c:pt>
                      <c:pt idx="2640">
                        <c:v>285.49340000000001</c:v>
                      </c:pt>
                      <c:pt idx="2641">
                        <c:v>285.49340000000001</c:v>
                      </c:pt>
                      <c:pt idx="2642">
                        <c:v>285.49340000000001</c:v>
                      </c:pt>
                      <c:pt idx="2643">
                        <c:v>285.49340000000001</c:v>
                      </c:pt>
                      <c:pt idx="2644">
                        <c:v>285.49340000000001</c:v>
                      </c:pt>
                      <c:pt idx="2645">
                        <c:v>285.49340000000001</c:v>
                      </c:pt>
                      <c:pt idx="2646">
                        <c:v>285.49340000000001</c:v>
                      </c:pt>
                      <c:pt idx="2647">
                        <c:v>285.49340000000001</c:v>
                      </c:pt>
                      <c:pt idx="2648">
                        <c:v>285.49340000000001</c:v>
                      </c:pt>
                      <c:pt idx="2649">
                        <c:v>285.49340000000001</c:v>
                      </c:pt>
                      <c:pt idx="2650">
                        <c:v>285.49340000000001</c:v>
                      </c:pt>
                      <c:pt idx="2651">
                        <c:v>285.49340000000001</c:v>
                      </c:pt>
                      <c:pt idx="2652">
                        <c:v>285.49340000000001</c:v>
                      </c:pt>
                      <c:pt idx="2653">
                        <c:v>285.49340000000001</c:v>
                      </c:pt>
                      <c:pt idx="2654">
                        <c:v>285.49340000000001</c:v>
                      </c:pt>
                      <c:pt idx="2655">
                        <c:v>285.49340000000001</c:v>
                      </c:pt>
                      <c:pt idx="2656">
                        <c:v>285.49340000000001</c:v>
                      </c:pt>
                      <c:pt idx="2657">
                        <c:v>285.49340000000001</c:v>
                      </c:pt>
                      <c:pt idx="2658">
                        <c:v>285.49340000000001</c:v>
                      </c:pt>
                      <c:pt idx="2659">
                        <c:v>285.49340000000001</c:v>
                      </c:pt>
                      <c:pt idx="2660">
                        <c:v>285.49340000000001</c:v>
                      </c:pt>
                      <c:pt idx="2661">
                        <c:v>285.49340000000001</c:v>
                      </c:pt>
                      <c:pt idx="2662">
                        <c:v>285.49340000000001</c:v>
                      </c:pt>
                      <c:pt idx="2663">
                        <c:v>285.49340000000001</c:v>
                      </c:pt>
                      <c:pt idx="2664">
                        <c:v>285.49340000000001</c:v>
                      </c:pt>
                      <c:pt idx="2665">
                        <c:v>285.49340000000001</c:v>
                      </c:pt>
                      <c:pt idx="2666">
                        <c:v>285.49340000000001</c:v>
                      </c:pt>
                      <c:pt idx="2667">
                        <c:v>285.49340000000001</c:v>
                      </c:pt>
                      <c:pt idx="2668">
                        <c:v>285.49340000000001</c:v>
                      </c:pt>
                      <c:pt idx="2669">
                        <c:v>285.49340000000001</c:v>
                      </c:pt>
                      <c:pt idx="2670">
                        <c:v>285.49340000000001</c:v>
                      </c:pt>
                      <c:pt idx="2671">
                        <c:v>285.49340000000001</c:v>
                      </c:pt>
                      <c:pt idx="2672">
                        <c:v>285.49340000000001</c:v>
                      </c:pt>
                      <c:pt idx="2673">
                        <c:v>285.49340000000001</c:v>
                      </c:pt>
                      <c:pt idx="2674">
                        <c:v>285.49340000000001</c:v>
                      </c:pt>
                      <c:pt idx="2675">
                        <c:v>285.49340000000001</c:v>
                      </c:pt>
                      <c:pt idx="2676">
                        <c:v>285.49340000000001</c:v>
                      </c:pt>
                      <c:pt idx="2677">
                        <c:v>285.49340000000001</c:v>
                      </c:pt>
                      <c:pt idx="2678">
                        <c:v>285.49340000000001</c:v>
                      </c:pt>
                      <c:pt idx="2679">
                        <c:v>285.49340000000001</c:v>
                      </c:pt>
                      <c:pt idx="2680">
                        <c:v>285.49340000000001</c:v>
                      </c:pt>
                      <c:pt idx="2681">
                        <c:v>285.49340000000001</c:v>
                      </c:pt>
                      <c:pt idx="2682">
                        <c:v>285.49340000000001</c:v>
                      </c:pt>
                      <c:pt idx="2683">
                        <c:v>285.49340000000001</c:v>
                      </c:pt>
                      <c:pt idx="2684">
                        <c:v>285.49340000000001</c:v>
                      </c:pt>
                      <c:pt idx="2685">
                        <c:v>285.49340000000001</c:v>
                      </c:pt>
                      <c:pt idx="2686">
                        <c:v>285.49340000000001</c:v>
                      </c:pt>
                      <c:pt idx="2687">
                        <c:v>285.49340000000001</c:v>
                      </c:pt>
                      <c:pt idx="2688">
                        <c:v>285.49340000000001</c:v>
                      </c:pt>
                      <c:pt idx="2689">
                        <c:v>285.49340000000001</c:v>
                      </c:pt>
                      <c:pt idx="2690">
                        <c:v>285.49340000000001</c:v>
                      </c:pt>
                      <c:pt idx="2691">
                        <c:v>285.49340000000001</c:v>
                      </c:pt>
                      <c:pt idx="2692">
                        <c:v>285.49340000000001</c:v>
                      </c:pt>
                      <c:pt idx="2693">
                        <c:v>285.49340000000001</c:v>
                      </c:pt>
                      <c:pt idx="2694">
                        <c:v>285.49340000000001</c:v>
                      </c:pt>
                      <c:pt idx="2695">
                        <c:v>285.49340000000001</c:v>
                      </c:pt>
                      <c:pt idx="2696">
                        <c:v>285.49340000000001</c:v>
                      </c:pt>
                      <c:pt idx="2697">
                        <c:v>285.49340000000001</c:v>
                      </c:pt>
                      <c:pt idx="2698">
                        <c:v>285.49340000000001</c:v>
                      </c:pt>
                      <c:pt idx="2699">
                        <c:v>285.49340000000001</c:v>
                      </c:pt>
                      <c:pt idx="2700">
                        <c:v>285.49340000000001</c:v>
                      </c:pt>
                      <c:pt idx="2701">
                        <c:v>285.49340000000001</c:v>
                      </c:pt>
                      <c:pt idx="2702">
                        <c:v>285.49340000000001</c:v>
                      </c:pt>
                      <c:pt idx="2703">
                        <c:v>285.49340000000001</c:v>
                      </c:pt>
                      <c:pt idx="2704">
                        <c:v>285.49340000000001</c:v>
                      </c:pt>
                      <c:pt idx="2705">
                        <c:v>285.49340000000001</c:v>
                      </c:pt>
                      <c:pt idx="2706">
                        <c:v>285.49340000000001</c:v>
                      </c:pt>
                      <c:pt idx="2707">
                        <c:v>285.49340000000001</c:v>
                      </c:pt>
                      <c:pt idx="2708">
                        <c:v>285.49340000000001</c:v>
                      </c:pt>
                      <c:pt idx="2709">
                        <c:v>285.49340000000001</c:v>
                      </c:pt>
                      <c:pt idx="2710">
                        <c:v>285.49340000000001</c:v>
                      </c:pt>
                      <c:pt idx="2711">
                        <c:v>285.49340000000001</c:v>
                      </c:pt>
                      <c:pt idx="2712">
                        <c:v>285.49340000000001</c:v>
                      </c:pt>
                      <c:pt idx="2713">
                        <c:v>285.49340000000001</c:v>
                      </c:pt>
                      <c:pt idx="2714">
                        <c:v>285.49340000000001</c:v>
                      </c:pt>
                      <c:pt idx="2715">
                        <c:v>285.49340000000001</c:v>
                      </c:pt>
                      <c:pt idx="2716">
                        <c:v>285.49340000000001</c:v>
                      </c:pt>
                      <c:pt idx="2717">
                        <c:v>285.49340000000001</c:v>
                      </c:pt>
                      <c:pt idx="2718">
                        <c:v>285.49340000000001</c:v>
                      </c:pt>
                      <c:pt idx="2719">
                        <c:v>285.49340000000001</c:v>
                      </c:pt>
                      <c:pt idx="2720">
                        <c:v>285.49340000000001</c:v>
                      </c:pt>
                      <c:pt idx="2721">
                        <c:v>285.49340000000001</c:v>
                      </c:pt>
                      <c:pt idx="2722">
                        <c:v>285.49340000000001</c:v>
                      </c:pt>
                      <c:pt idx="2723">
                        <c:v>285.49340000000001</c:v>
                      </c:pt>
                      <c:pt idx="2724">
                        <c:v>285.49340000000001</c:v>
                      </c:pt>
                      <c:pt idx="2725">
                        <c:v>285.49340000000001</c:v>
                      </c:pt>
                      <c:pt idx="2726">
                        <c:v>285.49340000000001</c:v>
                      </c:pt>
                      <c:pt idx="2727">
                        <c:v>285.49340000000001</c:v>
                      </c:pt>
                      <c:pt idx="2728">
                        <c:v>285.49340000000001</c:v>
                      </c:pt>
                      <c:pt idx="2729">
                        <c:v>285.49340000000001</c:v>
                      </c:pt>
                      <c:pt idx="2730">
                        <c:v>285.49340000000001</c:v>
                      </c:pt>
                      <c:pt idx="2731">
                        <c:v>285.49340000000001</c:v>
                      </c:pt>
                      <c:pt idx="2732">
                        <c:v>285.49340000000001</c:v>
                      </c:pt>
                      <c:pt idx="2733">
                        <c:v>285.49340000000001</c:v>
                      </c:pt>
                      <c:pt idx="2734">
                        <c:v>285.49340000000001</c:v>
                      </c:pt>
                      <c:pt idx="2735">
                        <c:v>285.49340000000001</c:v>
                      </c:pt>
                      <c:pt idx="2736">
                        <c:v>285.49340000000001</c:v>
                      </c:pt>
                      <c:pt idx="2737">
                        <c:v>285.49340000000001</c:v>
                      </c:pt>
                      <c:pt idx="2738">
                        <c:v>285.49340000000001</c:v>
                      </c:pt>
                      <c:pt idx="2739">
                        <c:v>285.49340000000001</c:v>
                      </c:pt>
                      <c:pt idx="2740">
                        <c:v>285.49340000000001</c:v>
                      </c:pt>
                      <c:pt idx="2741">
                        <c:v>285.49340000000001</c:v>
                      </c:pt>
                      <c:pt idx="2742">
                        <c:v>285.49340000000001</c:v>
                      </c:pt>
                      <c:pt idx="2743">
                        <c:v>285.49340000000001</c:v>
                      </c:pt>
                      <c:pt idx="2744">
                        <c:v>285.49340000000001</c:v>
                      </c:pt>
                      <c:pt idx="2745">
                        <c:v>285.49340000000001</c:v>
                      </c:pt>
                      <c:pt idx="2746">
                        <c:v>285.49340000000001</c:v>
                      </c:pt>
                      <c:pt idx="2747">
                        <c:v>285.49340000000001</c:v>
                      </c:pt>
                      <c:pt idx="2748">
                        <c:v>285.49340000000001</c:v>
                      </c:pt>
                      <c:pt idx="2749">
                        <c:v>285.49340000000001</c:v>
                      </c:pt>
                      <c:pt idx="2750">
                        <c:v>285.49340000000001</c:v>
                      </c:pt>
                      <c:pt idx="2751">
                        <c:v>285.49340000000001</c:v>
                      </c:pt>
                      <c:pt idx="2752">
                        <c:v>285.49340000000001</c:v>
                      </c:pt>
                      <c:pt idx="2753">
                        <c:v>285.49340000000001</c:v>
                      </c:pt>
                      <c:pt idx="2754">
                        <c:v>285.49340000000001</c:v>
                      </c:pt>
                      <c:pt idx="2755">
                        <c:v>285.49340000000001</c:v>
                      </c:pt>
                      <c:pt idx="2756">
                        <c:v>285.49340000000001</c:v>
                      </c:pt>
                      <c:pt idx="2757">
                        <c:v>285.49340000000001</c:v>
                      </c:pt>
                      <c:pt idx="2758">
                        <c:v>285.49340000000001</c:v>
                      </c:pt>
                      <c:pt idx="2759">
                        <c:v>285.49340000000001</c:v>
                      </c:pt>
                      <c:pt idx="2760">
                        <c:v>285.49340000000001</c:v>
                      </c:pt>
                      <c:pt idx="2761">
                        <c:v>285.49340000000001</c:v>
                      </c:pt>
                      <c:pt idx="2762">
                        <c:v>285.49340000000001</c:v>
                      </c:pt>
                      <c:pt idx="2763">
                        <c:v>285.49340000000001</c:v>
                      </c:pt>
                      <c:pt idx="2764">
                        <c:v>285.49340000000001</c:v>
                      </c:pt>
                      <c:pt idx="2765">
                        <c:v>285.49340000000001</c:v>
                      </c:pt>
                      <c:pt idx="2766">
                        <c:v>285.49340000000001</c:v>
                      </c:pt>
                      <c:pt idx="2767">
                        <c:v>285.49340000000001</c:v>
                      </c:pt>
                      <c:pt idx="2768">
                        <c:v>285.49340000000001</c:v>
                      </c:pt>
                      <c:pt idx="2769">
                        <c:v>285.49340000000001</c:v>
                      </c:pt>
                      <c:pt idx="2770">
                        <c:v>285.49340000000001</c:v>
                      </c:pt>
                      <c:pt idx="2771">
                        <c:v>285.49340000000001</c:v>
                      </c:pt>
                      <c:pt idx="2772">
                        <c:v>285.49340000000001</c:v>
                      </c:pt>
                      <c:pt idx="2773">
                        <c:v>285.49340000000001</c:v>
                      </c:pt>
                      <c:pt idx="2774">
                        <c:v>285.49340000000001</c:v>
                      </c:pt>
                      <c:pt idx="2775">
                        <c:v>285.49340000000001</c:v>
                      </c:pt>
                      <c:pt idx="2776">
                        <c:v>285.49340000000001</c:v>
                      </c:pt>
                      <c:pt idx="2777">
                        <c:v>285.49340000000001</c:v>
                      </c:pt>
                      <c:pt idx="2778">
                        <c:v>285.49340000000001</c:v>
                      </c:pt>
                      <c:pt idx="2779">
                        <c:v>285.49340000000001</c:v>
                      </c:pt>
                      <c:pt idx="2780">
                        <c:v>285.49340000000001</c:v>
                      </c:pt>
                      <c:pt idx="2781">
                        <c:v>285.49340000000001</c:v>
                      </c:pt>
                      <c:pt idx="2782">
                        <c:v>285.49340000000001</c:v>
                      </c:pt>
                      <c:pt idx="2783">
                        <c:v>285.49340000000001</c:v>
                      </c:pt>
                      <c:pt idx="2784">
                        <c:v>285.49340000000001</c:v>
                      </c:pt>
                      <c:pt idx="2785">
                        <c:v>285.49340000000001</c:v>
                      </c:pt>
                      <c:pt idx="2786">
                        <c:v>285.49340000000001</c:v>
                      </c:pt>
                      <c:pt idx="2787">
                        <c:v>285.49340000000001</c:v>
                      </c:pt>
                      <c:pt idx="2788">
                        <c:v>285.49340000000001</c:v>
                      </c:pt>
                      <c:pt idx="2789">
                        <c:v>285.49340000000001</c:v>
                      </c:pt>
                      <c:pt idx="2790">
                        <c:v>285.49340000000001</c:v>
                      </c:pt>
                      <c:pt idx="2791">
                        <c:v>285.49340000000001</c:v>
                      </c:pt>
                      <c:pt idx="2792">
                        <c:v>285.49340000000001</c:v>
                      </c:pt>
                      <c:pt idx="2793">
                        <c:v>285.49340000000001</c:v>
                      </c:pt>
                      <c:pt idx="2794">
                        <c:v>285.49340000000001</c:v>
                      </c:pt>
                      <c:pt idx="2795">
                        <c:v>285.49340000000001</c:v>
                      </c:pt>
                      <c:pt idx="2796">
                        <c:v>285.49340000000001</c:v>
                      </c:pt>
                      <c:pt idx="2797">
                        <c:v>285.49340000000001</c:v>
                      </c:pt>
                      <c:pt idx="2798">
                        <c:v>285.49340000000001</c:v>
                      </c:pt>
                      <c:pt idx="2799">
                        <c:v>285.49340000000001</c:v>
                      </c:pt>
                      <c:pt idx="2800">
                        <c:v>285.49340000000001</c:v>
                      </c:pt>
                      <c:pt idx="2801">
                        <c:v>285.49340000000001</c:v>
                      </c:pt>
                      <c:pt idx="2802">
                        <c:v>285.49340000000001</c:v>
                      </c:pt>
                      <c:pt idx="2803">
                        <c:v>285.49340000000001</c:v>
                      </c:pt>
                      <c:pt idx="2804">
                        <c:v>285.49340000000001</c:v>
                      </c:pt>
                      <c:pt idx="2805">
                        <c:v>285.49340000000001</c:v>
                      </c:pt>
                      <c:pt idx="2806">
                        <c:v>285.49340000000001</c:v>
                      </c:pt>
                      <c:pt idx="2807">
                        <c:v>285.49340000000001</c:v>
                      </c:pt>
                      <c:pt idx="2808">
                        <c:v>285.49340000000001</c:v>
                      </c:pt>
                      <c:pt idx="2809">
                        <c:v>285.49340000000001</c:v>
                      </c:pt>
                      <c:pt idx="2810">
                        <c:v>285.49340000000001</c:v>
                      </c:pt>
                      <c:pt idx="2811">
                        <c:v>285.49340000000001</c:v>
                      </c:pt>
                      <c:pt idx="2812">
                        <c:v>285.49340000000001</c:v>
                      </c:pt>
                      <c:pt idx="2813">
                        <c:v>285.49340000000001</c:v>
                      </c:pt>
                      <c:pt idx="2814">
                        <c:v>285.49340000000001</c:v>
                      </c:pt>
                      <c:pt idx="2815">
                        <c:v>285.49340000000001</c:v>
                      </c:pt>
                      <c:pt idx="2816">
                        <c:v>285.49340000000001</c:v>
                      </c:pt>
                      <c:pt idx="2817">
                        <c:v>285.49340000000001</c:v>
                      </c:pt>
                      <c:pt idx="2818">
                        <c:v>285.49340000000001</c:v>
                      </c:pt>
                      <c:pt idx="2819">
                        <c:v>285.49340000000001</c:v>
                      </c:pt>
                      <c:pt idx="2820">
                        <c:v>285.49340000000001</c:v>
                      </c:pt>
                      <c:pt idx="2821">
                        <c:v>285.49340000000001</c:v>
                      </c:pt>
                      <c:pt idx="2822">
                        <c:v>285.49340000000001</c:v>
                      </c:pt>
                      <c:pt idx="2823">
                        <c:v>285.49340000000001</c:v>
                      </c:pt>
                      <c:pt idx="2824">
                        <c:v>285.49340000000001</c:v>
                      </c:pt>
                      <c:pt idx="2825">
                        <c:v>285.49340000000001</c:v>
                      </c:pt>
                      <c:pt idx="2826">
                        <c:v>285.49340000000001</c:v>
                      </c:pt>
                      <c:pt idx="2827">
                        <c:v>285.49340000000001</c:v>
                      </c:pt>
                      <c:pt idx="2828">
                        <c:v>285.49340000000001</c:v>
                      </c:pt>
                      <c:pt idx="2829">
                        <c:v>285.49340000000001</c:v>
                      </c:pt>
                      <c:pt idx="2830">
                        <c:v>285.49340000000001</c:v>
                      </c:pt>
                      <c:pt idx="2831">
                        <c:v>285.49340000000001</c:v>
                      </c:pt>
                      <c:pt idx="2832">
                        <c:v>285.49340000000001</c:v>
                      </c:pt>
                      <c:pt idx="2833">
                        <c:v>285.49340000000001</c:v>
                      </c:pt>
                      <c:pt idx="2834">
                        <c:v>285.49340000000001</c:v>
                      </c:pt>
                      <c:pt idx="2835">
                        <c:v>285.49340000000001</c:v>
                      </c:pt>
                      <c:pt idx="2836">
                        <c:v>285.49340000000001</c:v>
                      </c:pt>
                      <c:pt idx="2837">
                        <c:v>285.49340000000001</c:v>
                      </c:pt>
                      <c:pt idx="2838">
                        <c:v>285.49340000000001</c:v>
                      </c:pt>
                      <c:pt idx="2839">
                        <c:v>285.49340000000001</c:v>
                      </c:pt>
                      <c:pt idx="2840">
                        <c:v>285.49340000000001</c:v>
                      </c:pt>
                      <c:pt idx="2841">
                        <c:v>285.49340000000001</c:v>
                      </c:pt>
                      <c:pt idx="2842">
                        <c:v>285.49340000000001</c:v>
                      </c:pt>
                      <c:pt idx="2843">
                        <c:v>285.49340000000001</c:v>
                      </c:pt>
                      <c:pt idx="2844">
                        <c:v>285.49340000000001</c:v>
                      </c:pt>
                      <c:pt idx="2845">
                        <c:v>285.49340000000001</c:v>
                      </c:pt>
                      <c:pt idx="2846">
                        <c:v>285.49340000000001</c:v>
                      </c:pt>
                      <c:pt idx="2847">
                        <c:v>285.49340000000001</c:v>
                      </c:pt>
                      <c:pt idx="2848">
                        <c:v>285.49340000000001</c:v>
                      </c:pt>
                      <c:pt idx="2849">
                        <c:v>285.49340000000001</c:v>
                      </c:pt>
                      <c:pt idx="2850">
                        <c:v>285.49340000000001</c:v>
                      </c:pt>
                      <c:pt idx="2851">
                        <c:v>285.49340000000001</c:v>
                      </c:pt>
                      <c:pt idx="2852">
                        <c:v>285.49340000000001</c:v>
                      </c:pt>
                      <c:pt idx="2853">
                        <c:v>285.49340000000001</c:v>
                      </c:pt>
                      <c:pt idx="2854">
                        <c:v>285.49340000000001</c:v>
                      </c:pt>
                      <c:pt idx="2855">
                        <c:v>285.49340000000001</c:v>
                      </c:pt>
                      <c:pt idx="2856">
                        <c:v>285.49340000000001</c:v>
                      </c:pt>
                      <c:pt idx="2857">
                        <c:v>285.49340000000001</c:v>
                      </c:pt>
                      <c:pt idx="2858">
                        <c:v>285.49340000000001</c:v>
                      </c:pt>
                      <c:pt idx="2859">
                        <c:v>285.49340000000001</c:v>
                      </c:pt>
                      <c:pt idx="2860">
                        <c:v>285.49340000000001</c:v>
                      </c:pt>
                      <c:pt idx="2861">
                        <c:v>285.49340000000001</c:v>
                      </c:pt>
                      <c:pt idx="2862">
                        <c:v>285.49340000000001</c:v>
                      </c:pt>
                      <c:pt idx="2863">
                        <c:v>285.49340000000001</c:v>
                      </c:pt>
                      <c:pt idx="2864">
                        <c:v>285.49340000000001</c:v>
                      </c:pt>
                      <c:pt idx="2865">
                        <c:v>285.49340000000001</c:v>
                      </c:pt>
                      <c:pt idx="2866">
                        <c:v>285.49340000000001</c:v>
                      </c:pt>
                      <c:pt idx="2867">
                        <c:v>285.49340000000001</c:v>
                      </c:pt>
                      <c:pt idx="2868">
                        <c:v>285.49340000000001</c:v>
                      </c:pt>
                      <c:pt idx="2869">
                        <c:v>285.49340000000001</c:v>
                      </c:pt>
                      <c:pt idx="2870">
                        <c:v>285.49340000000001</c:v>
                      </c:pt>
                      <c:pt idx="2871">
                        <c:v>285.49340000000001</c:v>
                      </c:pt>
                      <c:pt idx="2872">
                        <c:v>285.49340000000001</c:v>
                      </c:pt>
                      <c:pt idx="2873">
                        <c:v>285.49340000000001</c:v>
                      </c:pt>
                      <c:pt idx="2874">
                        <c:v>285.49340000000001</c:v>
                      </c:pt>
                      <c:pt idx="2875">
                        <c:v>285.49340000000001</c:v>
                      </c:pt>
                      <c:pt idx="2876">
                        <c:v>285.49340000000001</c:v>
                      </c:pt>
                      <c:pt idx="2877">
                        <c:v>285.49340000000001</c:v>
                      </c:pt>
                      <c:pt idx="2878">
                        <c:v>285.49340000000001</c:v>
                      </c:pt>
                      <c:pt idx="2879">
                        <c:v>285.49340000000001</c:v>
                      </c:pt>
                      <c:pt idx="2880">
                        <c:v>285.49340000000001</c:v>
                      </c:pt>
                      <c:pt idx="2881">
                        <c:v>285.49340000000001</c:v>
                      </c:pt>
                      <c:pt idx="2882">
                        <c:v>285.49340000000001</c:v>
                      </c:pt>
                      <c:pt idx="2883">
                        <c:v>285.49340000000001</c:v>
                      </c:pt>
                      <c:pt idx="2884">
                        <c:v>285.49340000000001</c:v>
                      </c:pt>
                      <c:pt idx="2885">
                        <c:v>285.49340000000001</c:v>
                      </c:pt>
                      <c:pt idx="2886">
                        <c:v>285.49340000000001</c:v>
                      </c:pt>
                      <c:pt idx="2887">
                        <c:v>285.49340000000001</c:v>
                      </c:pt>
                      <c:pt idx="2888">
                        <c:v>285.49340000000001</c:v>
                      </c:pt>
                      <c:pt idx="2889">
                        <c:v>285.49340000000001</c:v>
                      </c:pt>
                      <c:pt idx="2890">
                        <c:v>285.49340000000001</c:v>
                      </c:pt>
                      <c:pt idx="2891">
                        <c:v>285.49340000000001</c:v>
                      </c:pt>
                      <c:pt idx="2892">
                        <c:v>285.49340000000001</c:v>
                      </c:pt>
                      <c:pt idx="2893">
                        <c:v>285.49340000000001</c:v>
                      </c:pt>
                      <c:pt idx="2894">
                        <c:v>285.49340000000001</c:v>
                      </c:pt>
                      <c:pt idx="2895">
                        <c:v>285.49340000000001</c:v>
                      </c:pt>
                      <c:pt idx="2896">
                        <c:v>285.49340000000001</c:v>
                      </c:pt>
                      <c:pt idx="2897">
                        <c:v>285.49340000000001</c:v>
                      </c:pt>
                      <c:pt idx="2898">
                        <c:v>285.49340000000001</c:v>
                      </c:pt>
                      <c:pt idx="2899">
                        <c:v>285.49340000000001</c:v>
                      </c:pt>
                      <c:pt idx="2900">
                        <c:v>285.49340000000001</c:v>
                      </c:pt>
                      <c:pt idx="2901">
                        <c:v>285.49340000000001</c:v>
                      </c:pt>
                      <c:pt idx="2902">
                        <c:v>285.49340000000001</c:v>
                      </c:pt>
                      <c:pt idx="2903">
                        <c:v>285.49340000000001</c:v>
                      </c:pt>
                      <c:pt idx="2904">
                        <c:v>285.49340000000001</c:v>
                      </c:pt>
                      <c:pt idx="2905">
                        <c:v>285.49340000000001</c:v>
                      </c:pt>
                      <c:pt idx="2906">
                        <c:v>285.49340000000001</c:v>
                      </c:pt>
                      <c:pt idx="2907">
                        <c:v>285.49340000000001</c:v>
                      </c:pt>
                      <c:pt idx="2908">
                        <c:v>285.49340000000001</c:v>
                      </c:pt>
                      <c:pt idx="2909">
                        <c:v>285.49340000000001</c:v>
                      </c:pt>
                      <c:pt idx="2910">
                        <c:v>285.49340000000001</c:v>
                      </c:pt>
                      <c:pt idx="2911">
                        <c:v>285.49340000000001</c:v>
                      </c:pt>
                      <c:pt idx="2912">
                        <c:v>285.49340000000001</c:v>
                      </c:pt>
                      <c:pt idx="2913">
                        <c:v>285.49340000000001</c:v>
                      </c:pt>
                      <c:pt idx="2914">
                        <c:v>285.49340000000001</c:v>
                      </c:pt>
                      <c:pt idx="2915">
                        <c:v>285.49340000000001</c:v>
                      </c:pt>
                      <c:pt idx="2916">
                        <c:v>285.49340000000001</c:v>
                      </c:pt>
                      <c:pt idx="2917">
                        <c:v>285.49340000000001</c:v>
                      </c:pt>
                      <c:pt idx="2918">
                        <c:v>285.49340000000001</c:v>
                      </c:pt>
                      <c:pt idx="2919">
                        <c:v>285.49340000000001</c:v>
                      </c:pt>
                      <c:pt idx="2920">
                        <c:v>285.49340000000001</c:v>
                      </c:pt>
                      <c:pt idx="2921">
                        <c:v>285.49340000000001</c:v>
                      </c:pt>
                      <c:pt idx="2922">
                        <c:v>285.49340000000001</c:v>
                      </c:pt>
                      <c:pt idx="2923">
                        <c:v>285.49340000000001</c:v>
                      </c:pt>
                      <c:pt idx="2924">
                        <c:v>285.49340000000001</c:v>
                      </c:pt>
                      <c:pt idx="2925">
                        <c:v>285.49340000000001</c:v>
                      </c:pt>
                      <c:pt idx="2926">
                        <c:v>285.49340000000001</c:v>
                      </c:pt>
                      <c:pt idx="2927">
                        <c:v>285.49340000000001</c:v>
                      </c:pt>
                      <c:pt idx="2928">
                        <c:v>285.49340000000001</c:v>
                      </c:pt>
                      <c:pt idx="2929">
                        <c:v>285.49340000000001</c:v>
                      </c:pt>
                      <c:pt idx="2930">
                        <c:v>285.49340000000001</c:v>
                      </c:pt>
                      <c:pt idx="2931">
                        <c:v>285.49340000000001</c:v>
                      </c:pt>
                      <c:pt idx="2932">
                        <c:v>285.49340000000001</c:v>
                      </c:pt>
                      <c:pt idx="2933">
                        <c:v>285.49340000000001</c:v>
                      </c:pt>
                      <c:pt idx="2934">
                        <c:v>285.49340000000001</c:v>
                      </c:pt>
                      <c:pt idx="2935">
                        <c:v>285.49340000000001</c:v>
                      </c:pt>
                      <c:pt idx="2936">
                        <c:v>285.49340000000001</c:v>
                      </c:pt>
                      <c:pt idx="2937">
                        <c:v>285.49340000000001</c:v>
                      </c:pt>
                      <c:pt idx="2938">
                        <c:v>285.49340000000001</c:v>
                      </c:pt>
                      <c:pt idx="2939">
                        <c:v>285.49340000000001</c:v>
                      </c:pt>
                      <c:pt idx="2940">
                        <c:v>285.49340000000001</c:v>
                      </c:pt>
                      <c:pt idx="2941">
                        <c:v>285.49340000000001</c:v>
                      </c:pt>
                      <c:pt idx="2942">
                        <c:v>285.49340000000001</c:v>
                      </c:pt>
                      <c:pt idx="2943">
                        <c:v>285.49340000000001</c:v>
                      </c:pt>
                      <c:pt idx="2944">
                        <c:v>285.49340000000001</c:v>
                      </c:pt>
                      <c:pt idx="2945">
                        <c:v>285.49340000000001</c:v>
                      </c:pt>
                      <c:pt idx="2946">
                        <c:v>285.49340000000001</c:v>
                      </c:pt>
                      <c:pt idx="2947">
                        <c:v>285.49340000000001</c:v>
                      </c:pt>
                      <c:pt idx="2948">
                        <c:v>285.49340000000001</c:v>
                      </c:pt>
                      <c:pt idx="2949">
                        <c:v>285.49340000000001</c:v>
                      </c:pt>
                      <c:pt idx="2950">
                        <c:v>285.49340000000001</c:v>
                      </c:pt>
                      <c:pt idx="2951">
                        <c:v>285.49340000000001</c:v>
                      </c:pt>
                      <c:pt idx="2952">
                        <c:v>285.49340000000001</c:v>
                      </c:pt>
                      <c:pt idx="2953">
                        <c:v>285.49340000000001</c:v>
                      </c:pt>
                      <c:pt idx="2954">
                        <c:v>285.49340000000001</c:v>
                      </c:pt>
                      <c:pt idx="2955">
                        <c:v>285.49340000000001</c:v>
                      </c:pt>
                      <c:pt idx="2956">
                        <c:v>285.49340000000001</c:v>
                      </c:pt>
                      <c:pt idx="2957">
                        <c:v>285.49340000000001</c:v>
                      </c:pt>
                      <c:pt idx="2958">
                        <c:v>285.49340000000001</c:v>
                      </c:pt>
                      <c:pt idx="2959">
                        <c:v>285.49340000000001</c:v>
                      </c:pt>
                      <c:pt idx="2960">
                        <c:v>285.49340000000001</c:v>
                      </c:pt>
                      <c:pt idx="2961">
                        <c:v>285.49340000000001</c:v>
                      </c:pt>
                      <c:pt idx="2962">
                        <c:v>285.49340000000001</c:v>
                      </c:pt>
                      <c:pt idx="2963">
                        <c:v>285.49340000000001</c:v>
                      </c:pt>
                      <c:pt idx="2964">
                        <c:v>285.49340000000001</c:v>
                      </c:pt>
                      <c:pt idx="2965">
                        <c:v>285.49340000000001</c:v>
                      </c:pt>
                      <c:pt idx="2966">
                        <c:v>285.49340000000001</c:v>
                      </c:pt>
                      <c:pt idx="2967">
                        <c:v>285.49340000000001</c:v>
                      </c:pt>
                      <c:pt idx="2968">
                        <c:v>285.49340000000001</c:v>
                      </c:pt>
                      <c:pt idx="2969">
                        <c:v>285.49340000000001</c:v>
                      </c:pt>
                      <c:pt idx="2970">
                        <c:v>285.49340000000001</c:v>
                      </c:pt>
                      <c:pt idx="2971">
                        <c:v>285.49340000000001</c:v>
                      </c:pt>
                      <c:pt idx="2972">
                        <c:v>285.49340000000001</c:v>
                      </c:pt>
                      <c:pt idx="2973">
                        <c:v>285.49340000000001</c:v>
                      </c:pt>
                      <c:pt idx="2974">
                        <c:v>285.49340000000001</c:v>
                      </c:pt>
                      <c:pt idx="2975">
                        <c:v>285.49340000000001</c:v>
                      </c:pt>
                      <c:pt idx="2976">
                        <c:v>285.49340000000001</c:v>
                      </c:pt>
                      <c:pt idx="2977">
                        <c:v>285.49340000000001</c:v>
                      </c:pt>
                      <c:pt idx="2978">
                        <c:v>285.49340000000001</c:v>
                      </c:pt>
                      <c:pt idx="2979">
                        <c:v>285.49340000000001</c:v>
                      </c:pt>
                      <c:pt idx="2980">
                        <c:v>285.49340000000001</c:v>
                      </c:pt>
                      <c:pt idx="2981">
                        <c:v>285.49340000000001</c:v>
                      </c:pt>
                      <c:pt idx="2982">
                        <c:v>285.49340000000001</c:v>
                      </c:pt>
                      <c:pt idx="2983">
                        <c:v>285.49340000000001</c:v>
                      </c:pt>
                      <c:pt idx="2984">
                        <c:v>285.49340000000001</c:v>
                      </c:pt>
                      <c:pt idx="2985">
                        <c:v>285.49340000000001</c:v>
                      </c:pt>
                      <c:pt idx="2986">
                        <c:v>285.49340000000001</c:v>
                      </c:pt>
                      <c:pt idx="2987">
                        <c:v>285.49340000000001</c:v>
                      </c:pt>
                      <c:pt idx="2988">
                        <c:v>285.49340000000001</c:v>
                      </c:pt>
                      <c:pt idx="2989">
                        <c:v>285.49340000000001</c:v>
                      </c:pt>
                      <c:pt idx="2990">
                        <c:v>285.49340000000001</c:v>
                      </c:pt>
                      <c:pt idx="2991">
                        <c:v>285.49340000000001</c:v>
                      </c:pt>
                      <c:pt idx="2992">
                        <c:v>285.49340000000001</c:v>
                      </c:pt>
                      <c:pt idx="2993">
                        <c:v>285.49340000000001</c:v>
                      </c:pt>
                      <c:pt idx="2994">
                        <c:v>285.49340000000001</c:v>
                      </c:pt>
                      <c:pt idx="2995">
                        <c:v>285.49340000000001</c:v>
                      </c:pt>
                      <c:pt idx="2996">
                        <c:v>285.49340000000001</c:v>
                      </c:pt>
                      <c:pt idx="2997">
                        <c:v>285.49340000000001</c:v>
                      </c:pt>
                      <c:pt idx="2998">
                        <c:v>285.49340000000001</c:v>
                      </c:pt>
                      <c:pt idx="2999">
                        <c:v>285.49340000000001</c:v>
                      </c:pt>
                      <c:pt idx="3000">
                        <c:v>285.49340000000001</c:v>
                      </c:pt>
                      <c:pt idx="3001">
                        <c:v>285.49340000000001</c:v>
                      </c:pt>
                      <c:pt idx="3002">
                        <c:v>285.49340000000001</c:v>
                      </c:pt>
                      <c:pt idx="3003">
                        <c:v>285.49340000000001</c:v>
                      </c:pt>
                      <c:pt idx="3004">
                        <c:v>285.49340000000001</c:v>
                      </c:pt>
                      <c:pt idx="3005">
                        <c:v>285.49340000000001</c:v>
                      </c:pt>
                      <c:pt idx="3006">
                        <c:v>285.49340000000001</c:v>
                      </c:pt>
                      <c:pt idx="3007">
                        <c:v>285.49340000000001</c:v>
                      </c:pt>
                      <c:pt idx="3008">
                        <c:v>285.49340000000001</c:v>
                      </c:pt>
                      <c:pt idx="3009">
                        <c:v>285.49340000000001</c:v>
                      </c:pt>
                      <c:pt idx="3010">
                        <c:v>285.49340000000001</c:v>
                      </c:pt>
                      <c:pt idx="3011">
                        <c:v>285.49340000000001</c:v>
                      </c:pt>
                      <c:pt idx="3012">
                        <c:v>285.49340000000001</c:v>
                      </c:pt>
                      <c:pt idx="3013">
                        <c:v>285.49340000000001</c:v>
                      </c:pt>
                      <c:pt idx="3014">
                        <c:v>285.49340000000001</c:v>
                      </c:pt>
                      <c:pt idx="3015">
                        <c:v>285.49340000000001</c:v>
                      </c:pt>
                      <c:pt idx="3016">
                        <c:v>285.49340000000001</c:v>
                      </c:pt>
                      <c:pt idx="3017">
                        <c:v>285.49340000000001</c:v>
                      </c:pt>
                      <c:pt idx="3018">
                        <c:v>285.49340000000001</c:v>
                      </c:pt>
                      <c:pt idx="3019">
                        <c:v>285.49340000000001</c:v>
                      </c:pt>
                      <c:pt idx="3020">
                        <c:v>285.49340000000001</c:v>
                      </c:pt>
                      <c:pt idx="3021">
                        <c:v>285.49340000000001</c:v>
                      </c:pt>
                      <c:pt idx="3022">
                        <c:v>285.49340000000001</c:v>
                      </c:pt>
                      <c:pt idx="3023">
                        <c:v>285.49340000000001</c:v>
                      </c:pt>
                      <c:pt idx="3024">
                        <c:v>285.49340000000001</c:v>
                      </c:pt>
                      <c:pt idx="3025">
                        <c:v>285.49340000000001</c:v>
                      </c:pt>
                      <c:pt idx="3026">
                        <c:v>285.49340000000001</c:v>
                      </c:pt>
                      <c:pt idx="3027">
                        <c:v>285.49340000000001</c:v>
                      </c:pt>
                      <c:pt idx="3028">
                        <c:v>285.49340000000001</c:v>
                      </c:pt>
                      <c:pt idx="3029">
                        <c:v>285.49340000000001</c:v>
                      </c:pt>
                      <c:pt idx="3030">
                        <c:v>285.49340000000001</c:v>
                      </c:pt>
                      <c:pt idx="3031">
                        <c:v>285.49340000000001</c:v>
                      </c:pt>
                      <c:pt idx="3032">
                        <c:v>285.49340000000001</c:v>
                      </c:pt>
                      <c:pt idx="3033">
                        <c:v>285.49340000000001</c:v>
                      </c:pt>
                      <c:pt idx="3034">
                        <c:v>285.49340000000001</c:v>
                      </c:pt>
                      <c:pt idx="3035">
                        <c:v>285.49340000000001</c:v>
                      </c:pt>
                      <c:pt idx="3036">
                        <c:v>285.49340000000001</c:v>
                      </c:pt>
                      <c:pt idx="3037">
                        <c:v>285.49340000000001</c:v>
                      </c:pt>
                      <c:pt idx="3038">
                        <c:v>285.49340000000001</c:v>
                      </c:pt>
                      <c:pt idx="3039">
                        <c:v>285.49340000000001</c:v>
                      </c:pt>
                      <c:pt idx="3040">
                        <c:v>285.49340000000001</c:v>
                      </c:pt>
                      <c:pt idx="3041">
                        <c:v>285.49340000000001</c:v>
                      </c:pt>
                      <c:pt idx="3042">
                        <c:v>285.49340000000001</c:v>
                      </c:pt>
                      <c:pt idx="3043">
                        <c:v>285.49340000000001</c:v>
                      </c:pt>
                      <c:pt idx="3044">
                        <c:v>285.49340000000001</c:v>
                      </c:pt>
                      <c:pt idx="3045">
                        <c:v>285.49340000000001</c:v>
                      </c:pt>
                      <c:pt idx="3046">
                        <c:v>285.49340000000001</c:v>
                      </c:pt>
                      <c:pt idx="3047">
                        <c:v>285.49340000000001</c:v>
                      </c:pt>
                      <c:pt idx="3048">
                        <c:v>285.49340000000001</c:v>
                      </c:pt>
                      <c:pt idx="3049">
                        <c:v>285.49340000000001</c:v>
                      </c:pt>
                      <c:pt idx="3050">
                        <c:v>285.49340000000001</c:v>
                      </c:pt>
                      <c:pt idx="3051">
                        <c:v>285.49340000000001</c:v>
                      </c:pt>
                      <c:pt idx="3052">
                        <c:v>285.49340000000001</c:v>
                      </c:pt>
                      <c:pt idx="3053">
                        <c:v>285.49340000000001</c:v>
                      </c:pt>
                      <c:pt idx="3054">
                        <c:v>285.49340000000001</c:v>
                      </c:pt>
                      <c:pt idx="3055">
                        <c:v>285.49340000000001</c:v>
                      </c:pt>
                      <c:pt idx="3056">
                        <c:v>285.49340000000001</c:v>
                      </c:pt>
                      <c:pt idx="3057">
                        <c:v>285.49340000000001</c:v>
                      </c:pt>
                      <c:pt idx="3058">
                        <c:v>285.49340000000001</c:v>
                      </c:pt>
                      <c:pt idx="3059">
                        <c:v>285.49340000000001</c:v>
                      </c:pt>
                      <c:pt idx="3060">
                        <c:v>285.49340000000001</c:v>
                      </c:pt>
                      <c:pt idx="3061">
                        <c:v>285.49340000000001</c:v>
                      </c:pt>
                      <c:pt idx="3062">
                        <c:v>285.49340000000001</c:v>
                      </c:pt>
                      <c:pt idx="3063">
                        <c:v>285.49340000000001</c:v>
                      </c:pt>
                      <c:pt idx="3064">
                        <c:v>285.49340000000001</c:v>
                      </c:pt>
                      <c:pt idx="3065">
                        <c:v>285.49340000000001</c:v>
                      </c:pt>
                      <c:pt idx="3066">
                        <c:v>285.49340000000001</c:v>
                      </c:pt>
                      <c:pt idx="3067">
                        <c:v>285.49340000000001</c:v>
                      </c:pt>
                      <c:pt idx="3068">
                        <c:v>285.49340000000001</c:v>
                      </c:pt>
                      <c:pt idx="3069">
                        <c:v>285.49340000000001</c:v>
                      </c:pt>
                      <c:pt idx="3070">
                        <c:v>285.49340000000001</c:v>
                      </c:pt>
                      <c:pt idx="3071">
                        <c:v>285.49340000000001</c:v>
                      </c:pt>
                      <c:pt idx="3072">
                        <c:v>285.49340000000001</c:v>
                      </c:pt>
                      <c:pt idx="3073">
                        <c:v>285.49340000000001</c:v>
                      </c:pt>
                      <c:pt idx="3074">
                        <c:v>285.49340000000001</c:v>
                      </c:pt>
                      <c:pt idx="3075">
                        <c:v>285.49340000000001</c:v>
                      </c:pt>
                      <c:pt idx="3076">
                        <c:v>285.49340000000001</c:v>
                      </c:pt>
                      <c:pt idx="3077">
                        <c:v>285.49340000000001</c:v>
                      </c:pt>
                      <c:pt idx="3078">
                        <c:v>285.49340000000001</c:v>
                      </c:pt>
                      <c:pt idx="3079">
                        <c:v>285.49340000000001</c:v>
                      </c:pt>
                      <c:pt idx="3080">
                        <c:v>285.49340000000001</c:v>
                      </c:pt>
                      <c:pt idx="3081">
                        <c:v>285.49340000000001</c:v>
                      </c:pt>
                      <c:pt idx="3082">
                        <c:v>285.49340000000001</c:v>
                      </c:pt>
                      <c:pt idx="3083">
                        <c:v>285.49340000000001</c:v>
                      </c:pt>
                      <c:pt idx="3084">
                        <c:v>285.49340000000001</c:v>
                      </c:pt>
                      <c:pt idx="3085">
                        <c:v>285.49340000000001</c:v>
                      </c:pt>
                      <c:pt idx="3086">
                        <c:v>285.49340000000001</c:v>
                      </c:pt>
                      <c:pt idx="3087">
                        <c:v>285.49340000000001</c:v>
                      </c:pt>
                      <c:pt idx="3088">
                        <c:v>285.49340000000001</c:v>
                      </c:pt>
                      <c:pt idx="3089">
                        <c:v>285.49340000000001</c:v>
                      </c:pt>
                      <c:pt idx="3090">
                        <c:v>285.49340000000001</c:v>
                      </c:pt>
                      <c:pt idx="3091">
                        <c:v>285.49340000000001</c:v>
                      </c:pt>
                      <c:pt idx="3092">
                        <c:v>285.49340000000001</c:v>
                      </c:pt>
                      <c:pt idx="3093">
                        <c:v>285.49340000000001</c:v>
                      </c:pt>
                      <c:pt idx="3094">
                        <c:v>285.49340000000001</c:v>
                      </c:pt>
                      <c:pt idx="3095">
                        <c:v>285.49340000000001</c:v>
                      </c:pt>
                      <c:pt idx="3096">
                        <c:v>285.49340000000001</c:v>
                      </c:pt>
                      <c:pt idx="3097">
                        <c:v>285.49340000000001</c:v>
                      </c:pt>
                      <c:pt idx="3098">
                        <c:v>285.49340000000001</c:v>
                      </c:pt>
                      <c:pt idx="3099">
                        <c:v>285.49340000000001</c:v>
                      </c:pt>
                      <c:pt idx="3100">
                        <c:v>285.49340000000001</c:v>
                      </c:pt>
                      <c:pt idx="3101">
                        <c:v>285.49340000000001</c:v>
                      </c:pt>
                      <c:pt idx="3102">
                        <c:v>285.49340000000001</c:v>
                      </c:pt>
                      <c:pt idx="3103">
                        <c:v>285.49340000000001</c:v>
                      </c:pt>
                      <c:pt idx="3104">
                        <c:v>285.49340000000001</c:v>
                      </c:pt>
                      <c:pt idx="3105">
                        <c:v>285.49340000000001</c:v>
                      </c:pt>
                      <c:pt idx="3106">
                        <c:v>285.49340000000001</c:v>
                      </c:pt>
                      <c:pt idx="3107">
                        <c:v>285.49340000000001</c:v>
                      </c:pt>
                      <c:pt idx="3108">
                        <c:v>285.49340000000001</c:v>
                      </c:pt>
                      <c:pt idx="3109">
                        <c:v>285.49340000000001</c:v>
                      </c:pt>
                      <c:pt idx="3110">
                        <c:v>285.49340000000001</c:v>
                      </c:pt>
                      <c:pt idx="3111">
                        <c:v>285.49340000000001</c:v>
                      </c:pt>
                      <c:pt idx="3112">
                        <c:v>285.49340000000001</c:v>
                      </c:pt>
                      <c:pt idx="3113">
                        <c:v>285.49340000000001</c:v>
                      </c:pt>
                      <c:pt idx="3114">
                        <c:v>285.49340000000001</c:v>
                      </c:pt>
                      <c:pt idx="3115">
                        <c:v>285.49340000000001</c:v>
                      </c:pt>
                      <c:pt idx="3116">
                        <c:v>285.49340000000001</c:v>
                      </c:pt>
                      <c:pt idx="3117">
                        <c:v>285.49340000000001</c:v>
                      </c:pt>
                      <c:pt idx="3118">
                        <c:v>285.49340000000001</c:v>
                      </c:pt>
                      <c:pt idx="3119">
                        <c:v>285.49340000000001</c:v>
                      </c:pt>
                      <c:pt idx="3120">
                        <c:v>285.49340000000001</c:v>
                      </c:pt>
                      <c:pt idx="3121">
                        <c:v>285.49340000000001</c:v>
                      </c:pt>
                      <c:pt idx="3122">
                        <c:v>285.49340000000001</c:v>
                      </c:pt>
                      <c:pt idx="3123">
                        <c:v>285.49340000000001</c:v>
                      </c:pt>
                      <c:pt idx="3124">
                        <c:v>285.49340000000001</c:v>
                      </c:pt>
                      <c:pt idx="3125">
                        <c:v>285.49340000000001</c:v>
                      </c:pt>
                      <c:pt idx="3126">
                        <c:v>285.49340000000001</c:v>
                      </c:pt>
                      <c:pt idx="3127">
                        <c:v>285.49340000000001</c:v>
                      </c:pt>
                      <c:pt idx="3128">
                        <c:v>285.49340000000001</c:v>
                      </c:pt>
                      <c:pt idx="3129">
                        <c:v>285.49340000000001</c:v>
                      </c:pt>
                      <c:pt idx="3130">
                        <c:v>285.49340000000001</c:v>
                      </c:pt>
                      <c:pt idx="3131">
                        <c:v>285.49340000000001</c:v>
                      </c:pt>
                      <c:pt idx="3132">
                        <c:v>285.49340000000001</c:v>
                      </c:pt>
                      <c:pt idx="3133">
                        <c:v>285.49340000000001</c:v>
                      </c:pt>
                      <c:pt idx="3134">
                        <c:v>285.49340000000001</c:v>
                      </c:pt>
                      <c:pt idx="3135">
                        <c:v>285.49340000000001</c:v>
                      </c:pt>
                      <c:pt idx="3136">
                        <c:v>285.49340000000001</c:v>
                      </c:pt>
                      <c:pt idx="3137">
                        <c:v>285.49340000000001</c:v>
                      </c:pt>
                      <c:pt idx="3138">
                        <c:v>285.49340000000001</c:v>
                      </c:pt>
                      <c:pt idx="3139">
                        <c:v>285.49340000000001</c:v>
                      </c:pt>
                      <c:pt idx="3140">
                        <c:v>285.49340000000001</c:v>
                      </c:pt>
                      <c:pt idx="3141">
                        <c:v>285.49340000000001</c:v>
                      </c:pt>
                      <c:pt idx="3142">
                        <c:v>285.49340000000001</c:v>
                      </c:pt>
                      <c:pt idx="3143">
                        <c:v>285.49340000000001</c:v>
                      </c:pt>
                      <c:pt idx="3144">
                        <c:v>285.49340000000001</c:v>
                      </c:pt>
                      <c:pt idx="3145">
                        <c:v>285.49340000000001</c:v>
                      </c:pt>
                      <c:pt idx="3146">
                        <c:v>285.49340000000001</c:v>
                      </c:pt>
                      <c:pt idx="3147">
                        <c:v>285.49340000000001</c:v>
                      </c:pt>
                      <c:pt idx="3148">
                        <c:v>285.49340000000001</c:v>
                      </c:pt>
                      <c:pt idx="3149">
                        <c:v>285.49340000000001</c:v>
                      </c:pt>
                      <c:pt idx="3150">
                        <c:v>285.49340000000001</c:v>
                      </c:pt>
                      <c:pt idx="3151">
                        <c:v>285.49340000000001</c:v>
                      </c:pt>
                      <c:pt idx="3152">
                        <c:v>285.49340000000001</c:v>
                      </c:pt>
                      <c:pt idx="3153">
                        <c:v>285.49340000000001</c:v>
                      </c:pt>
                      <c:pt idx="3154">
                        <c:v>285.49340000000001</c:v>
                      </c:pt>
                      <c:pt idx="3155">
                        <c:v>285.49340000000001</c:v>
                      </c:pt>
                      <c:pt idx="3156">
                        <c:v>285.49340000000001</c:v>
                      </c:pt>
                      <c:pt idx="3157">
                        <c:v>285.49340000000001</c:v>
                      </c:pt>
                      <c:pt idx="3158">
                        <c:v>285.49340000000001</c:v>
                      </c:pt>
                      <c:pt idx="3159">
                        <c:v>285.49340000000001</c:v>
                      </c:pt>
                      <c:pt idx="3160">
                        <c:v>285.49340000000001</c:v>
                      </c:pt>
                      <c:pt idx="3161">
                        <c:v>285.49340000000001</c:v>
                      </c:pt>
                      <c:pt idx="3162">
                        <c:v>285.49340000000001</c:v>
                      </c:pt>
                      <c:pt idx="3163">
                        <c:v>285.49340000000001</c:v>
                      </c:pt>
                      <c:pt idx="3164">
                        <c:v>285.49340000000001</c:v>
                      </c:pt>
                      <c:pt idx="3165">
                        <c:v>285.49340000000001</c:v>
                      </c:pt>
                      <c:pt idx="3166">
                        <c:v>285.49340000000001</c:v>
                      </c:pt>
                      <c:pt idx="3167">
                        <c:v>285.49340000000001</c:v>
                      </c:pt>
                      <c:pt idx="3168">
                        <c:v>285.49340000000001</c:v>
                      </c:pt>
                      <c:pt idx="3169">
                        <c:v>285.49340000000001</c:v>
                      </c:pt>
                      <c:pt idx="3170">
                        <c:v>285.49340000000001</c:v>
                      </c:pt>
                      <c:pt idx="3171">
                        <c:v>285.49340000000001</c:v>
                      </c:pt>
                      <c:pt idx="3172">
                        <c:v>285.49340000000001</c:v>
                      </c:pt>
                      <c:pt idx="3173">
                        <c:v>285.49340000000001</c:v>
                      </c:pt>
                      <c:pt idx="3174">
                        <c:v>285.49340000000001</c:v>
                      </c:pt>
                      <c:pt idx="3175">
                        <c:v>285.49340000000001</c:v>
                      </c:pt>
                      <c:pt idx="3176">
                        <c:v>285.49340000000001</c:v>
                      </c:pt>
                      <c:pt idx="3177">
                        <c:v>285.49340000000001</c:v>
                      </c:pt>
                      <c:pt idx="3178">
                        <c:v>285.49340000000001</c:v>
                      </c:pt>
                      <c:pt idx="3179">
                        <c:v>285.49340000000001</c:v>
                      </c:pt>
                      <c:pt idx="3180">
                        <c:v>285.49340000000001</c:v>
                      </c:pt>
                      <c:pt idx="3181">
                        <c:v>285.49340000000001</c:v>
                      </c:pt>
                      <c:pt idx="3182">
                        <c:v>285.49340000000001</c:v>
                      </c:pt>
                      <c:pt idx="3183">
                        <c:v>285.49340000000001</c:v>
                      </c:pt>
                      <c:pt idx="3184">
                        <c:v>285.49340000000001</c:v>
                      </c:pt>
                      <c:pt idx="3185">
                        <c:v>285.49340000000001</c:v>
                      </c:pt>
                      <c:pt idx="3186">
                        <c:v>285.49340000000001</c:v>
                      </c:pt>
                      <c:pt idx="3187">
                        <c:v>285.49340000000001</c:v>
                      </c:pt>
                      <c:pt idx="3188">
                        <c:v>285.49340000000001</c:v>
                      </c:pt>
                      <c:pt idx="3189">
                        <c:v>285.49340000000001</c:v>
                      </c:pt>
                      <c:pt idx="3190">
                        <c:v>285.49340000000001</c:v>
                      </c:pt>
                      <c:pt idx="3191">
                        <c:v>285.49340000000001</c:v>
                      </c:pt>
                      <c:pt idx="3192">
                        <c:v>285.49340000000001</c:v>
                      </c:pt>
                      <c:pt idx="3193">
                        <c:v>285.49340000000001</c:v>
                      </c:pt>
                      <c:pt idx="3194">
                        <c:v>285.49340000000001</c:v>
                      </c:pt>
                      <c:pt idx="3195">
                        <c:v>285.49340000000001</c:v>
                      </c:pt>
                      <c:pt idx="3196">
                        <c:v>285.49340000000001</c:v>
                      </c:pt>
                      <c:pt idx="3197">
                        <c:v>285.49340000000001</c:v>
                      </c:pt>
                      <c:pt idx="3198">
                        <c:v>285.49340000000001</c:v>
                      </c:pt>
                      <c:pt idx="3199">
                        <c:v>285.49340000000001</c:v>
                      </c:pt>
                      <c:pt idx="3200">
                        <c:v>285.49340000000001</c:v>
                      </c:pt>
                      <c:pt idx="3201">
                        <c:v>285.49340000000001</c:v>
                      </c:pt>
                      <c:pt idx="3202">
                        <c:v>285.49340000000001</c:v>
                      </c:pt>
                      <c:pt idx="3203">
                        <c:v>285.49340000000001</c:v>
                      </c:pt>
                      <c:pt idx="3204">
                        <c:v>285.49340000000001</c:v>
                      </c:pt>
                      <c:pt idx="3205">
                        <c:v>285.49340000000001</c:v>
                      </c:pt>
                      <c:pt idx="3206">
                        <c:v>285.49340000000001</c:v>
                      </c:pt>
                      <c:pt idx="3207">
                        <c:v>285.49340000000001</c:v>
                      </c:pt>
                      <c:pt idx="3208">
                        <c:v>285.49340000000001</c:v>
                      </c:pt>
                      <c:pt idx="3209">
                        <c:v>285.49340000000001</c:v>
                      </c:pt>
                      <c:pt idx="3210">
                        <c:v>285.49340000000001</c:v>
                      </c:pt>
                      <c:pt idx="3211">
                        <c:v>285.49340000000001</c:v>
                      </c:pt>
                      <c:pt idx="3212">
                        <c:v>285.49340000000001</c:v>
                      </c:pt>
                      <c:pt idx="3213">
                        <c:v>285.49340000000001</c:v>
                      </c:pt>
                      <c:pt idx="3214">
                        <c:v>285.49340000000001</c:v>
                      </c:pt>
                      <c:pt idx="3215">
                        <c:v>285.49340000000001</c:v>
                      </c:pt>
                      <c:pt idx="3216">
                        <c:v>285.49340000000001</c:v>
                      </c:pt>
                      <c:pt idx="3217">
                        <c:v>285.49340000000001</c:v>
                      </c:pt>
                      <c:pt idx="3218">
                        <c:v>285.49340000000001</c:v>
                      </c:pt>
                      <c:pt idx="3219">
                        <c:v>285.49340000000001</c:v>
                      </c:pt>
                      <c:pt idx="3220">
                        <c:v>285.49340000000001</c:v>
                      </c:pt>
                      <c:pt idx="3221">
                        <c:v>285.49340000000001</c:v>
                      </c:pt>
                      <c:pt idx="3222">
                        <c:v>285.49340000000001</c:v>
                      </c:pt>
                      <c:pt idx="3223">
                        <c:v>285.49340000000001</c:v>
                      </c:pt>
                      <c:pt idx="3224">
                        <c:v>285.49340000000001</c:v>
                      </c:pt>
                      <c:pt idx="3225">
                        <c:v>285.49340000000001</c:v>
                      </c:pt>
                      <c:pt idx="3226">
                        <c:v>285.49340000000001</c:v>
                      </c:pt>
                      <c:pt idx="3227">
                        <c:v>285.49340000000001</c:v>
                      </c:pt>
                      <c:pt idx="3228">
                        <c:v>285.49340000000001</c:v>
                      </c:pt>
                      <c:pt idx="3229">
                        <c:v>285.49340000000001</c:v>
                      </c:pt>
                      <c:pt idx="3230">
                        <c:v>285.49340000000001</c:v>
                      </c:pt>
                      <c:pt idx="3231">
                        <c:v>285.49340000000001</c:v>
                      </c:pt>
                      <c:pt idx="3232">
                        <c:v>285.49340000000001</c:v>
                      </c:pt>
                      <c:pt idx="3233">
                        <c:v>285.49340000000001</c:v>
                      </c:pt>
                      <c:pt idx="3234">
                        <c:v>285.49340000000001</c:v>
                      </c:pt>
                      <c:pt idx="3235">
                        <c:v>285.49340000000001</c:v>
                      </c:pt>
                      <c:pt idx="3236">
                        <c:v>285.49340000000001</c:v>
                      </c:pt>
                      <c:pt idx="3237">
                        <c:v>285.49340000000001</c:v>
                      </c:pt>
                      <c:pt idx="3238">
                        <c:v>285.49340000000001</c:v>
                      </c:pt>
                      <c:pt idx="3239">
                        <c:v>285.49340000000001</c:v>
                      </c:pt>
                      <c:pt idx="3240">
                        <c:v>285.49340000000001</c:v>
                      </c:pt>
                      <c:pt idx="3241">
                        <c:v>285.49340000000001</c:v>
                      </c:pt>
                      <c:pt idx="3242">
                        <c:v>285.49340000000001</c:v>
                      </c:pt>
                      <c:pt idx="3243">
                        <c:v>285.49340000000001</c:v>
                      </c:pt>
                      <c:pt idx="3244">
                        <c:v>285.49340000000001</c:v>
                      </c:pt>
                      <c:pt idx="3245">
                        <c:v>285.49340000000001</c:v>
                      </c:pt>
                      <c:pt idx="3246">
                        <c:v>285.49340000000001</c:v>
                      </c:pt>
                      <c:pt idx="3247">
                        <c:v>285.49340000000001</c:v>
                      </c:pt>
                      <c:pt idx="3248">
                        <c:v>285.49340000000001</c:v>
                      </c:pt>
                      <c:pt idx="3249">
                        <c:v>285.49340000000001</c:v>
                      </c:pt>
                      <c:pt idx="3250">
                        <c:v>285.49340000000001</c:v>
                      </c:pt>
                      <c:pt idx="3251">
                        <c:v>285.49340000000001</c:v>
                      </c:pt>
                      <c:pt idx="3252">
                        <c:v>285.49340000000001</c:v>
                      </c:pt>
                      <c:pt idx="3253">
                        <c:v>285.49340000000001</c:v>
                      </c:pt>
                      <c:pt idx="3254">
                        <c:v>285.49340000000001</c:v>
                      </c:pt>
                      <c:pt idx="3255">
                        <c:v>285.49340000000001</c:v>
                      </c:pt>
                      <c:pt idx="3256">
                        <c:v>285.49340000000001</c:v>
                      </c:pt>
                      <c:pt idx="3257">
                        <c:v>285.49340000000001</c:v>
                      </c:pt>
                      <c:pt idx="3258">
                        <c:v>285.49340000000001</c:v>
                      </c:pt>
                      <c:pt idx="3259">
                        <c:v>285.49340000000001</c:v>
                      </c:pt>
                      <c:pt idx="3260">
                        <c:v>285.49340000000001</c:v>
                      </c:pt>
                      <c:pt idx="3261">
                        <c:v>285.49340000000001</c:v>
                      </c:pt>
                      <c:pt idx="3262">
                        <c:v>285.49340000000001</c:v>
                      </c:pt>
                      <c:pt idx="3263">
                        <c:v>285.49340000000001</c:v>
                      </c:pt>
                      <c:pt idx="3264">
                        <c:v>285.49340000000001</c:v>
                      </c:pt>
                      <c:pt idx="3265">
                        <c:v>285.49340000000001</c:v>
                      </c:pt>
                      <c:pt idx="3266">
                        <c:v>285.49340000000001</c:v>
                      </c:pt>
                      <c:pt idx="3267">
                        <c:v>285.49340000000001</c:v>
                      </c:pt>
                      <c:pt idx="3268">
                        <c:v>285.49340000000001</c:v>
                      </c:pt>
                      <c:pt idx="3269">
                        <c:v>285.49340000000001</c:v>
                      </c:pt>
                      <c:pt idx="3270">
                        <c:v>285.49340000000001</c:v>
                      </c:pt>
                      <c:pt idx="3271">
                        <c:v>285.49340000000001</c:v>
                      </c:pt>
                      <c:pt idx="3272">
                        <c:v>285.49340000000001</c:v>
                      </c:pt>
                      <c:pt idx="3273">
                        <c:v>285.49340000000001</c:v>
                      </c:pt>
                      <c:pt idx="3274">
                        <c:v>285.49340000000001</c:v>
                      </c:pt>
                      <c:pt idx="3275">
                        <c:v>285.49340000000001</c:v>
                      </c:pt>
                      <c:pt idx="3276">
                        <c:v>285.49340000000001</c:v>
                      </c:pt>
                      <c:pt idx="3277">
                        <c:v>285.49340000000001</c:v>
                      </c:pt>
                      <c:pt idx="3278">
                        <c:v>285.49340000000001</c:v>
                      </c:pt>
                      <c:pt idx="3279">
                        <c:v>285.49340000000001</c:v>
                      </c:pt>
                      <c:pt idx="3280">
                        <c:v>285.49340000000001</c:v>
                      </c:pt>
                      <c:pt idx="3281">
                        <c:v>285.49340000000001</c:v>
                      </c:pt>
                      <c:pt idx="3282">
                        <c:v>285.49340000000001</c:v>
                      </c:pt>
                      <c:pt idx="3283">
                        <c:v>285.49340000000001</c:v>
                      </c:pt>
                      <c:pt idx="3284">
                        <c:v>285.49340000000001</c:v>
                      </c:pt>
                      <c:pt idx="3285">
                        <c:v>285.49340000000001</c:v>
                      </c:pt>
                      <c:pt idx="3286">
                        <c:v>285.49340000000001</c:v>
                      </c:pt>
                      <c:pt idx="3287">
                        <c:v>285.49340000000001</c:v>
                      </c:pt>
                      <c:pt idx="3288">
                        <c:v>285.49340000000001</c:v>
                      </c:pt>
                      <c:pt idx="3289">
                        <c:v>285.49340000000001</c:v>
                      </c:pt>
                      <c:pt idx="3290">
                        <c:v>285.49340000000001</c:v>
                      </c:pt>
                      <c:pt idx="3291">
                        <c:v>285.49340000000001</c:v>
                      </c:pt>
                      <c:pt idx="3292">
                        <c:v>285.49340000000001</c:v>
                      </c:pt>
                      <c:pt idx="3293">
                        <c:v>285.49340000000001</c:v>
                      </c:pt>
                      <c:pt idx="3294">
                        <c:v>285.49340000000001</c:v>
                      </c:pt>
                      <c:pt idx="3295">
                        <c:v>285.49340000000001</c:v>
                      </c:pt>
                      <c:pt idx="3296">
                        <c:v>285.49340000000001</c:v>
                      </c:pt>
                      <c:pt idx="3297">
                        <c:v>285.49340000000001</c:v>
                      </c:pt>
                      <c:pt idx="3298">
                        <c:v>285.49340000000001</c:v>
                      </c:pt>
                      <c:pt idx="3299">
                        <c:v>285.49340000000001</c:v>
                      </c:pt>
                      <c:pt idx="3300">
                        <c:v>285.49340000000001</c:v>
                      </c:pt>
                      <c:pt idx="3301">
                        <c:v>285.49340000000001</c:v>
                      </c:pt>
                      <c:pt idx="3302">
                        <c:v>285.49340000000001</c:v>
                      </c:pt>
                      <c:pt idx="3303">
                        <c:v>285.49340000000001</c:v>
                      </c:pt>
                      <c:pt idx="3304">
                        <c:v>285.49340000000001</c:v>
                      </c:pt>
                      <c:pt idx="3305">
                        <c:v>285.49340000000001</c:v>
                      </c:pt>
                      <c:pt idx="3306">
                        <c:v>285.49340000000001</c:v>
                      </c:pt>
                      <c:pt idx="3307">
                        <c:v>285.49340000000001</c:v>
                      </c:pt>
                      <c:pt idx="3308">
                        <c:v>285.49340000000001</c:v>
                      </c:pt>
                      <c:pt idx="3309">
                        <c:v>285.49340000000001</c:v>
                      </c:pt>
                      <c:pt idx="3310">
                        <c:v>285.49340000000001</c:v>
                      </c:pt>
                      <c:pt idx="3311">
                        <c:v>285.49340000000001</c:v>
                      </c:pt>
                      <c:pt idx="3312">
                        <c:v>285.49340000000001</c:v>
                      </c:pt>
                      <c:pt idx="3313">
                        <c:v>285.49340000000001</c:v>
                      </c:pt>
                      <c:pt idx="3314">
                        <c:v>285.49340000000001</c:v>
                      </c:pt>
                      <c:pt idx="3315">
                        <c:v>285.49340000000001</c:v>
                      </c:pt>
                      <c:pt idx="3316">
                        <c:v>285.49340000000001</c:v>
                      </c:pt>
                      <c:pt idx="3317">
                        <c:v>285.49340000000001</c:v>
                      </c:pt>
                      <c:pt idx="3318">
                        <c:v>285.49340000000001</c:v>
                      </c:pt>
                      <c:pt idx="3319">
                        <c:v>285.49340000000001</c:v>
                      </c:pt>
                      <c:pt idx="3320">
                        <c:v>285.49340000000001</c:v>
                      </c:pt>
                      <c:pt idx="3321">
                        <c:v>285.49340000000001</c:v>
                      </c:pt>
                      <c:pt idx="3322">
                        <c:v>285.49340000000001</c:v>
                      </c:pt>
                      <c:pt idx="3323">
                        <c:v>285.49340000000001</c:v>
                      </c:pt>
                      <c:pt idx="3324">
                        <c:v>285.49340000000001</c:v>
                      </c:pt>
                      <c:pt idx="3325">
                        <c:v>285.49340000000001</c:v>
                      </c:pt>
                      <c:pt idx="3326">
                        <c:v>285.49340000000001</c:v>
                      </c:pt>
                      <c:pt idx="3327">
                        <c:v>285.49340000000001</c:v>
                      </c:pt>
                      <c:pt idx="3328">
                        <c:v>285.49340000000001</c:v>
                      </c:pt>
                      <c:pt idx="3329">
                        <c:v>285.49340000000001</c:v>
                      </c:pt>
                      <c:pt idx="3330">
                        <c:v>285.49340000000001</c:v>
                      </c:pt>
                      <c:pt idx="3331">
                        <c:v>285.49340000000001</c:v>
                      </c:pt>
                      <c:pt idx="3332">
                        <c:v>285.49340000000001</c:v>
                      </c:pt>
                      <c:pt idx="3333">
                        <c:v>285.49340000000001</c:v>
                      </c:pt>
                      <c:pt idx="3334">
                        <c:v>285.49340000000001</c:v>
                      </c:pt>
                      <c:pt idx="3335">
                        <c:v>285.49340000000001</c:v>
                      </c:pt>
                      <c:pt idx="3336">
                        <c:v>285.49340000000001</c:v>
                      </c:pt>
                      <c:pt idx="3337">
                        <c:v>285.49340000000001</c:v>
                      </c:pt>
                      <c:pt idx="3338">
                        <c:v>285.49340000000001</c:v>
                      </c:pt>
                      <c:pt idx="3339">
                        <c:v>285.49340000000001</c:v>
                      </c:pt>
                      <c:pt idx="3340">
                        <c:v>285.49340000000001</c:v>
                      </c:pt>
                      <c:pt idx="3341">
                        <c:v>285.49340000000001</c:v>
                      </c:pt>
                      <c:pt idx="3342">
                        <c:v>285.49340000000001</c:v>
                      </c:pt>
                      <c:pt idx="3343">
                        <c:v>285.49340000000001</c:v>
                      </c:pt>
                      <c:pt idx="3344">
                        <c:v>285.49340000000001</c:v>
                      </c:pt>
                      <c:pt idx="3345">
                        <c:v>285.49340000000001</c:v>
                      </c:pt>
                      <c:pt idx="3346">
                        <c:v>285.49340000000001</c:v>
                      </c:pt>
                      <c:pt idx="3347">
                        <c:v>285.49340000000001</c:v>
                      </c:pt>
                      <c:pt idx="3348">
                        <c:v>285.49340000000001</c:v>
                      </c:pt>
                      <c:pt idx="3349">
                        <c:v>285.49340000000001</c:v>
                      </c:pt>
                      <c:pt idx="3350">
                        <c:v>285.49340000000001</c:v>
                      </c:pt>
                      <c:pt idx="3351">
                        <c:v>285.49340000000001</c:v>
                      </c:pt>
                      <c:pt idx="3352">
                        <c:v>285.49340000000001</c:v>
                      </c:pt>
                      <c:pt idx="3353">
                        <c:v>285.49340000000001</c:v>
                      </c:pt>
                      <c:pt idx="3354">
                        <c:v>285.49340000000001</c:v>
                      </c:pt>
                      <c:pt idx="3355">
                        <c:v>285.49340000000001</c:v>
                      </c:pt>
                      <c:pt idx="3356">
                        <c:v>285.49340000000001</c:v>
                      </c:pt>
                      <c:pt idx="3357">
                        <c:v>285.49340000000001</c:v>
                      </c:pt>
                      <c:pt idx="3358">
                        <c:v>285.49340000000001</c:v>
                      </c:pt>
                      <c:pt idx="3359">
                        <c:v>285.49340000000001</c:v>
                      </c:pt>
                      <c:pt idx="3360">
                        <c:v>285.49340000000001</c:v>
                      </c:pt>
                      <c:pt idx="3361">
                        <c:v>285.49340000000001</c:v>
                      </c:pt>
                      <c:pt idx="3362">
                        <c:v>285.49340000000001</c:v>
                      </c:pt>
                      <c:pt idx="3363">
                        <c:v>285.49340000000001</c:v>
                      </c:pt>
                      <c:pt idx="3364">
                        <c:v>285.49340000000001</c:v>
                      </c:pt>
                      <c:pt idx="3365">
                        <c:v>285.49340000000001</c:v>
                      </c:pt>
                      <c:pt idx="3366">
                        <c:v>285.49340000000001</c:v>
                      </c:pt>
                      <c:pt idx="3367">
                        <c:v>285.49340000000001</c:v>
                      </c:pt>
                      <c:pt idx="3368">
                        <c:v>285.49340000000001</c:v>
                      </c:pt>
                      <c:pt idx="3369">
                        <c:v>285.49340000000001</c:v>
                      </c:pt>
                      <c:pt idx="3370">
                        <c:v>285.49340000000001</c:v>
                      </c:pt>
                      <c:pt idx="3371">
                        <c:v>285.49340000000001</c:v>
                      </c:pt>
                      <c:pt idx="3372">
                        <c:v>285.49340000000001</c:v>
                      </c:pt>
                      <c:pt idx="3373">
                        <c:v>285.49340000000001</c:v>
                      </c:pt>
                      <c:pt idx="3374">
                        <c:v>285.49340000000001</c:v>
                      </c:pt>
                      <c:pt idx="3375">
                        <c:v>285.49340000000001</c:v>
                      </c:pt>
                      <c:pt idx="3376">
                        <c:v>285.49340000000001</c:v>
                      </c:pt>
                      <c:pt idx="3377">
                        <c:v>285.49340000000001</c:v>
                      </c:pt>
                      <c:pt idx="3378">
                        <c:v>285.49340000000001</c:v>
                      </c:pt>
                      <c:pt idx="3379">
                        <c:v>285.49340000000001</c:v>
                      </c:pt>
                      <c:pt idx="3380">
                        <c:v>285.49340000000001</c:v>
                      </c:pt>
                      <c:pt idx="3381">
                        <c:v>285.49340000000001</c:v>
                      </c:pt>
                      <c:pt idx="3382">
                        <c:v>285.49340000000001</c:v>
                      </c:pt>
                      <c:pt idx="3383">
                        <c:v>285.49340000000001</c:v>
                      </c:pt>
                      <c:pt idx="3384">
                        <c:v>285.49340000000001</c:v>
                      </c:pt>
                      <c:pt idx="3385">
                        <c:v>285.49340000000001</c:v>
                      </c:pt>
                      <c:pt idx="3386">
                        <c:v>285.49340000000001</c:v>
                      </c:pt>
                      <c:pt idx="3387">
                        <c:v>285.49340000000001</c:v>
                      </c:pt>
                      <c:pt idx="3388">
                        <c:v>285.49340000000001</c:v>
                      </c:pt>
                      <c:pt idx="3389">
                        <c:v>285.49340000000001</c:v>
                      </c:pt>
                      <c:pt idx="3390">
                        <c:v>285.49340000000001</c:v>
                      </c:pt>
                      <c:pt idx="3391">
                        <c:v>285.49340000000001</c:v>
                      </c:pt>
                      <c:pt idx="3392">
                        <c:v>285.49340000000001</c:v>
                      </c:pt>
                      <c:pt idx="3393">
                        <c:v>285.49340000000001</c:v>
                      </c:pt>
                      <c:pt idx="3394">
                        <c:v>285.49340000000001</c:v>
                      </c:pt>
                      <c:pt idx="3395">
                        <c:v>285.49340000000001</c:v>
                      </c:pt>
                      <c:pt idx="3396">
                        <c:v>285.49340000000001</c:v>
                      </c:pt>
                      <c:pt idx="3397">
                        <c:v>285.49340000000001</c:v>
                      </c:pt>
                      <c:pt idx="3398">
                        <c:v>285.49340000000001</c:v>
                      </c:pt>
                      <c:pt idx="3399">
                        <c:v>285.49340000000001</c:v>
                      </c:pt>
                      <c:pt idx="3400">
                        <c:v>285.49340000000001</c:v>
                      </c:pt>
                      <c:pt idx="3401">
                        <c:v>285.49340000000001</c:v>
                      </c:pt>
                      <c:pt idx="3402">
                        <c:v>285.49340000000001</c:v>
                      </c:pt>
                      <c:pt idx="3403">
                        <c:v>285.49340000000001</c:v>
                      </c:pt>
                      <c:pt idx="3404">
                        <c:v>285.49340000000001</c:v>
                      </c:pt>
                      <c:pt idx="3405">
                        <c:v>285.49340000000001</c:v>
                      </c:pt>
                      <c:pt idx="3406">
                        <c:v>285.49340000000001</c:v>
                      </c:pt>
                      <c:pt idx="3407">
                        <c:v>285.49340000000001</c:v>
                      </c:pt>
                      <c:pt idx="3408">
                        <c:v>285.49340000000001</c:v>
                      </c:pt>
                      <c:pt idx="3409">
                        <c:v>285.49340000000001</c:v>
                      </c:pt>
                      <c:pt idx="3410">
                        <c:v>285.49340000000001</c:v>
                      </c:pt>
                      <c:pt idx="3411">
                        <c:v>285.49340000000001</c:v>
                      </c:pt>
                      <c:pt idx="3412">
                        <c:v>285.49340000000001</c:v>
                      </c:pt>
                      <c:pt idx="3413">
                        <c:v>285.49340000000001</c:v>
                      </c:pt>
                      <c:pt idx="3414">
                        <c:v>285.49340000000001</c:v>
                      </c:pt>
                      <c:pt idx="3415">
                        <c:v>285.49340000000001</c:v>
                      </c:pt>
                      <c:pt idx="3416">
                        <c:v>285.49340000000001</c:v>
                      </c:pt>
                      <c:pt idx="3417">
                        <c:v>285.49340000000001</c:v>
                      </c:pt>
                      <c:pt idx="3418">
                        <c:v>285.49340000000001</c:v>
                      </c:pt>
                      <c:pt idx="3419">
                        <c:v>285.49340000000001</c:v>
                      </c:pt>
                      <c:pt idx="3420">
                        <c:v>285.49340000000001</c:v>
                      </c:pt>
                      <c:pt idx="3421">
                        <c:v>285.49340000000001</c:v>
                      </c:pt>
                      <c:pt idx="3422">
                        <c:v>285.49340000000001</c:v>
                      </c:pt>
                      <c:pt idx="3423">
                        <c:v>285.49340000000001</c:v>
                      </c:pt>
                      <c:pt idx="3424">
                        <c:v>285.49340000000001</c:v>
                      </c:pt>
                      <c:pt idx="3425">
                        <c:v>285.49340000000001</c:v>
                      </c:pt>
                      <c:pt idx="3426">
                        <c:v>285.49340000000001</c:v>
                      </c:pt>
                      <c:pt idx="3427">
                        <c:v>285.49340000000001</c:v>
                      </c:pt>
                      <c:pt idx="3428">
                        <c:v>285.49340000000001</c:v>
                      </c:pt>
                      <c:pt idx="3429">
                        <c:v>285.49340000000001</c:v>
                      </c:pt>
                      <c:pt idx="3430">
                        <c:v>285.49340000000001</c:v>
                      </c:pt>
                      <c:pt idx="3431">
                        <c:v>285.49340000000001</c:v>
                      </c:pt>
                      <c:pt idx="3432">
                        <c:v>285.49340000000001</c:v>
                      </c:pt>
                      <c:pt idx="3433">
                        <c:v>285.49340000000001</c:v>
                      </c:pt>
                      <c:pt idx="3434">
                        <c:v>285.49340000000001</c:v>
                      </c:pt>
                      <c:pt idx="3435">
                        <c:v>285.49340000000001</c:v>
                      </c:pt>
                      <c:pt idx="3436">
                        <c:v>285.49340000000001</c:v>
                      </c:pt>
                      <c:pt idx="3437">
                        <c:v>285.49340000000001</c:v>
                      </c:pt>
                      <c:pt idx="3438">
                        <c:v>285.49340000000001</c:v>
                      </c:pt>
                      <c:pt idx="3439">
                        <c:v>285.49340000000001</c:v>
                      </c:pt>
                      <c:pt idx="3440">
                        <c:v>285.49340000000001</c:v>
                      </c:pt>
                      <c:pt idx="3441">
                        <c:v>285.49340000000001</c:v>
                      </c:pt>
                      <c:pt idx="3442">
                        <c:v>285.49340000000001</c:v>
                      </c:pt>
                      <c:pt idx="3443">
                        <c:v>285.49340000000001</c:v>
                      </c:pt>
                      <c:pt idx="3444">
                        <c:v>285.49340000000001</c:v>
                      </c:pt>
                      <c:pt idx="3445">
                        <c:v>285.49340000000001</c:v>
                      </c:pt>
                      <c:pt idx="3446">
                        <c:v>285.49340000000001</c:v>
                      </c:pt>
                      <c:pt idx="3447">
                        <c:v>285.49340000000001</c:v>
                      </c:pt>
                      <c:pt idx="3448">
                        <c:v>285.49340000000001</c:v>
                      </c:pt>
                      <c:pt idx="3449">
                        <c:v>285.49340000000001</c:v>
                      </c:pt>
                      <c:pt idx="3450">
                        <c:v>285.49340000000001</c:v>
                      </c:pt>
                      <c:pt idx="3451">
                        <c:v>285.49340000000001</c:v>
                      </c:pt>
                      <c:pt idx="3452">
                        <c:v>285.49340000000001</c:v>
                      </c:pt>
                      <c:pt idx="3453">
                        <c:v>285.49340000000001</c:v>
                      </c:pt>
                      <c:pt idx="3454">
                        <c:v>285.49340000000001</c:v>
                      </c:pt>
                      <c:pt idx="3455">
                        <c:v>285.49340000000001</c:v>
                      </c:pt>
                      <c:pt idx="3456">
                        <c:v>285.49340000000001</c:v>
                      </c:pt>
                      <c:pt idx="3457">
                        <c:v>285.49340000000001</c:v>
                      </c:pt>
                      <c:pt idx="3458">
                        <c:v>285.49340000000001</c:v>
                      </c:pt>
                      <c:pt idx="3459">
                        <c:v>285.49340000000001</c:v>
                      </c:pt>
                      <c:pt idx="3460">
                        <c:v>285.49340000000001</c:v>
                      </c:pt>
                      <c:pt idx="3461">
                        <c:v>285.49340000000001</c:v>
                      </c:pt>
                      <c:pt idx="3462">
                        <c:v>285.49340000000001</c:v>
                      </c:pt>
                      <c:pt idx="3463">
                        <c:v>285.49340000000001</c:v>
                      </c:pt>
                      <c:pt idx="3464">
                        <c:v>285.49340000000001</c:v>
                      </c:pt>
                      <c:pt idx="3465">
                        <c:v>285.49340000000001</c:v>
                      </c:pt>
                      <c:pt idx="3466">
                        <c:v>285.49340000000001</c:v>
                      </c:pt>
                      <c:pt idx="3467">
                        <c:v>285.49340000000001</c:v>
                      </c:pt>
                      <c:pt idx="3468">
                        <c:v>285.49340000000001</c:v>
                      </c:pt>
                      <c:pt idx="3469">
                        <c:v>285.49340000000001</c:v>
                      </c:pt>
                      <c:pt idx="3470">
                        <c:v>285.49340000000001</c:v>
                      </c:pt>
                      <c:pt idx="3471">
                        <c:v>285.49340000000001</c:v>
                      </c:pt>
                      <c:pt idx="3472">
                        <c:v>285.49340000000001</c:v>
                      </c:pt>
                      <c:pt idx="3473">
                        <c:v>285.49340000000001</c:v>
                      </c:pt>
                      <c:pt idx="3474">
                        <c:v>285.49340000000001</c:v>
                      </c:pt>
                      <c:pt idx="3475">
                        <c:v>285.49340000000001</c:v>
                      </c:pt>
                      <c:pt idx="3476">
                        <c:v>285.49340000000001</c:v>
                      </c:pt>
                      <c:pt idx="3477">
                        <c:v>285.49340000000001</c:v>
                      </c:pt>
                      <c:pt idx="3478">
                        <c:v>285.49340000000001</c:v>
                      </c:pt>
                      <c:pt idx="3479">
                        <c:v>285.49340000000001</c:v>
                      </c:pt>
                      <c:pt idx="3480">
                        <c:v>285.49340000000001</c:v>
                      </c:pt>
                      <c:pt idx="3481">
                        <c:v>285.49340000000001</c:v>
                      </c:pt>
                      <c:pt idx="3482">
                        <c:v>285.49340000000001</c:v>
                      </c:pt>
                      <c:pt idx="3483">
                        <c:v>285.49340000000001</c:v>
                      </c:pt>
                      <c:pt idx="3484">
                        <c:v>285.49340000000001</c:v>
                      </c:pt>
                      <c:pt idx="3485">
                        <c:v>285.49340000000001</c:v>
                      </c:pt>
                      <c:pt idx="3486">
                        <c:v>285.49340000000001</c:v>
                      </c:pt>
                      <c:pt idx="3487">
                        <c:v>285.49340000000001</c:v>
                      </c:pt>
                      <c:pt idx="3488">
                        <c:v>285.49340000000001</c:v>
                      </c:pt>
                      <c:pt idx="3489">
                        <c:v>285.49340000000001</c:v>
                      </c:pt>
                      <c:pt idx="3490">
                        <c:v>285.49340000000001</c:v>
                      </c:pt>
                      <c:pt idx="3491">
                        <c:v>285.49340000000001</c:v>
                      </c:pt>
                      <c:pt idx="3492">
                        <c:v>285.49340000000001</c:v>
                      </c:pt>
                      <c:pt idx="3493">
                        <c:v>285.49340000000001</c:v>
                      </c:pt>
                      <c:pt idx="3494">
                        <c:v>285.49340000000001</c:v>
                      </c:pt>
                      <c:pt idx="3495">
                        <c:v>285.49340000000001</c:v>
                      </c:pt>
                      <c:pt idx="3496">
                        <c:v>285.49340000000001</c:v>
                      </c:pt>
                      <c:pt idx="3497">
                        <c:v>285.49340000000001</c:v>
                      </c:pt>
                      <c:pt idx="3498">
                        <c:v>285.49340000000001</c:v>
                      </c:pt>
                      <c:pt idx="3499">
                        <c:v>285.49340000000001</c:v>
                      </c:pt>
                      <c:pt idx="3500">
                        <c:v>285.49340000000001</c:v>
                      </c:pt>
                      <c:pt idx="3501">
                        <c:v>285.49340000000001</c:v>
                      </c:pt>
                      <c:pt idx="3502">
                        <c:v>285.49340000000001</c:v>
                      </c:pt>
                      <c:pt idx="3503">
                        <c:v>285.49340000000001</c:v>
                      </c:pt>
                      <c:pt idx="3504">
                        <c:v>285.49340000000001</c:v>
                      </c:pt>
                      <c:pt idx="3505">
                        <c:v>285.49340000000001</c:v>
                      </c:pt>
                      <c:pt idx="3506">
                        <c:v>285.49340000000001</c:v>
                      </c:pt>
                      <c:pt idx="3507">
                        <c:v>285.49340000000001</c:v>
                      </c:pt>
                      <c:pt idx="3508">
                        <c:v>285.49340000000001</c:v>
                      </c:pt>
                      <c:pt idx="3509">
                        <c:v>285.49340000000001</c:v>
                      </c:pt>
                      <c:pt idx="3510">
                        <c:v>285.49340000000001</c:v>
                      </c:pt>
                      <c:pt idx="3511">
                        <c:v>285.49340000000001</c:v>
                      </c:pt>
                      <c:pt idx="3512">
                        <c:v>285.49340000000001</c:v>
                      </c:pt>
                      <c:pt idx="3513">
                        <c:v>285.49340000000001</c:v>
                      </c:pt>
                      <c:pt idx="3514">
                        <c:v>285.49340000000001</c:v>
                      </c:pt>
                      <c:pt idx="3515">
                        <c:v>285.49340000000001</c:v>
                      </c:pt>
                      <c:pt idx="3516">
                        <c:v>285.49340000000001</c:v>
                      </c:pt>
                      <c:pt idx="3517">
                        <c:v>285.49340000000001</c:v>
                      </c:pt>
                      <c:pt idx="3518">
                        <c:v>285.49340000000001</c:v>
                      </c:pt>
                      <c:pt idx="3519">
                        <c:v>285.49340000000001</c:v>
                      </c:pt>
                      <c:pt idx="3520">
                        <c:v>285.49340000000001</c:v>
                      </c:pt>
                      <c:pt idx="3521">
                        <c:v>285.49340000000001</c:v>
                      </c:pt>
                      <c:pt idx="3522">
                        <c:v>285.49340000000001</c:v>
                      </c:pt>
                      <c:pt idx="3523">
                        <c:v>285.49340000000001</c:v>
                      </c:pt>
                      <c:pt idx="3524">
                        <c:v>285.49340000000001</c:v>
                      </c:pt>
                      <c:pt idx="3525">
                        <c:v>285.49340000000001</c:v>
                      </c:pt>
                      <c:pt idx="3526">
                        <c:v>285.49340000000001</c:v>
                      </c:pt>
                      <c:pt idx="3527">
                        <c:v>285.49340000000001</c:v>
                      </c:pt>
                      <c:pt idx="3528">
                        <c:v>285.49340000000001</c:v>
                      </c:pt>
                      <c:pt idx="3529">
                        <c:v>285.49340000000001</c:v>
                      </c:pt>
                      <c:pt idx="3530">
                        <c:v>285.49340000000001</c:v>
                      </c:pt>
                      <c:pt idx="3531">
                        <c:v>285.49340000000001</c:v>
                      </c:pt>
                      <c:pt idx="3532">
                        <c:v>285.49340000000001</c:v>
                      </c:pt>
                      <c:pt idx="3533">
                        <c:v>285.49340000000001</c:v>
                      </c:pt>
                      <c:pt idx="3534">
                        <c:v>285.49340000000001</c:v>
                      </c:pt>
                      <c:pt idx="3535">
                        <c:v>285.49340000000001</c:v>
                      </c:pt>
                      <c:pt idx="3536">
                        <c:v>285.49340000000001</c:v>
                      </c:pt>
                      <c:pt idx="3537">
                        <c:v>285.49340000000001</c:v>
                      </c:pt>
                      <c:pt idx="3538">
                        <c:v>285.49340000000001</c:v>
                      </c:pt>
                      <c:pt idx="3539">
                        <c:v>285.49340000000001</c:v>
                      </c:pt>
                      <c:pt idx="3540">
                        <c:v>285.49340000000001</c:v>
                      </c:pt>
                      <c:pt idx="3541">
                        <c:v>285.49340000000001</c:v>
                      </c:pt>
                      <c:pt idx="3542">
                        <c:v>285.49340000000001</c:v>
                      </c:pt>
                      <c:pt idx="3543">
                        <c:v>285.49340000000001</c:v>
                      </c:pt>
                      <c:pt idx="3544">
                        <c:v>285.49340000000001</c:v>
                      </c:pt>
                      <c:pt idx="3545">
                        <c:v>285.49340000000001</c:v>
                      </c:pt>
                      <c:pt idx="3546">
                        <c:v>285.49340000000001</c:v>
                      </c:pt>
                      <c:pt idx="3547">
                        <c:v>285.49340000000001</c:v>
                      </c:pt>
                      <c:pt idx="3548">
                        <c:v>285.49340000000001</c:v>
                      </c:pt>
                      <c:pt idx="3549">
                        <c:v>285.49340000000001</c:v>
                      </c:pt>
                      <c:pt idx="3550">
                        <c:v>285.49340000000001</c:v>
                      </c:pt>
                      <c:pt idx="3551">
                        <c:v>285.49340000000001</c:v>
                      </c:pt>
                      <c:pt idx="3552">
                        <c:v>285.49340000000001</c:v>
                      </c:pt>
                      <c:pt idx="3553">
                        <c:v>285.49340000000001</c:v>
                      </c:pt>
                      <c:pt idx="3554">
                        <c:v>285.49340000000001</c:v>
                      </c:pt>
                      <c:pt idx="3555">
                        <c:v>285.49340000000001</c:v>
                      </c:pt>
                      <c:pt idx="3556">
                        <c:v>285.49340000000001</c:v>
                      </c:pt>
                      <c:pt idx="3557">
                        <c:v>285.49340000000001</c:v>
                      </c:pt>
                      <c:pt idx="3558">
                        <c:v>285.49340000000001</c:v>
                      </c:pt>
                      <c:pt idx="3559">
                        <c:v>285.49340000000001</c:v>
                      </c:pt>
                      <c:pt idx="3560">
                        <c:v>285.49340000000001</c:v>
                      </c:pt>
                      <c:pt idx="3561">
                        <c:v>285.49340000000001</c:v>
                      </c:pt>
                      <c:pt idx="3562">
                        <c:v>285.49340000000001</c:v>
                      </c:pt>
                      <c:pt idx="3563">
                        <c:v>285.49340000000001</c:v>
                      </c:pt>
                      <c:pt idx="3564">
                        <c:v>285.49340000000001</c:v>
                      </c:pt>
                      <c:pt idx="3565">
                        <c:v>285.49340000000001</c:v>
                      </c:pt>
                      <c:pt idx="3566">
                        <c:v>285.49340000000001</c:v>
                      </c:pt>
                      <c:pt idx="3567">
                        <c:v>285.49340000000001</c:v>
                      </c:pt>
                      <c:pt idx="3568">
                        <c:v>285.49340000000001</c:v>
                      </c:pt>
                      <c:pt idx="3569">
                        <c:v>285.49340000000001</c:v>
                      </c:pt>
                      <c:pt idx="3570">
                        <c:v>285.49340000000001</c:v>
                      </c:pt>
                      <c:pt idx="3571">
                        <c:v>285.49340000000001</c:v>
                      </c:pt>
                      <c:pt idx="3572">
                        <c:v>285.49340000000001</c:v>
                      </c:pt>
                      <c:pt idx="3573">
                        <c:v>285.49340000000001</c:v>
                      </c:pt>
                      <c:pt idx="3574">
                        <c:v>285.49340000000001</c:v>
                      </c:pt>
                      <c:pt idx="3575">
                        <c:v>285.49340000000001</c:v>
                      </c:pt>
                      <c:pt idx="3576">
                        <c:v>285.49340000000001</c:v>
                      </c:pt>
                      <c:pt idx="3577">
                        <c:v>285.49340000000001</c:v>
                      </c:pt>
                      <c:pt idx="3578">
                        <c:v>285.49340000000001</c:v>
                      </c:pt>
                      <c:pt idx="3579">
                        <c:v>285.49340000000001</c:v>
                      </c:pt>
                      <c:pt idx="3580">
                        <c:v>285.49340000000001</c:v>
                      </c:pt>
                      <c:pt idx="3581">
                        <c:v>285.49340000000001</c:v>
                      </c:pt>
                      <c:pt idx="3582">
                        <c:v>285.49340000000001</c:v>
                      </c:pt>
                      <c:pt idx="3583">
                        <c:v>285.49340000000001</c:v>
                      </c:pt>
                      <c:pt idx="3584">
                        <c:v>285.49340000000001</c:v>
                      </c:pt>
                      <c:pt idx="3585">
                        <c:v>285.49340000000001</c:v>
                      </c:pt>
                      <c:pt idx="3586">
                        <c:v>285.49340000000001</c:v>
                      </c:pt>
                      <c:pt idx="3587">
                        <c:v>285.49340000000001</c:v>
                      </c:pt>
                      <c:pt idx="3588">
                        <c:v>285.49340000000001</c:v>
                      </c:pt>
                      <c:pt idx="3589">
                        <c:v>285.49340000000001</c:v>
                      </c:pt>
                      <c:pt idx="3590">
                        <c:v>285.49340000000001</c:v>
                      </c:pt>
                      <c:pt idx="3591">
                        <c:v>285.49340000000001</c:v>
                      </c:pt>
                      <c:pt idx="3592">
                        <c:v>285.49340000000001</c:v>
                      </c:pt>
                      <c:pt idx="3593">
                        <c:v>285.49340000000001</c:v>
                      </c:pt>
                      <c:pt idx="3594">
                        <c:v>285.49340000000001</c:v>
                      </c:pt>
                      <c:pt idx="3595">
                        <c:v>285.49340000000001</c:v>
                      </c:pt>
                      <c:pt idx="3596">
                        <c:v>285.49340000000001</c:v>
                      </c:pt>
                      <c:pt idx="3597">
                        <c:v>285.49340000000001</c:v>
                      </c:pt>
                      <c:pt idx="3598">
                        <c:v>285.49340000000001</c:v>
                      </c:pt>
                      <c:pt idx="3599">
                        <c:v>285.49340000000001</c:v>
                      </c:pt>
                      <c:pt idx="3600">
                        <c:v>285.49340000000001</c:v>
                      </c:pt>
                      <c:pt idx="3601">
                        <c:v>285.49340000000001</c:v>
                      </c:pt>
                      <c:pt idx="3602">
                        <c:v>285.49340000000001</c:v>
                      </c:pt>
                      <c:pt idx="3603">
                        <c:v>285.49340000000001</c:v>
                      </c:pt>
                      <c:pt idx="3604">
                        <c:v>285.49340000000001</c:v>
                      </c:pt>
                      <c:pt idx="3605">
                        <c:v>285.49340000000001</c:v>
                      </c:pt>
                      <c:pt idx="3606">
                        <c:v>285.49340000000001</c:v>
                      </c:pt>
                      <c:pt idx="3607">
                        <c:v>285.49340000000001</c:v>
                      </c:pt>
                      <c:pt idx="3608">
                        <c:v>285.49340000000001</c:v>
                      </c:pt>
                      <c:pt idx="3609">
                        <c:v>285.49340000000001</c:v>
                      </c:pt>
                      <c:pt idx="3610">
                        <c:v>285.49340000000001</c:v>
                      </c:pt>
                      <c:pt idx="3611">
                        <c:v>285.49340000000001</c:v>
                      </c:pt>
                      <c:pt idx="3612">
                        <c:v>285.49340000000001</c:v>
                      </c:pt>
                      <c:pt idx="3613">
                        <c:v>285.49340000000001</c:v>
                      </c:pt>
                      <c:pt idx="3614">
                        <c:v>285.49340000000001</c:v>
                      </c:pt>
                      <c:pt idx="3615">
                        <c:v>285.49340000000001</c:v>
                      </c:pt>
                      <c:pt idx="3616">
                        <c:v>285.49340000000001</c:v>
                      </c:pt>
                      <c:pt idx="3617">
                        <c:v>285.49340000000001</c:v>
                      </c:pt>
                      <c:pt idx="3618">
                        <c:v>285.49340000000001</c:v>
                      </c:pt>
                      <c:pt idx="3619">
                        <c:v>285.49340000000001</c:v>
                      </c:pt>
                      <c:pt idx="3620">
                        <c:v>285.49340000000001</c:v>
                      </c:pt>
                      <c:pt idx="3621">
                        <c:v>285.49340000000001</c:v>
                      </c:pt>
                      <c:pt idx="3622">
                        <c:v>285.49340000000001</c:v>
                      </c:pt>
                      <c:pt idx="3623">
                        <c:v>285.49340000000001</c:v>
                      </c:pt>
                      <c:pt idx="3624">
                        <c:v>285.49340000000001</c:v>
                      </c:pt>
                      <c:pt idx="3625">
                        <c:v>285.49340000000001</c:v>
                      </c:pt>
                      <c:pt idx="3626">
                        <c:v>285.49340000000001</c:v>
                      </c:pt>
                      <c:pt idx="3627">
                        <c:v>285.49340000000001</c:v>
                      </c:pt>
                      <c:pt idx="3628">
                        <c:v>285.49340000000001</c:v>
                      </c:pt>
                      <c:pt idx="3629">
                        <c:v>285.49340000000001</c:v>
                      </c:pt>
                      <c:pt idx="3630">
                        <c:v>285.49340000000001</c:v>
                      </c:pt>
                      <c:pt idx="3631">
                        <c:v>285.49340000000001</c:v>
                      </c:pt>
                      <c:pt idx="3632">
                        <c:v>285.49340000000001</c:v>
                      </c:pt>
                      <c:pt idx="3633">
                        <c:v>285.49340000000001</c:v>
                      </c:pt>
                      <c:pt idx="3634">
                        <c:v>285.49340000000001</c:v>
                      </c:pt>
                      <c:pt idx="3635">
                        <c:v>285.49340000000001</c:v>
                      </c:pt>
                      <c:pt idx="3636">
                        <c:v>285.49340000000001</c:v>
                      </c:pt>
                      <c:pt idx="3637">
                        <c:v>285.49340000000001</c:v>
                      </c:pt>
                      <c:pt idx="3638">
                        <c:v>285.49340000000001</c:v>
                      </c:pt>
                      <c:pt idx="3639">
                        <c:v>285.49340000000001</c:v>
                      </c:pt>
                      <c:pt idx="3640">
                        <c:v>285.49340000000001</c:v>
                      </c:pt>
                      <c:pt idx="3641">
                        <c:v>285.49340000000001</c:v>
                      </c:pt>
                      <c:pt idx="3642">
                        <c:v>285.49340000000001</c:v>
                      </c:pt>
                      <c:pt idx="3643">
                        <c:v>285.49340000000001</c:v>
                      </c:pt>
                      <c:pt idx="3644">
                        <c:v>285.49340000000001</c:v>
                      </c:pt>
                      <c:pt idx="3645">
                        <c:v>285.49340000000001</c:v>
                      </c:pt>
                      <c:pt idx="3646">
                        <c:v>285.49340000000001</c:v>
                      </c:pt>
                      <c:pt idx="3647">
                        <c:v>285.49340000000001</c:v>
                      </c:pt>
                      <c:pt idx="3648">
                        <c:v>285.49340000000001</c:v>
                      </c:pt>
                      <c:pt idx="3649">
                        <c:v>285.49340000000001</c:v>
                      </c:pt>
                      <c:pt idx="3650">
                        <c:v>285.49340000000001</c:v>
                      </c:pt>
                      <c:pt idx="3651">
                        <c:v>285.49340000000001</c:v>
                      </c:pt>
                      <c:pt idx="3652">
                        <c:v>285.49340000000001</c:v>
                      </c:pt>
                      <c:pt idx="3653">
                        <c:v>285.49340000000001</c:v>
                      </c:pt>
                      <c:pt idx="3654">
                        <c:v>285.49340000000001</c:v>
                      </c:pt>
                      <c:pt idx="3655">
                        <c:v>285.49340000000001</c:v>
                      </c:pt>
                      <c:pt idx="3656">
                        <c:v>285.49340000000001</c:v>
                      </c:pt>
                      <c:pt idx="3657">
                        <c:v>285.49340000000001</c:v>
                      </c:pt>
                      <c:pt idx="3658">
                        <c:v>285.49340000000001</c:v>
                      </c:pt>
                      <c:pt idx="3659">
                        <c:v>285.49340000000001</c:v>
                      </c:pt>
                      <c:pt idx="3660">
                        <c:v>285.49340000000001</c:v>
                      </c:pt>
                      <c:pt idx="3661">
                        <c:v>285.49340000000001</c:v>
                      </c:pt>
                      <c:pt idx="3662">
                        <c:v>285.49340000000001</c:v>
                      </c:pt>
                      <c:pt idx="3663">
                        <c:v>285.49340000000001</c:v>
                      </c:pt>
                      <c:pt idx="3664">
                        <c:v>285.49340000000001</c:v>
                      </c:pt>
                      <c:pt idx="3665">
                        <c:v>285.49340000000001</c:v>
                      </c:pt>
                      <c:pt idx="3666">
                        <c:v>285.49340000000001</c:v>
                      </c:pt>
                      <c:pt idx="3667">
                        <c:v>285.49340000000001</c:v>
                      </c:pt>
                      <c:pt idx="3668">
                        <c:v>285.49340000000001</c:v>
                      </c:pt>
                      <c:pt idx="3669">
                        <c:v>285.49340000000001</c:v>
                      </c:pt>
                      <c:pt idx="3670">
                        <c:v>285.49340000000001</c:v>
                      </c:pt>
                      <c:pt idx="3671">
                        <c:v>285.49340000000001</c:v>
                      </c:pt>
                      <c:pt idx="3672">
                        <c:v>285.49340000000001</c:v>
                      </c:pt>
                      <c:pt idx="3673">
                        <c:v>285.49340000000001</c:v>
                      </c:pt>
                      <c:pt idx="3674">
                        <c:v>285.49340000000001</c:v>
                      </c:pt>
                      <c:pt idx="3675">
                        <c:v>285.49340000000001</c:v>
                      </c:pt>
                      <c:pt idx="3676">
                        <c:v>285.49340000000001</c:v>
                      </c:pt>
                      <c:pt idx="3677">
                        <c:v>285.49340000000001</c:v>
                      </c:pt>
                      <c:pt idx="3678">
                        <c:v>285.49340000000001</c:v>
                      </c:pt>
                      <c:pt idx="3679">
                        <c:v>285.49340000000001</c:v>
                      </c:pt>
                      <c:pt idx="3680">
                        <c:v>285.49340000000001</c:v>
                      </c:pt>
                      <c:pt idx="3681">
                        <c:v>285.49340000000001</c:v>
                      </c:pt>
                      <c:pt idx="3682">
                        <c:v>285.49340000000001</c:v>
                      </c:pt>
                      <c:pt idx="3683">
                        <c:v>285.49340000000001</c:v>
                      </c:pt>
                      <c:pt idx="3684">
                        <c:v>285.49340000000001</c:v>
                      </c:pt>
                      <c:pt idx="3685">
                        <c:v>285.49340000000001</c:v>
                      </c:pt>
                      <c:pt idx="3686">
                        <c:v>285.49340000000001</c:v>
                      </c:pt>
                      <c:pt idx="3687">
                        <c:v>285.49340000000001</c:v>
                      </c:pt>
                      <c:pt idx="3688">
                        <c:v>285.49340000000001</c:v>
                      </c:pt>
                      <c:pt idx="3689">
                        <c:v>285.49340000000001</c:v>
                      </c:pt>
                      <c:pt idx="3690">
                        <c:v>285.49340000000001</c:v>
                      </c:pt>
                      <c:pt idx="3691">
                        <c:v>285.49340000000001</c:v>
                      </c:pt>
                      <c:pt idx="3692">
                        <c:v>285.49340000000001</c:v>
                      </c:pt>
                      <c:pt idx="3693">
                        <c:v>285.49340000000001</c:v>
                      </c:pt>
                      <c:pt idx="3694">
                        <c:v>285.49340000000001</c:v>
                      </c:pt>
                      <c:pt idx="3695">
                        <c:v>285.49340000000001</c:v>
                      </c:pt>
                      <c:pt idx="3696">
                        <c:v>285.49340000000001</c:v>
                      </c:pt>
                      <c:pt idx="3697">
                        <c:v>285.49340000000001</c:v>
                      </c:pt>
                      <c:pt idx="3698">
                        <c:v>285.49340000000001</c:v>
                      </c:pt>
                      <c:pt idx="3699">
                        <c:v>285.49340000000001</c:v>
                      </c:pt>
                      <c:pt idx="3700">
                        <c:v>285.49340000000001</c:v>
                      </c:pt>
                      <c:pt idx="3701">
                        <c:v>285.49340000000001</c:v>
                      </c:pt>
                      <c:pt idx="3702">
                        <c:v>285.49340000000001</c:v>
                      </c:pt>
                      <c:pt idx="3703">
                        <c:v>285.49340000000001</c:v>
                      </c:pt>
                      <c:pt idx="3704">
                        <c:v>285.49340000000001</c:v>
                      </c:pt>
                      <c:pt idx="3705">
                        <c:v>285.49340000000001</c:v>
                      </c:pt>
                      <c:pt idx="3706">
                        <c:v>285.49340000000001</c:v>
                      </c:pt>
                      <c:pt idx="3707">
                        <c:v>285.49340000000001</c:v>
                      </c:pt>
                      <c:pt idx="3708">
                        <c:v>285.49340000000001</c:v>
                      </c:pt>
                      <c:pt idx="3709">
                        <c:v>285.49340000000001</c:v>
                      </c:pt>
                      <c:pt idx="3710">
                        <c:v>285.49340000000001</c:v>
                      </c:pt>
                      <c:pt idx="3711">
                        <c:v>285.49340000000001</c:v>
                      </c:pt>
                      <c:pt idx="3712">
                        <c:v>285.49340000000001</c:v>
                      </c:pt>
                      <c:pt idx="3713">
                        <c:v>285.49340000000001</c:v>
                      </c:pt>
                      <c:pt idx="3714">
                        <c:v>285.49340000000001</c:v>
                      </c:pt>
                      <c:pt idx="3715">
                        <c:v>285.49340000000001</c:v>
                      </c:pt>
                      <c:pt idx="3716">
                        <c:v>285.49340000000001</c:v>
                      </c:pt>
                      <c:pt idx="3717">
                        <c:v>285.49340000000001</c:v>
                      </c:pt>
                      <c:pt idx="3718">
                        <c:v>285.49340000000001</c:v>
                      </c:pt>
                      <c:pt idx="3719">
                        <c:v>285.49340000000001</c:v>
                      </c:pt>
                      <c:pt idx="3720">
                        <c:v>285.49340000000001</c:v>
                      </c:pt>
                      <c:pt idx="3721">
                        <c:v>285.49340000000001</c:v>
                      </c:pt>
                      <c:pt idx="3722">
                        <c:v>285.49340000000001</c:v>
                      </c:pt>
                      <c:pt idx="3723">
                        <c:v>285.49340000000001</c:v>
                      </c:pt>
                      <c:pt idx="3724">
                        <c:v>285.49340000000001</c:v>
                      </c:pt>
                      <c:pt idx="3725">
                        <c:v>285.49340000000001</c:v>
                      </c:pt>
                      <c:pt idx="3726">
                        <c:v>285.49340000000001</c:v>
                      </c:pt>
                      <c:pt idx="3727">
                        <c:v>285.49340000000001</c:v>
                      </c:pt>
                      <c:pt idx="3728">
                        <c:v>285.49340000000001</c:v>
                      </c:pt>
                      <c:pt idx="3729">
                        <c:v>285.49340000000001</c:v>
                      </c:pt>
                      <c:pt idx="3730">
                        <c:v>285.49340000000001</c:v>
                      </c:pt>
                      <c:pt idx="3731">
                        <c:v>285.49340000000001</c:v>
                      </c:pt>
                      <c:pt idx="3732">
                        <c:v>285.49340000000001</c:v>
                      </c:pt>
                      <c:pt idx="3733">
                        <c:v>285.49340000000001</c:v>
                      </c:pt>
                      <c:pt idx="3734">
                        <c:v>285.49340000000001</c:v>
                      </c:pt>
                      <c:pt idx="3735">
                        <c:v>285.49340000000001</c:v>
                      </c:pt>
                      <c:pt idx="3736">
                        <c:v>285.49340000000001</c:v>
                      </c:pt>
                      <c:pt idx="3737">
                        <c:v>285.49340000000001</c:v>
                      </c:pt>
                      <c:pt idx="3738">
                        <c:v>285.49340000000001</c:v>
                      </c:pt>
                      <c:pt idx="3739">
                        <c:v>285.49340000000001</c:v>
                      </c:pt>
                      <c:pt idx="3740">
                        <c:v>285.49340000000001</c:v>
                      </c:pt>
                      <c:pt idx="3741">
                        <c:v>285.49340000000001</c:v>
                      </c:pt>
                      <c:pt idx="3742">
                        <c:v>285.49340000000001</c:v>
                      </c:pt>
                      <c:pt idx="3743">
                        <c:v>285.49340000000001</c:v>
                      </c:pt>
                      <c:pt idx="3744">
                        <c:v>285.49340000000001</c:v>
                      </c:pt>
                      <c:pt idx="3745">
                        <c:v>285.49340000000001</c:v>
                      </c:pt>
                      <c:pt idx="3746">
                        <c:v>285.49340000000001</c:v>
                      </c:pt>
                      <c:pt idx="3747">
                        <c:v>285.49340000000001</c:v>
                      </c:pt>
                      <c:pt idx="3748">
                        <c:v>285.49340000000001</c:v>
                      </c:pt>
                      <c:pt idx="3749">
                        <c:v>285.49340000000001</c:v>
                      </c:pt>
                      <c:pt idx="3750">
                        <c:v>285.49340000000001</c:v>
                      </c:pt>
                      <c:pt idx="3751">
                        <c:v>285.49340000000001</c:v>
                      </c:pt>
                      <c:pt idx="3752">
                        <c:v>285.49340000000001</c:v>
                      </c:pt>
                      <c:pt idx="3753">
                        <c:v>285.49340000000001</c:v>
                      </c:pt>
                      <c:pt idx="3754">
                        <c:v>285.49340000000001</c:v>
                      </c:pt>
                      <c:pt idx="3755">
                        <c:v>285.49340000000001</c:v>
                      </c:pt>
                      <c:pt idx="3756">
                        <c:v>285.49340000000001</c:v>
                      </c:pt>
                      <c:pt idx="3757">
                        <c:v>285.49340000000001</c:v>
                      </c:pt>
                      <c:pt idx="3758">
                        <c:v>285.49340000000001</c:v>
                      </c:pt>
                      <c:pt idx="3759">
                        <c:v>285.49340000000001</c:v>
                      </c:pt>
                      <c:pt idx="3760">
                        <c:v>285.49340000000001</c:v>
                      </c:pt>
                      <c:pt idx="3761">
                        <c:v>285.49340000000001</c:v>
                      </c:pt>
                      <c:pt idx="3762">
                        <c:v>285.49340000000001</c:v>
                      </c:pt>
                      <c:pt idx="3763">
                        <c:v>285.49340000000001</c:v>
                      </c:pt>
                      <c:pt idx="3764">
                        <c:v>285.49340000000001</c:v>
                      </c:pt>
                      <c:pt idx="3765">
                        <c:v>285.49340000000001</c:v>
                      </c:pt>
                      <c:pt idx="3766">
                        <c:v>285.49340000000001</c:v>
                      </c:pt>
                      <c:pt idx="3767">
                        <c:v>285.49340000000001</c:v>
                      </c:pt>
                      <c:pt idx="3768">
                        <c:v>285.49340000000001</c:v>
                      </c:pt>
                      <c:pt idx="3769">
                        <c:v>285.49340000000001</c:v>
                      </c:pt>
                      <c:pt idx="3770">
                        <c:v>285.49340000000001</c:v>
                      </c:pt>
                      <c:pt idx="3771">
                        <c:v>285.49340000000001</c:v>
                      </c:pt>
                      <c:pt idx="3772">
                        <c:v>285.49340000000001</c:v>
                      </c:pt>
                      <c:pt idx="3773">
                        <c:v>285.49340000000001</c:v>
                      </c:pt>
                      <c:pt idx="3774">
                        <c:v>285.49340000000001</c:v>
                      </c:pt>
                      <c:pt idx="3775">
                        <c:v>285.49340000000001</c:v>
                      </c:pt>
                      <c:pt idx="3776">
                        <c:v>285.49340000000001</c:v>
                      </c:pt>
                      <c:pt idx="3777">
                        <c:v>285.49340000000001</c:v>
                      </c:pt>
                      <c:pt idx="3778">
                        <c:v>285.49340000000001</c:v>
                      </c:pt>
                      <c:pt idx="3779">
                        <c:v>285.49340000000001</c:v>
                      </c:pt>
                      <c:pt idx="3780">
                        <c:v>285.49340000000001</c:v>
                      </c:pt>
                      <c:pt idx="3781">
                        <c:v>285.49340000000001</c:v>
                      </c:pt>
                      <c:pt idx="3782">
                        <c:v>285.49340000000001</c:v>
                      </c:pt>
                      <c:pt idx="3783">
                        <c:v>285.49340000000001</c:v>
                      </c:pt>
                      <c:pt idx="3784">
                        <c:v>285.49340000000001</c:v>
                      </c:pt>
                      <c:pt idx="3785">
                        <c:v>285.49340000000001</c:v>
                      </c:pt>
                      <c:pt idx="3786">
                        <c:v>285.49340000000001</c:v>
                      </c:pt>
                      <c:pt idx="3787">
                        <c:v>285.49340000000001</c:v>
                      </c:pt>
                      <c:pt idx="3788">
                        <c:v>285.49340000000001</c:v>
                      </c:pt>
                      <c:pt idx="3789">
                        <c:v>285.49340000000001</c:v>
                      </c:pt>
                      <c:pt idx="3790">
                        <c:v>285.49340000000001</c:v>
                      </c:pt>
                      <c:pt idx="3791">
                        <c:v>285.49340000000001</c:v>
                      </c:pt>
                      <c:pt idx="3792">
                        <c:v>285.49340000000001</c:v>
                      </c:pt>
                      <c:pt idx="3793">
                        <c:v>285.49340000000001</c:v>
                      </c:pt>
                      <c:pt idx="3794">
                        <c:v>285.49340000000001</c:v>
                      </c:pt>
                      <c:pt idx="3795">
                        <c:v>285.49340000000001</c:v>
                      </c:pt>
                      <c:pt idx="3796">
                        <c:v>285.49340000000001</c:v>
                      </c:pt>
                      <c:pt idx="3797">
                        <c:v>285.49340000000001</c:v>
                      </c:pt>
                      <c:pt idx="3798">
                        <c:v>285.49340000000001</c:v>
                      </c:pt>
                      <c:pt idx="3799">
                        <c:v>285.49340000000001</c:v>
                      </c:pt>
                      <c:pt idx="3800">
                        <c:v>285.49340000000001</c:v>
                      </c:pt>
                      <c:pt idx="3801">
                        <c:v>285.49340000000001</c:v>
                      </c:pt>
                      <c:pt idx="3802">
                        <c:v>285.49340000000001</c:v>
                      </c:pt>
                      <c:pt idx="3803">
                        <c:v>285.49340000000001</c:v>
                      </c:pt>
                      <c:pt idx="3804">
                        <c:v>285.49340000000001</c:v>
                      </c:pt>
                      <c:pt idx="3805">
                        <c:v>285.49340000000001</c:v>
                      </c:pt>
                      <c:pt idx="3806">
                        <c:v>285.49340000000001</c:v>
                      </c:pt>
                      <c:pt idx="3807">
                        <c:v>285.49340000000001</c:v>
                      </c:pt>
                      <c:pt idx="3808">
                        <c:v>285.49340000000001</c:v>
                      </c:pt>
                      <c:pt idx="3809">
                        <c:v>285.49340000000001</c:v>
                      </c:pt>
                      <c:pt idx="3810">
                        <c:v>285.49340000000001</c:v>
                      </c:pt>
                      <c:pt idx="3811">
                        <c:v>285.49340000000001</c:v>
                      </c:pt>
                      <c:pt idx="3812">
                        <c:v>285.49340000000001</c:v>
                      </c:pt>
                      <c:pt idx="3813">
                        <c:v>285.49340000000001</c:v>
                      </c:pt>
                      <c:pt idx="3814">
                        <c:v>285.49340000000001</c:v>
                      </c:pt>
                      <c:pt idx="3815">
                        <c:v>285.49340000000001</c:v>
                      </c:pt>
                      <c:pt idx="3816">
                        <c:v>285.49340000000001</c:v>
                      </c:pt>
                      <c:pt idx="3817">
                        <c:v>285.49340000000001</c:v>
                      </c:pt>
                      <c:pt idx="3818">
                        <c:v>285.49340000000001</c:v>
                      </c:pt>
                      <c:pt idx="3819">
                        <c:v>285.49340000000001</c:v>
                      </c:pt>
                      <c:pt idx="3820">
                        <c:v>285.49340000000001</c:v>
                      </c:pt>
                      <c:pt idx="3821">
                        <c:v>285.49340000000001</c:v>
                      </c:pt>
                      <c:pt idx="3822">
                        <c:v>285.49340000000001</c:v>
                      </c:pt>
                      <c:pt idx="3823">
                        <c:v>285.49340000000001</c:v>
                      </c:pt>
                      <c:pt idx="3824">
                        <c:v>285.49340000000001</c:v>
                      </c:pt>
                      <c:pt idx="3825">
                        <c:v>285.49340000000001</c:v>
                      </c:pt>
                      <c:pt idx="3826">
                        <c:v>285.49340000000001</c:v>
                      </c:pt>
                      <c:pt idx="3827">
                        <c:v>285.49340000000001</c:v>
                      </c:pt>
                      <c:pt idx="3828">
                        <c:v>285.49340000000001</c:v>
                      </c:pt>
                      <c:pt idx="3829">
                        <c:v>285.49340000000001</c:v>
                      </c:pt>
                      <c:pt idx="3830">
                        <c:v>285.49340000000001</c:v>
                      </c:pt>
                      <c:pt idx="3831">
                        <c:v>285.49340000000001</c:v>
                      </c:pt>
                      <c:pt idx="3832">
                        <c:v>285.49340000000001</c:v>
                      </c:pt>
                      <c:pt idx="3833">
                        <c:v>285.49340000000001</c:v>
                      </c:pt>
                      <c:pt idx="3834">
                        <c:v>285.49340000000001</c:v>
                      </c:pt>
                      <c:pt idx="3835">
                        <c:v>285.49340000000001</c:v>
                      </c:pt>
                      <c:pt idx="3836">
                        <c:v>285.49340000000001</c:v>
                      </c:pt>
                      <c:pt idx="3837">
                        <c:v>285.49340000000001</c:v>
                      </c:pt>
                      <c:pt idx="3838">
                        <c:v>285.49340000000001</c:v>
                      </c:pt>
                      <c:pt idx="3839">
                        <c:v>285.49340000000001</c:v>
                      </c:pt>
                      <c:pt idx="3840">
                        <c:v>285.49340000000001</c:v>
                      </c:pt>
                      <c:pt idx="3841">
                        <c:v>285.49340000000001</c:v>
                      </c:pt>
                      <c:pt idx="3842">
                        <c:v>285.49340000000001</c:v>
                      </c:pt>
                      <c:pt idx="3843">
                        <c:v>285.49340000000001</c:v>
                      </c:pt>
                      <c:pt idx="3844">
                        <c:v>285.49340000000001</c:v>
                      </c:pt>
                      <c:pt idx="3845">
                        <c:v>285.49340000000001</c:v>
                      </c:pt>
                      <c:pt idx="3846">
                        <c:v>285.49340000000001</c:v>
                      </c:pt>
                      <c:pt idx="3847">
                        <c:v>285.49340000000001</c:v>
                      </c:pt>
                      <c:pt idx="3848">
                        <c:v>285.49340000000001</c:v>
                      </c:pt>
                      <c:pt idx="3849">
                        <c:v>285.49340000000001</c:v>
                      </c:pt>
                      <c:pt idx="3850">
                        <c:v>285.49340000000001</c:v>
                      </c:pt>
                      <c:pt idx="3851">
                        <c:v>285.49340000000001</c:v>
                      </c:pt>
                      <c:pt idx="3852">
                        <c:v>285.49340000000001</c:v>
                      </c:pt>
                      <c:pt idx="3853">
                        <c:v>285.49340000000001</c:v>
                      </c:pt>
                      <c:pt idx="3854">
                        <c:v>285.49340000000001</c:v>
                      </c:pt>
                      <c:pt idx="3855">
                        <c:v>285.49340000000001</c:v>
                      </c:pt>
                      <c:pt idx="3856">
                        <c:v>285.49340000000001</c:v>
                      </c:pt>
                      <c:pt idx="3857">
                        <c:v>285.49340000000001</c:v>
                      </c:pt>
                      <c:pt idx="3858">
                        <c:v>285.49340000000001</c:v>
                      </c:pt>
                      <c:pt idx="3859">
                        <c:v>285.49340000000001</c:v>
                      </c:pt>
                      <c:pt idx="3860">
                        <c:v>285.49340000000001</c:v>
                      </c:pt>
                      <c:pt idx="3861">
                        <c:v>285.49340000000001</c:v>
                      </c:pt>
                      <c:pt idx="3862">
                        <c:v>285.49340000000001</c:v>
                      </c:pt>
                      <c:pt idx="3863">
                        <c:v>285.49340000000001</c:v>
                      </c:pt>
                      <c:pt idx="3864">
                        <c:v>285.49340000000001</c:v>
                      </c:pt>
                      <c:pt idx="3865">
                        <c:v>285.49340000000001</c:v>
                      </c:pt>
                      <c:pt idx="3866">
                        <c:v>285.49340000000001</c:v>
                      </c:pt>
                      <c:pt idx="3867">
                        <c:v>285.49340000000001</c:v>
                      </c:pt>
                      <c:pt idx="3868">
                        <c:v>285.49340000000001</c:v>
                      </c:pt>
                      <c:pt idx="3869">
                        <c:v>285.49340000000001</c:v>
                      </c:pt>
                      <c:pt idx="3870">
                        <c:v>285.49340000000001</c:v>
                      </c:pt>
                      <c:pt idx="3871">
                        <c:v>285.49340000000001</c:v>
                      </c:pt>
                      <c:pt idx="3872">
                        <c:v>285.49340000000001</c:v>
                      </c:pt>
                      <c:pt idx="3873">
                        <c:v>285.49340000000001</c:v>
                      </c:pt>
                      <c:pt idx="3874">
                        <c:v>285.49340000000001</c:v>
                      </c:pt>
                      <c:pt idx="3875">
                        <c:v>285.49340000000001</c:v>
                      </c:pt>
                      <c:pt idx="3876">
                        <c:v>285.49340000000001</c:v>
                      </c:pt>
                      <c:pt idx="3877">
                        <c:v>285.49340000000001</c:v>
                      </c:pt>
                      <c:pt idx="3878">
                        <c:v>285.49340000000001</c:v>
                      </c:pt>
                      <c:pt idx="3879">
                        <c:v>285.49340000000001</c:v>
                      </c:pt>
                      <c:pt idx="3880">
                        <c:v>285.49340000000001</c:v>
                      </c:pt>
                      <c:pt idx="3881">
                        <c:v>285.49340000000001</c:v>
                      </c:pt>
                      <c:pt idx="3882">
                        <c:v>285.49340000000001</c:v>
                      </c:pt>
                      <c:pt idx="3883">
                        <c:v>285.49340000000001</c:v>
                      </c:pt>
                      <c:pt idx="3884">
                        <c:v>285.49340000000001</c:v>
                      </c:pt>
                      <c:pt idx="3885">
                        <c:v>285.49340000000001</c:v>
                      </c:pt>
                      <c:pt idx="3886">
                        <c:v>285.49340000000001</c:v>
                      </c:pt>
                      <c:pt idx="3887">
                        <c:v>285.49340000000001</c:v>
                      </c:pt>
                      <c:pt idx="3888">
                        <c:v>285.49340000000001</c:v>
                      </c:pt>
                      <c:pt idx="3889">
                        <c:v>285.49340000000001</c:v>
                      </c:pt>
                      <c:pt idx="3890">
                        <c:v>285.49340000000001</c:v>
                      </c:pt>
                      <c:pt idx="3891">
                        <c:v>285.49340000000001</c:v>
                      </c:pt>
                      <c:pt idx="3892">
                        <c:v>285.49340000000001</c:v>
                      </c:pt>
                      <c:pt idx="3893">
                        <c:v>285.49340000000001</c:v>
                      </c:pt>
                      <c:pt idx="3894">
                        <c:v>285.49340000000001</c:v>
                      </c:pt>
                      <c:pt idx="3895">
                        <c:v>285.49340000000001</c:v>
                      </c:pt>
                      <c:pt idx="3896">
                        <c:v>285.49340000000001</c:v>
                      </c:pt>
                      <c:pt idx="3897">
                        <c:v>285.49340000000001</c:v>
                      </c:pt>
                      <c:pt idx="3898">
                        <c:v>285.49340000000001</c:v>
                      </c:pt>
                      <c:pt idx="3899">
                        <c:v>285.49340000000001</c:v>
                      </c:pt>
                      <c:pt idx="3900">
                        <c:v>285.49340000000001</c:v>
                      </c:pt>
                      <c:pt idx="3901">
                        <c:v>285.49340000000001</c:v>
                      </c:pt>
                      <c:pt idx="3902">
                        <c:v>285.49340000000001</c:v>
                      </c:pt>
                      <c:pt idx="3903">
                        <c:v>285.49340000000001</c:v>
                      </c:pt>
                      <c:pt idx="3904">
                        <c:v>285.49340000000001</c:v>
                      </c:pt>
                      <c:pt idx="3905">
                        <c:v>285.49340000000001</c:v>
                      </c:pt>
                      <c:pt idx="3906">
                        <c:v>285.49340000000001</c:v>
                      </c:pt>
                      <c:pt idx="3907">
                        <c:v>285.49340000000001</c:v>
                      </c:pt>
                      <c:pt idx="3908">
                        <c:v>285.49340000000001</c:v>
                      </c:pt>
                      <c:pt idx="3909">
                        <c:v>285.49340000000001</c:v>
                      </c:pt>
                      <c:pt idx="3910">
                        <c:v>285.49340000000001</c:v>
                      </c:pt>
                      <c:pt idx="3911">
                        <c:v>285.49340000000001</c:v>
                      </c:pt>
                      <c:pt idx="3912">
                        <c:v>285.49340000000001</c:v>
                      </c:pt>
                      <c:pt idx="3913">
                        <c:v>285.49340000000001</c:v>
                      </c:pt>
                      <c:pt idx="3914">
                        <c:v>285.49340000000001</c:v>
                      </c:pt>
                      <c:pt idx="3915">
                        <c:v>285.49340000000001</c:v>
                      </c:pt>
                      <c:pt idx="3916">
                        <c:v>285.49340000000001</c:v>
                      </c:pt>
                      <c:pt idx="3917">
                        <c:v>285.49340000000001</c:v>
                      </c:pt>
                      <c:pt idx="3918">
                        <c:v>285.49340000000001</c:v>
                      </c:pt>
                      <c:pt idx="3919">
                        <c:v>285.49340000000001</c:v>
                      </c:pt>
                      <c:pt idx="3920">
                        <c:v>285.49340000000001</c:v>
                      </c:pt>
                      <c:pt idx="3921">
                        <c:v>285.49340000000001</c:v>
                      </c:pt>
                      <c:pt idx="3922">
                        <c:v>285.49340000000001</c:v>
                      </c:pt>
                      <c:pt idx="3923">
                        <c:v>285.49340000000001</c:v>
                      </c:pt>
                      <c:pt idx="3924">
                        <c:v>285.49340000000001</c:v>
                      </c:pt>
                      <c:pt idx="3925">
                        <c:v>285.49340000000001</c:v>
                      </c:pt>
                      <c:pt idx="3926">
                        <c:v>285.49340000000001</c:v>
                      </c:pt>
                      <c:pt idx="3927">
                        <c:v>285.49340000000001</c:v>
                      </c:pt>
                      <c:pt idx="3928">
                        <c:v>285.49340000000001</c:v>
                      </c:pt>
                      <c:pt idx="3929">
                        <c:v>285.49340000000001</c:v>
                      </c:pt>
                      <c:pt idx="3930">
                        <c:v>285.49340000000001</c:v>
                      </c:pt>
                      <c:pt idx="3931">
                        <c:v>285.49340000000001</c:v>
                      </c:pt>
                      <c:pt idx="3932">
                        <c:v>285.49340000000001</c:v>
                      </c:pt>
                      <c:pt idx="3933">
                        <c:v>285.49340000000001</c:v>
                      </c:pt>
                      <c:pt idx="3934">
                        <c:v>285.49340000000001</c:v>
                      </c:pt>
                      <c:pt idx="3935">
                        <c:v>285.49340000000001</c:v>
                      </c:pt>
                      <c:pt idx="3936">
                        <c:v>285.49340000000001</c:v>
                      </c:pt>
                      <c:pt idx="3937">
                        <c:v>285.49340000000001</c:v>
                      </c:pt>
                      <c:pt idx="3938">
                        <c:v>285.49340000000001</c:v>
                      </c:pt>
                      <c:pt idx="3939">
                        <c:v>285.49340000000001</c:v>
                      </c:pt>
                      <c:pt idx="3940">
                        <c:v>285.49340000000001</c:v>
                      </c:pt>
                      <c:pt idx="3941">
                        <c:v>285.49340000000001</c:v>
                      </c:pt>
                      <c:pt idx="3942">
                        <c:v>285.49340000000001</c:v>
                      </c:pt>
                      <c:pt idx="3943">
                        <c:v>285.49340000000001</c:v>
                      </c:pt>
                      <c:pt idx="3944">
                        <c:v>285.49340000000001</c:v>
                      </c:pt>
                      <c:pt idx="3945">
                        <c:v>285.49340000000001</c:v>
                      </c:pt>
                      <c:pt idx="3946">
                        <c:v>285.49340000000001</c:v>
                      </c:pt>
                      <c:pt idx="3947">
                        <c:v>285.49340000000001</c:v>
                      </c:pt>
                      <c:pt idx="3948">
                        <c:v>285.49340000000001</c:v>
                      </c:pt>
                      <c:pt idx="3949">
                        <c:v>285.49340000000001</c:v>
                      </c:pt>
                      <c:pt idx="3950">
                        <c:v>285.49340000000001</c:v>
                      </c:pt>
                      <c:pt idx="3951">
                        <c:v>285.49340000000001</c:v>
                      </c:pt>
                      <c:pt idx="3952">
                        <c:v>285.49340000000001</c:v>
                      </c:pt>
                      <c:pt idx="3953">
                        <c:v>285.49340000000001</c:v>
                      </c:pt>
                      <c:pt idx="3954">
                        <c:v>285.49340000000001</c:v>
                      </c:pt>
                      <c:pt idx="3955">
                        <c:v>285.49340000000001</c:v>
                      </c:pt>
                      <c:pt idx="3956">
                        <c:v>285.49340000000001</c:v>
                      </c:pt>
                      <c:pt idx="3957">
                        <c:v>285.49340000000001</c:v>
                      </c:pt>
                      <c:pt idx="3958">
                        <c:v>285.49340000000001</c:v>
                      </c:pt>
                      <c:pt idx="3959">
                        <c:v>285.49340000000001</c:v>
                      </c:pt>
                      <c:pt idx="3960">
                        <c:v>285.49340000000001</c:v>
                      </c:pt>
                      <c:pt idx="3961">
                        <c:v>285.49340000000001</c:v>
                      </c:pt>
                      <c:pt idx="3962">
                        <c:v>285.49340000000001</c:v>
                      </c:pt>
                      <c:pt idx="3963">
                        <c:v>285.49340000000001</c:v>
                      </c:pt>
                      <c:pt idx="3964">
                        <c:v>285.49340000000001</c:v>
                      </c:pt>
                      <c:pt idx="3965">
                        <c:v>285.49340000000001</c:v>
                      </c:pt>
                      <c:pt idx="3966">
                        <c:v>285.49340000000001</c:v>
                      </c:pt>
                      <c:pt idx="3967">
                        <c:v>285.49340000000001</c:v>
                      </c:pt>
                      <c:pt idx="3968">
                        <c:v>285.49340000000001</c:v>
                      </c:pt>
                      <c:pt idx="3969">
                        <c:v>285.49340000000001</c:v>
                      </c:pt>
                      <c:pt idx="3970">
                        <c:v>285.49340000000001</c:v>
                      </c:pt>
                      <c:pt idx="3971">
                        <c:v>285.49340000000001</c:v>
                      </c:pt>
                      <c:pt idx="3972">
                        <c:v>285.49340000000001</c:v>
                      </c:pt>
                      <c:pt idx="3973">
                        <c:v>285.49340000000001</c:v>
                      </c:pt>
                      <c:pt idx="3974">
                        <c:v>285.49340000000001</c:v>
                      </c:pt>
                      <c:pt idx="3975">
                        <c:v>285.49340000000001</c:v>
                      </c:pt>
                      <c:pt idx="3976">
                        <c:v>285.49340000000001</c:v>
                      </c:pt>
                      <c:pt idx="3977">
                        <c:v>285.49340000000001</c:v>
                      </c:pt>
                      <c:pt idx="3978">
                        <c:v>285.49340000000001</c:v>
                      </c:pt>
                      <c:pt idx="3979">
                        <c:v>285.49340000000001</c:v>
                      </c:pt>
                      <c:pt idx="3980">
                        <c:v>285.49340000000001</c:v>
                      </c:pt>
                      <c:pt idx="3981">
                        <c:v>285.49340000000001</c:v>
                      </c:pt>
                      <c:pt idx="3982">
                        <c:v>285.49340000000001</c:v>
                      </c:pt>
                      <c:pt idx="3983">
                        <c:v>285.49340000000001</c:v>
                      </c:pt>
                      <c:pt idx="3984">
                        <c:v>285.49340000000001</c:v>
                      </c:pt>
                      <c:pt idx="3985">
                        <c:v>285.49340000000001</c:v>
                      </c:pt>
                      <c:pt idx="3986">
                        <c:v>285.49340000000001</c:v>
                      </c:pt>
                      <c:pt idx="3987">
                        <c:v>285.49340000000001</c:v>
                      </c:pt>
                      <c:pt idx="3988">
                        <c:v>285.49340000000001</c:v>
                      </c:pt>
                      <c:pt idx="3989">
                        <c:v>285.49340000000001</c:v>
                      </c:pt>
                      <c:pt idx="3990">
                        <c:v>285.49340000000001</c:v>
                      </c:pt>
                      <c:pt idx="3991">
                        <c:v>285.49340000000001</c:v>
                      </c:pt>
                      <c:pt idx="3992">
                        <c:v>285.49340000000001</c:v>
                      </c:pt>
                      <c:pt idx="3993">
                        <c:v>285.49340000000001</c:v>
                      </c:pt>
                      <c:pt idx="3994">
                        <c:v>285.49340000000001</c:v>
                      </c:pt>
                      <c:pt idx="3995">
                        <c:v>285.49340000000001</c:v>
                      </c:pt>
                      <c:pt idx="3996">
                        <c:v>285.49340000000001</c:v>
                      </c:pt>
                      <c:pt idx="3997">
                        <c:v>285.49340000000001</c:v>
                      </c:pt>
                      <c:pt idx="3998">
                        <c:v>285.49340000000001</c:v>
                      </c:pt>
                      <c:pt idx="3999">
                        <c:v>285.49340000000001</c:v>
                      </c:pt>
                      <c:pt idx="4000">
                        <c:v>285.49340000000001</c:v>
                      </c:pt>
                      <c:pt idx="4001">
                        <c:v>285.49340000000001</c:v>
                      </c:pt>
                      <c:pt idx="4002">
                        <c:v>285.49340000000001</c:v>
                      </c:pt>
                      <c:pt idx="4003">
                        <c:v>285.49340000000001</c:v>
                      </c:pt>
                      <c:pt idx="4004">
                        <c:v>285.49340000000001</c:v>
                      </c:pt>
                      <c:pt idx="4005">
                        <c:v>285.49340000000001</c:v>
                      </c:pt>
                      <c:pt idx="4006">
                        <c:v>285.49340000000001</c:v>
                      </c:pt>
                      <c:pt idx="4007">
                        <c:v>285.49340000000001</c:v>
                      </c:pt>
                      <c:pt idx="4008">
                        <c:v>285.49340000000001</c:v>
                      </c:pt>
                      <c:pt idx="4009">
                        <c:v>285.49340000000001</c:v>
                      </c:pt>
                      <c:pt idx="4010">
                        <c:v>285.49340000000001</c:v>
                      </c:pt>
                      <c:pt idx="4011">
                        <c:v>285.49340000000001</c:v>
                      </c:pt>
                      <c:pt idx="4012">
                        <c:v>285.49340000000001</c:v>
                      </c:pt>
                      <c:pt idx="4013">
                        <c:v>285.49340000000001</c:v>
                      </c:pt>
                      <c:pt idx="4014">
                        <c:v>285.49340000000001</c:v>
                      </c:pt>
                      <c:pt idx="4015">
                        <c:v>285.49340000000001</c:v>
                      </c:pt>
                      <c:pt idx="4016">
                        <c:v>285.49340000000001</c:v>
                      </c:pt>
                      <c:pt idx="4017">
                        <c:v>285.49340000000001</c:v>
                      </c:pt>
                      <c:pt idx="4018">
                        <c:v>285.49340000000001</c:v>
                      </c:pt>
                      <c:pt idx="4019">
                        <c:v>285.49340000000001</c:v>
                      </c:pt>
                      <c:pt idx="4020">
                        <c:v>285.49340000000001</c:v>
                      </c:pt>
                      <c:pt idx="4021">
                        <c:v>285.49340000000001</c:v>
                      </c:pt>
                      <c:pt idx="4022">
                        <c:v>285.49340000000001</c:v>
                      </c:pt>
                      <c:pt idx="4023">
                        <c:v>285.49340000000001</c:v>
                      </c:pt>
                      <c:pt idx="4024">
                        <c:v>285.49340000000001</c:v>
                      </c:pt>
                      <c:pt idx="4025">
                        <c:v>285.49340000000001</c:v>
                      </c:pt>
                      <c:pt idx="4026">
                        <c:v>285.49340000000001</c:v>
                      </c:pt>
                      <c:pt idx="4027">
                        <c:v>285.49340000000001</c:v>
                      </c:pt>
                      <c:pt idx="4028">
                        <c:v>285.49340000000001</c:v>
                      </c:pt>
                      <c:pt idx="4029">
                        <c:v>285.49340000000001</c:v>
                      </c:pt>
                      <c:pt idx="4030">
                        <c:v>285.49340000000001</c:v>
                      </c:pt>
                      <c:pt idx="4031">
                        <c:v>285.49340000000001</c:v>
                      </c:pt>
                      <c:pt idx="4032">
                        <c:v>285.49340000000001</c:v>
                      </c:pt>
                      <c:pt idx="4033">
                        <c:v>285.49340000000001</c:v>
                      </c:pt>
                      <c:pt idx="4034">
                        <c:v>285.49340000000001</c:v>
                      </c:pt>
                      <c:pt idx="4035">
                        <c:v>285.49340000000001</c:v>
                      </c:pt>
                      <c:pt idx="4036">
                        <c:v>285.49340000000001</c:v>
                      </c:pt>
                      <c:pt idx="4037">
                        <c:v>285.49340000000001</c:v>
                      </c:pt>
                      <c:pt idx="4038">
                        <c:v>285.49340000000001</c:v>
                      </c:pt>
                      <c:pt idx="4039">
                        <c:v>285.49340000000001</c:v>
                      </c:pt>
                      <c:pt idx="4040">
                        <c:v>285.49340000000001</c:v>
                      </c:pt>
                      <c:pt idx="4041">
                        <c:v>285.49340000000001</c:v>
                      </c:pt>
                      <c:pt idx="4042">
                        <c:v>285.49340000000001</c:v>
                      </c:pt>
                      <c:pt idx="4043">
                        <c:v>285.49340000000001</c:v>
                      </c:pt>
                      <c:pt idx="4044">
                        <c:v>285.49340000000001</c:v>
                      </c:pt>
                      <c:pt idx="4045">
                        <c:v>285.49340000000001</c:v>
                      </c:pt>
                      <c:pt idx="4046">
                        <c:v>285.49340000000001</c:v>
                      </c:pt>
                      <c:pt idx="4047">
                        <c:v>285.49340000000001</c:v>
                      </c:pt>
                      <c:pt idx="4048">
                        <c:v>285.49340000000001</c:v>
                      </c:pt>
                      <c:pt idx="4049">
                        <c:v>285.49340000000001</c:v>
                      </c:pt>
                      <c:pt idx="4050">
                        <c:v>285.49340000000001</c:v>
                      </c:pt>
                      <c:pt idx="4051">
                        <c:v>285.49340000000001</c:v>
                      </c:pt>
                      <c:pt idx="4052">
                        <c:v>285.49340000000001</c:v>
                      </c:pt>
                      <c:pt idx="4053">
                        <c:v>285.49340000000001</c:v>
                      </c:pt>
                      <c:pt idx="4054">
                        <c:v>285.49340000000001</c:v>
                      </c:pt>
                      <c:pt idx="4055">
                        <c:v>285.49340000000001</c:v>
                      </c:pt>
                      <c:pt idx="4056">
                        <c:v>285.49340000000001</c:v>
                      </c:pt>
                      <c:pt idx="4057">
                        <c:v>285.49340000000001</c:v>
                      </c:pt>
                      <c:pt idx="4058">
                        <c:v>285.49340000000001</c:v>
                      </c:pt>
                      <c:pt idx="4059">
                        <c:v>285.49340000000001</c:v>
                      </c:pt>
                      <c:pt idx="4060">
                        <c:v>285.49340000000001</c:v>
                      </c:pt>
                      <c:pt idx="4061">
                        <c:v>285.49340000000001</c:v>
                      </c:pt>
                      <c:pt idx="4062">
                        <c:v>285.49340000000001</c:v>
                      </c:pt>
                      <c:pt idx="4063">
                        <c:v>285.49340000000001</c:v>
                      </c:pt>
                      <c:pt idx="4064">
                        <c:v>285.49340000000001</c:v>
                      </c:pt>
                      <c:pt idx="4065">
                        <c:v>285.49340000000001</c:v>
                      </c:pt>
                      <c:pt idx="4066">
                        <c:v>285.49340000000001</c:v>
                      </c:pt>
                      <c:pt idx="4067">
                        <c:v>285.49340000000001</c:v>
                      </c:pt>
                      <c:pt idx="4068">
                        <c:v>285.49340000000001</c:v>
                      </c:pt>
                      <c:pt idx="4069">
                        <c:v>285.49340000000001</c:v>
                      </c:pt>
                      <c:pt idx="4070">
                        <c:v>285.49340000000001</c:v>
                      </c:pt>
                      <c:pt idx="4071">
                        <c:v>285.49340000000001</c:v>
                      </c:pt>
                      <c:pt idx="4072">
                        <c:v>285.49340000000001</c:v>
                      </c:pt>
                      <c:pt idx="4073">
                        <c:v>285.49340000000001</c:v>
                      </c:pt>
                      <c:pt idx="4074">
                        <c:v>285.49340000000001</c:v>
                      </c:pt>
                      <c:pt idx="4075">
                        <c:v>285.49340000000001</c:v>
                      </c:pt>
                      <c:pt idx="4076">
                        <c:v>285.49340000000001</c:v>
                      </c:pt>
                      <c:pt idx="4077">
                        <c:v>285.49340000000001</c:v>
                      </c:pt>
                      <c:pt idx="4078">
                        <c:v>285.49340000000001</c:v>
                      </c:pt>
                      <c:pt idx="4079">
                        <c:v>285.49340000000001</c:v>
                      </c:pt>
                      <c:pt idx="4080">
                        <c:v>285.49340000000001</c:v>
                      </c:pt>
                      <c:pt idx="4081">
                        <c:v>285.49340000000001</c:v>
                      </c:pt>
                      <c:pt idx="4082">
                        <c:v>285.49340000000001</c:v>
                      </c:pt>
                      <c:pt idx="4083">
                        <c:v>285.49340000000001</c:v>
                      </c:pt>
                      <c:pt idx="4084">
                        <c:v>285.49340000000001</c:v>
                      </c:pt>
                      <c:pt idx="4085">
                        <c:v>285.49340000000001</c:v>
                      </c:pt>
                      <c:pt idx="4086">
                        <c:v>285.49340000000001</c:v>
                      </c:pt>
                      <c:pt idx="4087">
                        <c:v>285.49340000000001</c:v>
                      </c:pt>
                      <c:pt idx="4088">
                        <c:v>285.49340000000001</c:v>
                      </c:pt>
                      <c:pt idx="4089">
                        <c:v>285.49340000000001</c:v>
                      </c:pt>
                      <c:pt idx="4090">
                        <c:v>285.49340000000001</c:v>
                      </c:pt>
                      <c:pt idx="4091">
                        <c:v>285.49340000000001</c:v>
                      </c:pt>
                      <c:pt idx="4092">
                        <c:v>285.49340000000001</c:v>
                      </c:pt>
                      <c:pt idx="4093">
                        <c:v>285.49340000000001</c:v>
                      </c:pt>
                      <c:pt idx="4094">
                        <c:v>285.49340000000001</c:v>
                      </c:pt>
                      <c:pt idx="4095">
                        <c:v>285.49340000000001</c:v>
                      </c:pt>
                      <c:pt idx="4096">
                        <c:v>285.49340000000001</c:v>
                      </c:pt>
                      <c:pt idx="4097">
                        <c:v>285.49340000000001</c:v>
                      </c:pt>
                      <c:pt idx="4098">
                        <c:v>285.49340000000001</c:v>
                      </c:pt>
                      <c:pt idx="4099">
                        <c:v>285.49340000000001</c:v>
                      </c:pt>
                      <c:pt idx="4100">
                        <c:v>285.49340000000001</c:v>
                      </c:pt>
                      <c:pt idx="4101">
                        <c:v>285.49340000000001</c:v>
                      </c:pt>
                      <c:pt idx="4102">
                        <c:v>285.49340000000001</c:v>
                      </c:pt>
                      <c:pt idx="4103">
                        <c:v>285.49340000000001</c:v>
                      </c:pt>
                      <c:pt idx="4104">
                        <c:v>285.49340000000001</c:v>
                      </c:pt>
                      <c:pt idx="4105">
                        <c:v>285.49340000000001</c:v>
                      </c:pt>
                      <c:pt idx="4106">
                        <c:v>285.49340000000001</c:v>
                      </c:pt>
                      <c:pt idx="4107">
                        <c:v>285.49340000000001</c:v>
                      </c:pt>
                      <c:pt idx="4108">
                        <c:v>285.49340000000001</c:v>
                      </c:pt>
                      <c:pt idx="4109">
                        <c:v>285.49340000000001</c:v>
                      </c:pt>
                      <c:pt idx="4110">
                        <c:v>285.49340000000001</c:v>
                      </c:pt>
                      <c:pt idx="4111">
                        <c:v>285.49340000000001</c:v>
                      </c:pt>
                      <c:pt idx="4112">
                        <c:v>285.49340000000001</c:v>
                      </c:pt>
                      <c:pt idx="4113">
                        <c:v>285.49340000000001</c:v>
                      </c:pt>
                      <c:pt idx="4114">
                        <c:v>285.49340000000001</c:v>
                      </c:pt>
                      <c:pt idx="4115">
                        <c:v>285.49340000000001</c:v>
                      </c:pt>
                      <c:pt idx="4116">
                        <c:v>285.49340000000001</c:v>
                      </c:pt>
                      <c:pt idx="4117">
                        <c:v>285.49340000000001</c:v>
                      </c:pt>
                      <c:pt idx="4118">
                        <c:v>285.49340000000001</c:v>
                      </c:pt>
                      <c:pt idx="4119">
                        <c:v>285.49340000000001</c:v>
                      </c:pt>
                      <c:pt idx="4120">
                        <c:v>285.49340000000001</c:v>
                      </c:pt>
                      <c:pt idx="4121">
                        <c:v>285.49340000000001</c:v>
                      </c:pt>
                      <c:pt idx="4122">
                        <c:v>285.49340000000001</c:v>
                      </c:pt>
                      <c:pt idx="4123">
                        <c:v>285.49340000000001</c:v>
                      </c:pt>
                      <c:pt idx="4124">
                        <c:v>285.49340000000001</c:v>
                      </c:pt>
                      <c:pt idx="4125">
                        <c:v>285.49340000000001</c:v>
                      </c:pt>
                      <c:pt idx="4126">
                        <c:v>285.49340000000001</c:v>
                      </c:pt>
                      <c:pt idx="4127">
                        <c:v>285.49340000000001</c:v>
                      </c:pt>
                      <c:pt idx="4128">
                        <c:v>285.49340000000001</c:v>
                      </c:pt>
                      <c:pt idx="4129">
                        <c:v>285.49340000000001</c:v>
                      </c:pt>
                      <c:pt idx="4130">
                        <c:v>285.49340000000001</c:v>
                      </c:pt>
                      <c:pt idx="4131">
                        <c:v>285.49340000000001</c:v>
                      </c:pt>
                      <c:pt idx="4132">
                        <c:v>285.49340000000001</c:v>
                      </c:pt>
                      <c:pt idx="4133">
                        <c:v>285.49340000000001</c:v>
                      </c:pt>
                      <c:pt idx="4134">
                        <c:v>285.49340000000001</c:v>
                      </c:pt>
                      <c:pt idx="4135">
                        <c:v>285.49340000000001</c:v>
                      </c:pt>
                      <c:pt idx="4136">
                        <c:v>285.49340000000001</c:v>
                      </c:pt>
                      <c:pt idx="4137">
                        <c:v>285.49340000000001</c:v>
                      </c:pt>
                      <c:pt idx="4138">
                        <c:v>285.49340000000001</c:v>
                      </c:pt>
                      <c:pt idx="4139">
                        <c:v>285.49340000000001</c:v>
                      </c:pt>
                      <c:pt idx="4140">
                        <c:v>285.49340000000001</c:v>
                      </c:pt>
                      <c:pt idx="4141">
                        <c:v>285.49340000000001</c:v>
                      </c:pt>
                      <c:pt idx="4142">
                        <c:v>285.49340000000001</c:v>
                      </c:pt>
                      <c:pt idx="4143">
                        <c:v>285.49340000000001</c:v>
                      </c:pt>
                      <c:pt idx="4144">
                        <c:v>285.49340000000001</c:v>
                      </c:pt>
                      <c:pt idx="4145">
                        <c:v>285.49340000000001</c:v>
                      </c:pt>
                      <c:pt idx="4146">
                        <c:v>285.49340000000001</c:v>
                      </c:pt>
                      <c:pt idx="4147">
                        <c:v>285.49340000000001</c:v>
                      </c:pt>
                      <c:pt idx="4148">
                        <c:v>285.49340000000001</c:v>
                      </c:pt>
                      <c:pt idx="4149">
                        <c:v>285.49340000000001</c:v>
                      </c:pt>
                      <c:pt idx="4150">
                        <c:v>285.49340000000001</c:v>
                      </c:pt>
                      <c:pt idx="4151">
                        <c:v>285.49340000000001</c:v>
                      </c:pt>
                      <c:pt idx="4152">
                        <c:v>285.49340000000001</c:v>
                      </c:pt>
                      <c:pt idx="4153">
                        <c:v>285.49340000000001</c:v>
                      </c:pt>
                      <c:pt idx="4154">
                        <c:v>285.49340000000001</c:v>
                      </c:pt>
                      <c:pt idx="4155">
                        <c:v>285.49340000000001</c:v>
                      </c:pt>
                      <c:pt idx="4156">
                        <c:v>285.49340000000001</c:v>
                      </c:pt>
                      <c:pt idx="4157">
                        <c:v>285.49340000000001</c:v>
                      </c:pt>
                      <c:pt idx="4158">
                        <c:v>285.49340000000001</c:v>
                      </c:pt>
                      <c:pt idx="4159">
                        <c:v>285.49340000000001</c:v>
                      </c:pt>
                      <c:pt idx="4160">
                        <c:v>285.49340000000001</c:v>
                      </c:pt>
                      <c:pt idx="4161">
                        <c:v>285.49340000000001</c:v>
                      </c:pt>
                      <c:pt idx="4162">
                        <c:v>285.49340000000001</c:v>
                      </c:pt>
                      <c:pt idx="4163">
                        <c:v>285.49340000000001</c:v>
                      </c:pt>
                      <c:pt idx="4164">
                        <c:v>285.49340000000001</c:v>
                      </c:pt>
                      <c:pt idx="4165">
                        <c:v>285.49340000000001</c:v>
                      </c:pt>
                      <c:pt idx="4166">
                        <c:v>285.49340000000001</c:v>
                      </c:pt>
                      <c:pt idx="4167">
                        <c:v>285.49340000000001</c:v>
                      </c:pt>
                      <c:pt idx="4168">
                        <c:v>285.49340000000001</c:v>
                      </c:pt>
                      <c:pt idx="4169">
                        <c:v>285.49340000000001</c:v>
                      </c:pt>
                      <c:pt idx="4170">
                        <c:v>285.49340000000001</c:v>
                      </c:pt>
                      <c:pt idx="4171">
                        <c:v>285.49340000000001</c:v>
                      </c:pt>
                      <c:pt idx="4172">
                        <c:v>285.49340000000001</c:v>
                      </c:pt>
                      <c:pt idx="4173">
                        <c:v>285.49340000000001</c:v>
                      </c:pt>
                      <c:pt idx="4174">
                        <c:v>285.49340000000001</c:v>
                      </c:pt>
                      <c:pt idx="4175">
                        <c:v>285.49340000000001</c:v>
                      </c:pt>
                      <c:pt idx="4176">
                        <c:v>285.49340000000001</c:v>
                      </c:pt>
                      <c:pt idx="4177">
                        <c:v>285.49340000000001</c:v>
                      </c:pt>
                      <c:pt idx="4178">
                        <c:v>285.49340000000001</c:v>
                      </c:pt>
                      <c:pt idx="4179">
                        <c:v>285.49340000000001</c:v>
                      </c:pt>
                      <c:pt idx="4180">
                        <c:v>285.49340000000001</c:v>
                      </c:pt>
                      <c:pt idx="4181">
                        <c:v>285.49340000000001</c:v>
                      </c:pt>
                      <c:pt idx="4182">
                        <c:v>285.49340000000001</c:v>
                      </c:pt>
                      <c:pt idx="4183">
                        <c:v>285.49340000000001</c:v>
                      </c:pt>
                      <c:pt idx="4184">
                        <c:v>285.49340000000001</c:v>
                      </c:pt>
                      <c:pt idx="4185">
                        <c:v>285.49340000000001</c:v>
                      </c:pt>
                      <c:pt idx="4186">
                        <c:v>285.49340000000001</c:v>
                      </c:pt>
                      <c:pt idx="4187">
                        <c:v>285.49340000000001</c:v>
                      </c:pt>
                      <c:pt idx="4188">
                        <c:v>285.49340000000001</c:v>
                      </c:pt>
                      <c:pt idx="4189">
                        <c:v>285.49340000000001</c:v>
                      </c:pt>
                      <c:pt idx="4190">
                        <c:v>285.49340000000001</c:v>
                      </c:pt>
                      <c:pt idx="4191">
                        <c:v>285.49340000000001</c:v>
                      </c:pt>
                      <c:pt idx="4192">
                        <c:v>285.49340000000001</c:v>
                      </c:pt>
                      <c:pt idx="4193">
                        <c:v>285.49340000000001</c:v>
                      </c:pt>
                      <c:pt idx="4194">
                        <c:v>285.49340000000001</c:v>
                      </c:pt>
                      <c:pt idx="4195">
                        <c:v>285.49340000000001</c:v>
                      </c:pt>
                      <c:pt idx="4196">
                        <c:v>285.49340000000001</c:v>
                      </c:pt>
                      <c:pt idx="4197">
                        <c:v>285.49340000000001</c:v>
                      </c:pt>
                      <c:pt idx="4198">
                        <c:v>285.49340000000001</c:v>
                      </c:pt>
                      <c:pt idx="4199">
                        <c:v>285.49340000000001</c:v>
                      </c:pt>
                      <c:pt idx="4200">
                        <c:v>285.49340000000001</c:v>
                      </c:pt>
                      <c:pt idx="4201">
                        <c:v>285.49340000000001</c:v>
                      </c:pt>
                      <c:pt idx="4202">
                        <c:v>285.49340000000001</c:v>
                      </c:pt>
                      <c:pt idx="4203">
                        <c:v>285.49340000000001</c:v>
                      </c:pt>
                      <c:pt idx="4204">
                        <c:v>285.49340000000001</c:v>
                      </c:pt>
                      <c:pt idx="4205">
                        <c:v>285.49340000000001</c:v>
                      </c:pt>
                      <c:pt idx="4206">
                        <c:v>285.49340000000001</c:v>
                      </c:pt>
                      <c:pt idx="4207">
                        <c:v>285.49340000000001</c:v>
                      </c:pt>
                      <c:pt idx="4208">
                        <c:v>285.49340000000001</c:v>
                      </c:pt>
                      <c:pt idx="4209">
                        <c:v>285.49340000000001</c:v>
                      </c:pt>
                      <c:pt idx="4210">
                        <c:v>285.49340000000001</c:v>
                      </c:pt>
                      <c:pt idx="4211">
                        <c:v>285.49340000000001</c:v>
                      </c:pt>
                      <c:pt idx="4212">
                        <c:v>285.49340000000001</c:v>
                      </c:pt>
                      <c:pt idx="4213">
                        <c:v>285.49340000000001</c:v>
                      </c:pt>
                      <c:pt idx="4214">
                        <c:v>285.49340000000001</c:v>
                      </c:pt>
                      <c:pt idx="4215">
                        <c:v>285.49340000000001</c:v>
                      </c:pt>
                      <c:pt idx="4216">
                        <c:v>285.49340000000001</c:v>
                      </c:pt>
                      <c:pt idx="4217">
                        <c:v>285.49340000000001</c:v>
                      </c:pt>
                      <c:pt idx="4218">
                        <c:v>285.49340000000001</c:v>
                      </c:pt>
                      <c:pt idx="4219">
                        <c:v>285.49340000000001</c:v>
                      </c:pt>
                      <c:pt idx="4220">
                        <c:v>285.49340000000001</c:v>
                      </c:pt>
                      <c:pt idx="4221">
                        <c:v>285.49340000000001</c:v>
                      </c:pt>
                      <c:pt idx="4222">
                        <c:v>285.49340000000001</c:v>
                      </c:pt>
                      <c:pt idx="4223">
                        <c:v>285.49340000000001</c:v>
                      </c:pt>
                      <c:pt idx="4224">
                        <c:v>285.49340000000001</c:v>
                      </c:pt>
                      <c:pt idx="4225">
                        <c:v>285.49340000000001</c:v>
                      </c:pt>
                      <c:pt idx="4226">
                        <c:v>285.49340000000001</c:v>
                      </c:pt>
                      <c:pt idx="4227">
                        <c:v>285.49340000000001</c:v>
                      </c:pt>
                      <c:pt idx="4228">
                        <c:v>285.49340000000001</c:v>
                      </c:pt>
                      <c:pt idx="4229">
                        <c:v>285.49340000000001</c:v>
                      </c:pt>
                      <c:pt idx="4230">
                        <c:v>285.49340000000001</c:v>
                      </c:pt>
                      <c:pt idx="4231">
                        <c:v>285.49340000000001</c:v>
                      </c:pt>
                      <c:pt idx="4232">
                        <c:v>285.49340000000001</c:v>
                      </c:pt>
                      <c:pt idx="4233">
                        <c:v>285.49340000000001</c:v>
                      </c:pt>
                      <c:pt idx="4234">
                        <c:v>285.49340000000001</c:v>
                      </c:pt>
                      <c:pt idx="4235">
                        <c:v>285.49340000000001</c:v>
                      </c:pt>
                      <c:pt idx="4236">
                        <c:v>285.49340000000001</c:v>
                      </c:pt>
                      <c:pt idx="4237">
                        <c:v>285.49340000000001</c:v>
                      </c:pt>
                      <c:pt idx="4238">
                        <c:v>285.49340000000001</c:v>
                      </c:pt>
                      <c:pt idx="4239">
                        <c:v>285.49340000000001</c:v>
                      </c:pt>
                      <c:pt idx="4240">
                        <c:v>285.49340000000001</c:v>
                      </c:pt>
                      <c:pt idx="4241">
                        <c:v>285.49340000000001</c:v>
                      </c:pt>
                      <c:pt idx="4242">
                        <c:v>285.49340000000001</c:v>
                      </c:pt>
                      <c:pt idx="4243">
                        <c:v>285.49340000000001</c:v>
                      </c:pt>
                      <c:pt idx="4244">
                        <c:v>285.49340000000001</c:v>
                      </c:pt>
                      <c:pt idx="4245">
                        <c:v>285.49340000000001</c:v>
                      </c:pt>
                      <c:pt idx="4246">
                        <c:v>285.49340000000001</c:v>
                      </c:pt>
                      <c:pt idx="4247">
                        <c:v>285.49340000000001</c:v>
                      </c:pt>
                      <c:pt idx="4248">
                        <c:v>285.49340000000001</c:v>
                      </c:pt>
                      <c:pt idx="4249">
                        <c:v>285.49340000000001</c:v>
                      </c:pt>
                      <c:pt idx="4250">
                        <c:v>285.49340000000001</c:v>
                      </c:pt>
                      <c:pt idx="4251">
                        <c:v>285.49340000000001</c:v>
                      </c:pt>
                      <c:pt idx="4252">
                        <c:v>285.49340000000001</c:v>
                      </c:pt>
                      <c:pt idx="4253">
                        <c:v>285.49340000000001</c:v>
                      </c:pt>
                      <c:pt idx="4254">
                        <c:v>285.49340000000001</c:v>
                      </c:pt>
                      <c:pt idx="4255">
                        <c:v>285.49340000000001</c:v>
                      </c:pt>
                      <c:pt idx="4256">
                        <c:v>285.49340000000001</c:v>
                      </c:pt>
                      <c:pt idx="4257">
                        <c:v>285.49340000000001</c:v>
                      </c:pt>
                      <c:pt idx="4258">
                        <c:v>285.49340000000001</c:v>
                      </c:pt>
                      <c:pt idx="4259">
                        <c:v>285.49340000000001</c:v>
                      </c:pt>
                      <c:pt idx="4260">
                        <c:v>285.49340000000001</c:v>
                      </c:pt>
                      <c:pt idx="4261">
                        <c:v>285.49340000000001</c:v>
                      </c:pt>
                      <c:pt idx="4262">
                        <c:v>285.49340000000001</c:v>
                      </c:pt>
                      <c:pt idx="4263">
                        <c:v>285.49340000000001</c:v>
                      </c:pt>
                      <c:pt idx="4264">
                        <c:v>285.49340000000001</c:v>
                      </c:pt>
                      <c:pt idx="4265">
                        <c:v>285.49340000000001</c:v>
                      </c:pt>
                      <c:pt idx="4266">
                        <c:v>285.49340000000001</c:v>
                      </c:pt>
                      <c:pt idx="4267">
                        <c:v>285.49340000000001</c:v>
                      </c:pt>
                      <c:pt idx="4268">
                        <c:v>285.49340000000001</c:v>
                      </c:pt>
                      <c:pt idx="4269">
                        <c:v>285.49340000000001</c:v>
                      </c:pt>
                      <c:pt idx="4270">
                        <c:v>285.49340000000001</c:v>
                      </c:pt>
                      <c:pt idx="4271">
                        <c:v>285.49340000000001</c:v>
                      </c:pt>
                      <c:pt idx="4272">
                        <c:v>285.49340000000001</c:v>
                      </c:pt>
                      <c:pt idx="4273">
                        <c:v>285.49340000000001</c:v>
                      </c:pt>
                      <c:pt idx="4274">
                        <c:v>285.49340000000001</c:v>
                      </c:pt>
                      <c:pt idx="4275">
                        <c:v>285.49340000000001</c:v>
                      </c:pt>
                      <c:pt idx="4276">
                        <c:v>285.49340000000001</c:v>
                      </c:pt>
                      <c:pt idx="4277">
                        <c:v>285.49340000000001</c:v>
                      </c:pt>
                      <c:pt idx="4278">
                        <c:v>285.49340000000001</c:v>
                      </c:pt>
                      <c:pt idx="4279">
                        <c:v>285.49340000000001</c:v>
                      </c:pt>
                      <c:pt idx="4280">
                        <c:v>285.49340000000001</c:v>
                      </c:pt>
                      <c:pt idx="4281">
                        <c:v>285.49340000000001</c:v>
                      </c:pt>
                      <c:pt idx="4282">
                        <c:v>285.49340000000001</c:v>
                      </c:pt>
                      <c:pt idx="4283">
                        <c:v>285.49340000000001</c:v>
                      </c:pt>
                      <c:pt idx="4284">
                        <c:v>285.49340000000001</c:v>
                      </c:pt>
                      <c:pt idx="4285">
                        <c:v>285.49340000000001</c:v>
                      </c:pt>
                      <c:pt idx="4286">
                        <c:v>285.49340000000001</c:v>
                      </c:pt>
                      <c:pt idx="4287">
                        <c:v>285.49340000000001</c:v>
                      </c:pt>
                      <c:pt idx="4288">
                        <c:v>285.49340000000001</c:v>
                      </c:pt>
                      <c:pt idx="4289">
                        <c:v>285.49340000000001</c:v>
                      </c:pt>
                      <c:pt idx="4290">
                        <c:v>285.49340000000001</c:v>
                      </c:pt>
                      <c:pt idx="4291">
                        <c:v>285.49340000000001</c:v>
                      </c:pt>
                      <c:pt idx="4292">
                        <c:v>285.49340000000001</c:v>
                      </c:pt>
                      <c:pt idx="4293">
                        <c:v>285.49340000000001</c:v>
                      </c:pt>
                      <c:pt idx="4294">
                        <c:v>285.49340000000001</c:v>
                      </c:pt>
                      <c:pt idx="4295">
                        <c:v>285.49340000000001</c:v>
                      </c:pt>
                      <c:pt idx="4296">
                        <c:v>285.49340000000001</c:v>
                      </c:pt>
                      <c:pt idx="4297">
                        <c:v>285.49340000000001</c:v>
                      </c:pt>
                      <c:pt idx="4298">
                        <c:v>285.49340000000001</c:v>
                      </c:pt>
                      <c:pt idx="4299">
                        <c:v>285.49340000000001</c:v>
                      </c:pt>
                      <c:pt idx="4300">
                        <c:v>285.49340000000001</c:v>
                      </c:pt>
                      <c:pt idx="4301">
                        <c:v>285.49340000000001</c:v>
                      </c:pt>
                      <c:pt idx="4302">
                        <c:v>285.49340000000001</c:v>
                      </c:pt>
                      <c:pt idx="4303">
                        <c:v>285.49340000000001</c:v>
                      </c:pt>
                      <c:pt idx="4304">
                        <c:v>285.49340000000001</c:v>
                      </c:pt>
                      <c:pt idx="4305">
                        <c:v>285.49340000000001</c:v>
                      </c:pt>
                      <c:pt idx="4306">
                        <c:v>285.49340000000001</c:v>
                      </c:pt>
                      <c:pt idx="4307">
                        <c:v>285.49340000000001</c:v>
                      </c:pt>
                      <c:pt idx="4308">
                        <c:v>285.49340000000001</c:v>
                      </c:pt>
                      <c:pt idx="4309">
                        <c:v>285.49340000000001</c:v>
                      </c:pt>
                      <c:pt idx="4310">
                        <c:v>285.49340000000001</c:v>
                      </c:pt>
                      <c:pt idx="4311">
                        <c:v>285.49340000000001</c:v>
                      </c:pt>
                      <c:pt idx="4312">
                        <c:v>285.49340000000001</c:v>
                      </c:pt>
                      <c:pt idx="4313">
                        <c:v>285.49340000000001</c:v>
                      </c:pt>
                      <c:pt idx="4314">
                        <c:v>285.49340000000001</c:v>
                      </c:pt>
                      <c:pt idx="4315">
                        <c:v>285.49340000000001</c:v>
                      </c:pt>
                      <c:pt idx="4316">
                        <c:v>285.49340000000001</c:v>
                      </c:pt>
                      <c:pt idx="4317">
                        <c:v>285.49340000000001</c:v>
                      </c:pt>
                      <c:pt idx="4318">
                        <c:v>285.49340000000001</c:v>
                      </c:pt>
                      <c:pt idx="4319">
                        <c:v>285.49340000000001</c:v>
                      </c:pt>
                      <c:pt idx="4320">
                        <c:v>285.49340000000001</c:v>
                      </c:pt>
                      <c:pt idx="4321">
                        <c:v>285.49340000000001</c:v>
                      </c:pt>
                      <c:pt idx="4322">
                        <c:v>285.49340000000001</c:v>
                      </c:pt>
                      <c:pt idx="4323">
                        <c:v>285.49340000000001</c:v>
                      </c:pt>
                      <c:pt idx="4324">
                        <c:v>285.49340000000001</c:v>
                      </c:pt>
                      <c:pt idx="4325">
                        <c:v>285.49340000000001</c:v>
                      </c:pt>
                      <c:pt idx="4326">
                        <c:v>285.49340000000001</c:v>
                      </c:pt>
                      <c:pt idx="4327">
                        <c:v>285.49340000000001</c:v>
                      </c:pt>
                      <c:pt idx="4328">
                        <c:v>285.49340000000001</c:v>
                      </c:pt>
                      <c:pt idx="4329">
                        <c:v>285.49340000000001</c:v>
                      </c:pt>
                      <c:pt idx="4330">
                        <c:v>285.49340000000001</c:v>
                      </c:pt>
                      <c:pt idx="4331">
                        <c:v>285.49340000000001</c:v>
                      </c:pt>
                      <c:pt idx="4332">
                        <c:v>285.49340000000001</c:v>
                      </c:pt>
                      <c:pt idx="4333">
                        <c:v>285.49340000000001</c:v>
                      </c:pt>
                      <c:pt idx="4334">
                        <c:v>285.49340000000001</c:v>
                      </c:pt>
                      <c:pt idx="4335">
                        <c:v>285.49340000000001</c:v>
                      </c:pt>
                      <c:pt idx="4336">
                        <c:v>285.49340000000001</c:v>
                      </c:pt>
                      <c:pt idx="4337">
                        <c:v>285.49340000000001</c:v>
                      </c:pt>
                      <c:pt idx="4338">
                        <c:v>285.49340000000001</c:v>
                      </c:pt>
                      <c:pt idx="4339">
                        <c:v>285.49340000000001</c:v>
                      </c:pt>
                      <c:pt idx="4340">
                        <c:v>285.49340000000001</c:v>
                      </c:pt>
                      <c:pt idx="4341">
                        <c:v>285.49340000000001</c:v>
                      </c:pt>
                      <c:pt idx="4342">
                        <c:v>285.49340000000001</c:v>
                      </c:pt>
                      <c:pt idx="4343">
                        <c:v>285.49340000000001</c:v>
                      </c:pt>
                      <c:pt idx="4344">
                        <c:v>285.49340000000001</c:v>
                      </c:pt>
                      <c:pt idx="4345">
                        <c:v>285.49340000000001</c:v>
                      </c:pt>
                      <c:pt idx="4346">
                        <c:v>285.49340000000001</c:v>
                      </c:pt>
                      <c:pt idx="4347">
                        <c:v>285.49340000000001</c:v>
                      </c:pt>
                      <c:pt idx="4348">
                        <c:v>285.49340000000001</c:v>
                      </c:pt>
                      <c:pt idx="4349">
                        <c:v>285.49340000000001</c:v>
                      </c:pt>
                      <c:pt idx="4350">
                        <c:v>285.49340000000001</c:v>
                      </c:pt>
                      <c:pt idx="4351">
                        <c:v>285.49340000000001</c:v>
                      </c:pt>
                      <c:pt idx="4352">
                        <c:v>285.49340000000001</c:v>
                      </c:pt>
                      <c:pt idx="4353">
                        <c:v>285.49340000000001</c:v>
                      </c:pt>
                      <c:pt idx="4354">
                        <c:v>285.49340000000001</c:v>
                      </c:pt>
                      <c:pt idx="4355">
                        <c:v>285.49340000000001</c:v>
                      </c:pt>
                      <c:pt idx="4356">
                        <c:v>285.49340000000001</c:v>
                      </c:pt>
                      <c:pt idx="4357">
                        <c:v>285.49340000000001</c:v>
                      </c:pt>
                      <c:pt idx="4358">
                        <c:v>285.49340000000001</c:v>
                      </c:pt>
                      <c:pt idx="4359">
                        <c:v>285.49340000000001</c:v>
                      </c:pt>
                      <c:pt idx="4360">
                        <c:v>285.49340000000001</c:v>
                      </c:pt>
                      <c:pt idx="4361">
                        <c:v>285.49340000000001</c:v>
                      </c:pt>
                      <c:pt idx="4362">
                        <c:v>285.49340000000001</c:v>
                      </c:pt>
                      <c:pt idx="4363">
                        <c:v>285.49340000000001</c:v>
                      </c:pt>
                      <c:pt idx="4364">
                        <c:v>285.49340000000001</c:v>
                      </c:pt>
                      <c:pt idx="4365">
                        <c:v>285.49340000000001</c:v>
                      </c:pt>
                      <c:pt idx="4366">
                        <c:v>285.49340000000001</c:v>
                      </c:pt>
                      <c:pt idx="4367">
                        <c:v>285.49340000000001</c:v>
                      </c:pt>
                      <c:pt idx="4368">
                        <c:v>285.49340000000001</c:v>
                      </c:pt>
                      <c:pt idx="4369">
                        <c:v>285.49340000000001</c:v>
                      </c:pt>
                      <c:pt idx="4370">
                        <c:v>285.49340000000001</c:v>
                      </c:pt>
                      <c:pt idx="4371">
                        <c:v>285.49340000000001</c:v>
                      </c:pt>
                      <c:pt idx="4372">
                        <c:v>285.49340000000001</c:v>
                      </c:pt>
                      <c:pt idx="4373">
                        <c:v>285.49340000000001</c:v>
                      </c:pt>
                      <c:pt idx="4374">
                        <c:v>285.49340000000001</c:v>
                      </c:pt>
                      <c:pt idx="4375">
                        <c:v>285.49340000000001</c:v>
                      </c:pt>
                      <c:pt idx="4376">
                        <c:v>285.49340000000001</c:v>
                      </c:pt>
                      <c:pt idx="4377">
                        <c:v>285.49340000000001</c:v>
                      </c:pt>
                      <c:pt idx="4378">
                        <c:v>285.49340000000001</c:v>
                      </c:pt>
                      <c:pt idx="4379">
                        <c:v>285.49340000000001</c:v>
                      </c:pt>
                      <c:pt idx="4380">
                        <c:v>285.49340000000001</c:v>
                      </c:pt>
                      <c:pt idx="4381">
                        <c:v>285.49340000000001</c:v>
                      </c:pt>
                      <c:pt idx="4382">
                        <c:v>285.49340000000001</c:v>
                      </c:pt>
                      <c:pt idx="4383">
                        <c:v>285.49340000000001</c:v>
                      </c:pt>
                      <c:pt idx="4384">
                        <c:v>285.49340000000001</c:v>
                      </c:pt>
                      <c:pt idx="4385">
                        <c:v>285.49340000000001</c:v>
                      </c:pt>
                      <c:pt idx="4386">
                        <c:v>285.49340000000001</c:v>
                      </c:pt>
                      <c:pt idx="4387">
                        <c:v>285.49340000000001</c:v>
                      </c:pt>
                      <c:pt idx="4388">
                        <c:v>285.49340000000001</c:v>
                      </c:pt>
                      <c:pt idx="4389">
                        <c:v>285.49340000000001</c:v>
                      </c:pt>
                      <c:pt idx="4390">
                        <c:v>285.49340000000001</c:v>
                      </c:pt>
                      <c:pt idx="4391">
                        <c:v>285.49340000000001</c:v>
                      </c:pt>
                      <c:pt idx="4392">
                        <c:v>285.49340000000001</c:v>
                      </c:pt>
                      <c:pt idx="4393">
                        <c:v>285.49340000000001</c:v>
                      </c:pt>
                      <c:pt idx="4394">
                        <c:v>285.49340000000001</c:v>
                      </c:pt>
                      <c:pt idx="4395">
                        <c:v>285.49340000000001</c:v>
                      </c:pt>
                      <c:pt idx="4396">
                        <c:v>285.49340000000001</c:v>
                      </c:pt>
                      <c:pt idx="4397">
                        <c:v>285.49340000000001</c:v>
                      </c:pt>
                      <c:pt idx="4398">
                        <c:v>285.49340000000001</c:v>
                      </c:pt>
                      <c:pt idx="4399">
                        <c:v>285.49340000000001</c:v>
                      </c:pt>
                      <c:pt idx="4400">
                        <c:v>285.49340000000001</c:v>
                      </c:pt>
                      <c:pt idx="4401">
                        <c:v>285.49340000000001</c:v>
                      </c:pt>
                      <c:pt idx="4402">
                        <c:v>285.49340000000001</c:v>
                      </c:pt>
                      <c:pt idx="4403">
                        <c:v>285.49340000000001</c:v>
                      </c:pt>
                      <c:pt idx="4404">
                        <c:v>285.49340000000001</c:v>
                      </c:pt>
                      <c:pt idx="4405">
                        <c:v>285.49340000000001</c:v>
                      </c:pt>
                      <c:pt idx="4406">
                        <c:v>285.49340000000001</c:v>
                      </c:pt>
                      <c:pt idx="4407">
                        <c:v>285.49340000000001</c:v>
                      </c:pt>
                      <c:pt idx="4408">
                        <c:v>285.49340000000001</c:v>
                      </c:pt>
                      <c:pt idx="4409">
                        <c:v>285.49340000000001</c:v>
                      </c:pt>
                      <c:pt idx="4410">
                        <c:v>285.49340000000001</c:v>
                      </c:pt>
                      <c:pt idx="4411">
                        <c:v>285.49340000000001</c:v>
                      </c:pt>
                      <c:pt idx="4412">
                        <c:v>285.49340000000001</c:v>
                      </c:pt>
                      <c:pt idx="4413">
                        <c:v>285.49340000000001</c:v>
                      </c:pt>
                      <c:pt idx="4414">
                        <c:v>285.49340000000001</c:v>
                      </c:pt>
                      <c:pt idx="4415">
                        <c:v>285.49340000000001</c:v>
                      </c:pt>
                      <c:pt idx="4416">
                        <c:v>285.49340000000001</c:v>
                      </c:pt>
                      <c:pt idx="4417">
                        <c:v>285.49340000000001</c:v>
                      </c:pt>
                      <c:pt idx="4418">
                        <c:v>285.49340000000001</c:v>
                      </c:pt>
                      <c:pt idx="4419">
                        <c:v>285.49340000000001</c:v>
                      </c:pt>
                      <c:pt idx="4420">
                        <c:v>285.49340000000001</c:v>
                      </c:pt>
                      <c:pt idx="4421">
                        <c:v>285.49340000000001</c:v>
                      </c:pt>
                      <c:pt idx="4422">
                        <c:v>285.49340000000001</c:v>
                      </c:pt>
                      <c:pt idx="4423">
                        <c:v>285.49340000000001</c:v>
                      </c:pt>
                      <c:pt idx="4424">
                        <c:v>285.49340000000001</c:v>
                      </c:pt>
                      <c:pt idx="4425">
                        <c:v>285.49340000000001</c:v>
                      </c:pt>
                      <c:pt idx="4426">
                        <c:v>285.49340000000001</c:v>
                      </c:pt>
                      <c:pt idx="4427">
                        <c:v>285.49340000000001</c:v>
                      </c:pt>
                      <c:pt idx="4428">
                        <c:v>285.49340000000001</c:v>
                      </c:pt>
                      <c:pt idx="4429">
                        <c:v>285.49340000000001</c:v>
                      </c:pt>
                      <c:pt idx="4430">
                        <c:v>285.49340000000001</c:v>
                      </c:pt>
                      <c:pt idx="4431">
                        <c:v>285.49340000000001</c:v>
                      </c:pt>
                      <c:pt idx="4432">
                        <c:v>285.49340000000001</c:v>
                      </c:pt>
                      <c:pt idx="4433">
                        <c:v>285.49340000000001</c:v>
                      </c:pt>
                      <c:pt idx="4434">
                        <c:v>285.49340000000001</c:v>
                      </c:pt>
                      <c:pt idx="4435">
                        <c:v>285.49340000000001</c:v>
                      </c:pt>
                      <c:pt idx="4436">
                        <c:v>285.49340000000001</c:v>
                      </c:pt>
                      <c:pt idx="4437">
                        <c:v>285.49340000000001</c:v>
                      </c:pt>
                      <c:pt idx="4438">
                        <c:v>285.49340000000001</c:v>
                      </c:pt>
                      <c:pt idx="4439">
                        <c:v>285.49340000000001</c:v>
                      </c:pt>
                      <c:pt idx="4440">
                        <c:v>285.49340000000001</c:v>
                      </c:pt>
                      <c:pt idx="4441">
                        <c:v>285.49340000000001</c:v>
                      </c:pt>
                      <c:pt idx="4442">
                        <c:v>285.49340000000001</c:v>
                      </c:pt>
                      <c:pt idx="4443">
                        <c:v>285.49340000000001</c:v>
                      </c:pt>
                      <c:pt idx="4444">
                        <c:v>285.49340000000001</c:v>
                      </c:pt>
                      <c:pt idx="4445">
                        <c:v>285.49340000000001</c:v>
                      </c:pt>
                      <c:pt idx="4446">
                        <c:v>285.49340000000001</c:v>
                      </c:pt>
                      <c:pt idx="4447">
                        <c:v>285.49340000000001</c:v>
                      </c:pt>
                      <c:pt idx="4448">
                        <c:v>285.49340000000001</c:v>
                      </c:pt>
                      <c:pt idx="4449">
                        <c:v>285.49340000000001</c:v>
                      </c:pt>
                      <c:pt idx="4450">
                        <c:v>285.49340000000001</c:v>
                      </c:pt>
                      <c:pt idx="4451">
                        <c:v>285.49340000000001</c:v>
                      </c:pt>
                      <c:pt idx="4452">
                        <c:v>285.49340000000001</c:v>
                      </c:pt>
                      <c:pt idx="4453">
                        <c:v>285.49340000000001</c:v>
                      </c:pt>
                      <c:pt idx="4454">
                        <c:v>285.49340000000001</c:v>
                      </c:pt>
                      <c:pt idx="4455">
                        <c:v>285.49340000000001</c:v>
                      </c:pt>
                      <c:pt idx="4456">
                        <c:v>285.49340000000001</c:v>
                      </c:pt>
                      <c:pt idx="4457">
                        <c:v>285.49340000000001</c:v>
                      </c:pt>
                      <c:pt idx="4458">
                        <c:v>285.49340000000001</c:v>
                      </c:pt>
                      <c:pt idx="4459">
                        <c:v>285.49340000000001</c:v>
                      </c:pt>
                      <c:pt idx="4460">
                        <c:v>285.49340000000001</c:v>
                      </c:pt>
                      <c:pt idx="4461">
                        <c:v>285.49340000000001</c:v>
                      </c:pt>
                      <c:pt idx="4462">
                        <c:v>285.49340000000001</c:v>
                      </c:pt>
                      <c:pt idx="4463">
                        <c:v>285.49340000000001</c:v>
                      </c:pt>
                      <c:pt idx="4464">
                        <c:v>285.49340000000001</c:v>
                      </c:pt>
                      <c:pt idx="4465">
                        <c:v>285.49340000000001</c:v>
                      </c:pt>
                      <c:pt idx="4466">
                        <c:v>285.49340000000001</c:v>
                      </c:pt>
                      <c:pt idx="4467">
                        <c:v>285.49340000000001</c:v>
                      </c:pt>
                      <c:pt idx="4468">
                        <c:v>285.49340000000001</c:v>
                      </c:pt>
                      <c:pt idx="4469">
                        <c:v>285.49340000000001</c:v>
                      </c:pt>
                      <c:pt idx="4470">
                        <c:v>285.49340000000001</c:v>
                      </c:pt>
                      <c:pt idx="4471">
                        <c:v>285.49340000000001</c:v>
                      </c:pt>
                      <c:pt idx="4472">
                        <c:v>285.49340000000001</c:v>
                      </c:pt>
                      <c:pt idx="4473">
                        <c:v>285.49340000000001</c:v>
                      </c:pt>
                      <c:pt idx="4474">
                        <c:v>285.49340000000001</c:v>
                      </c:pt>
                      <c:pt idx="4475">
                        <c:v>285.49340000000001</c:v>
                      </c:pt>
                      <c:pt idx="4476">
                        <c:v>285.49340000000001</c:v>
                      </c:pt>
                      <c:pt idx="4477">
                        <c:v>285.49340000000001</c:v>
                      </c:pt>
                      <c:pt idx="4478">
                        <c:v>285.49340000000001</c:v>
                      </c:pt>
                      <c:pt idx="4479">
                        <c:v>285.49340000000001</c:v>
                      </c:pt>
                      <c:pt idx="4480">
                        <c:v>285.49340000000001</c:v>
                      </c:pt>
                      <c:pt idx="4481">
                        <c:v>285.49340000000001</c:v>
                      </c:pt>
                      <c:pt idx="4482">
                        <c:v>285.49340000000001</c:v>
                      </c:pt>
                      <c:pt idx="4483">
                        <c:v>285.49340000000001</c:v>
                      </c:pt>
                      <c:pt idx="4484">
                        <c:v>285.49340000000001</c:v>
                      </c:pt>
                      <c:pt idx="4485">
                        <c:v>285.49340000000001</c:v>
                      </c:pt>
                      <c:pt idx="4486">
                        <c:v>285.49340000000001</c:v>
                      </c:pt>
                      <c:pt idx="4487">
                        <c:v>285.49340000000001</c:v>
                      </c:pt>
                      <c:pt idx="4488">
                        <c:v>285.49340000000001</c:v>
                      </c:pt>
                      <c:pt idx="4489">
                        <c:v>285.49340000000001</c:v>
                      </c:pt>
                      <c:pt idx="4490">
                        <c:v>285.49340000000001</c:v>
                      </c:pt>
                      <c:pt idx="4491">
                        <c:v>285.49340000000001</c:v>
                      </c:pt>
                      <c:pt idx="4492">
                        <c:v>285.49340000000001</c:v>
                      </c:pt>
                      <c:pt idx="4493">
                        <c:v>285.49340000000001</c:v>
                      </c:pt>
                      <c:pt idx="4494">
                        <c:v>285.49340000000001</c:v>
                      </c:pt>
                      <c:pt idx="4495">
                        <c:v>285.49340000000001</c:v>
                      </c:pt>
                      <c:pt idx="4496">
                        <c:v>285.49340000000001</c:v>
                      </c:pt>
                      <c:pt idx="4497">
                        <c:v>285.49340000000001</c:v>
                      </c:pt>
                      <c:pt idx="4498">
                        <c:v>285.49340000000001</c:v>
                      </c:pt>
                      <c:pt idx="4499">
                        <c:v>285.49340000000001</c:v>
                      </c:pt>
                      <c:pt idx="4500">
                        <c:v>285.49340000000001</c:v>
                      </c:pt>
                      <c:pt idx="4501">
                        <c:v>285.49340000000001</c:v>
                      </c:pt>
                      <c:pt idx="4502">
                        <c:v>285.49340000000001</c:v>
                      </c:pt>
                      <c:pt idx="4503">
                        <c:v>285.49340000000001</c:v>
                      </c:pt>
                      <c:pt idx="4504">
                        <c:v>285.49340000000001</c:v>
                      </c:pt>
                      <c:pt idx="4505">
                        <c:v>285.49340000000001</c:v>
                      </c:pt>
                      <c:pt idx="4506">
                        <c:v>285.49340000000001</c:v>
                      </c:pt>
                      <c:pt idx="4507">
                        <c:v>285.49340000000001</c:v>
                      </c:pt>
                      <c:pt idx="4508">
                        <c:v>285.49340000000001</c:v>
                      </c:pt>
                      <c:pt idx="4509">
                        <c:v>285.49340000000001</c:v>
                      </c:pt>
                      <c:pt idx="4510">
                        <c:v>285.49340000000001</c:v>
                      </c:pt>
                      <c:pt idx="4511">
                        <c:v>285.49340000000001</c:v>
                      </c:pt>
                      <c:pt idx="4512">
                        <c:v>285.49340000000001</c:v>
                      </c:pt>
                      <c:pt idx="4513">
                        <c:v>285.49340000000001</c:v>
                      </c:pt>
                      <c:pt idx="4514">
                        <c:v>285.49340000000001</c:v>
                      </c:pt>
                      <c:pt idx="4515">
                        <c:v>285.49340000000001</c:v>
                      </c:pt>
                      <c:pt idx="4516">
                        <c:v>285.49340000000001</c:v>
                      </c:pt>
                      <c:pt idx="4517">
                        <c:v>285.49340000000001</c:v>
                      </c:pt>
                      <c:pt idx="4518">
                        <c:v>285.49340000000001</c:v>
                      </c:pt>
                      <c:pt idx="4519">
                        <c:v>285.49340000000001</c:v>
                      </c:pt>
                      <c:pt idx="4520">
                        <c:v>285.49340000000001</c:v>
                      </c:pt>
                      <c:pt idx="4521">
                        <c:v>285.49340000000001</c:v>
                      </c:pt>
                      <c:pt idx="4522">
                        <c:v>285.49340000000001</c:v>
                      </c:pt>
                      <c:pt idx="4523">
                        <c:v>285.49340000000001</c:v>
                      </c:pt>
                      <c:pt idx="4524">
                        <c:v>285.49340000000001</c:v>
                      </c:pt>
                      <c:pt idx="4525">
                        <c:v>285.49340000000001</c:v>
                      </c:pt>
                      <c:pt idx="4526">
                        <c:v>285.49340000000001</c:v>
                      </c:pt>
                      <c:pt idx="4527">
                        <c:v>285.49340000000001</c:v>
                      </c:pt>
                      <c:pt idx="4528">
                        <c:v>285.49340000000001</c:v>
                      </c:pt>
                      <c:pt idx="4529">
                        <c:v>285.49340000000001</c:v>
                      </c:pt>
                      <c:pt idx="4530">
                        <c:v>285.49340000000001</c:v>
                      </c:pt>
                      <c:pt idx="4531">
                        <c:v>285.49340000000001</c:v>
                      </c:pt>
                      <c:pt idx="4532">
                        <c:v>285.49340000000001</c:v>
                      </c:pt>
                      <c:pt idx="4533">
                        <c:v>285.49340000000001</c:v>
                      </c:pt>
                      <c:pt idx="4534">
                        <c:v>285.49340000000001</c:v>
                      </c:pt>
                      <c:pt idx="4535">
                        <c:v>285.49340000000001</c:v>
                      </c:pt>
                      <c:pt idx="4536">
                        <c:v>285.49340000000001</c:v>
                      </c:pt>
                      <c:pt idx="4537">
                        <c:v>285.49340000000001</c:v>
                      </c:pt>
                      <c:pt idx="4538">
                        <c:v>285.49340000000001</c:v>
                      </c:pt>
                      <c:pt idx="4539">
                        <c:v>285.49340000000001</c:v>
                      </c:pt>
                      <c:pt idx="4540">
                        <c:v>285.49340000000001</c:v>
                      </c:pt>
                      <c:pt idx="4541">
                        <c:v>285.49340000000001</c:v>
                      </c:pt>
                      <c:pt idx="4542">
                        <c:v>285.49340000000001</c:v>
                      </c:pt>
                      <c:pt idx="4543">
                        <c:v>285.49340000000001</c:v>
                      </c:pt>
                      <c:pt idx="4544">
                        <c:v>285.49340000000001</c:v>
                      </c:pt>
                      <c:pt idx="4545">
                        <c:v>285.49340000000001</c:v>
                      </c:pt>
                      <c:pt idx="4546">
                        <c:v>285.49340000000001</c:v>
                      </c:pt>
                      <c:pt idx="4547">
                        <c:v>285.49340000000001</c:v>
                      </c:pt>
                      <c:pt idx="4548">
                        <c:v>285.49340000000001</c:v>
                      </c:pt>
                      <c:pt idx="4549">
                        <c:v>285.49340000000001</c:v>
                      </c:pt>
                      <c:pt idx="4550">
                        <c:v>285.49340000000001</c:v>
                      </c:pt>
                      <c:pt idx="4551">
                        <c:v>285.49340000000001</c:v>
                      </c:pt>
                      <c:pt idx="4552">
                        <c:v>285.49340000000001</c:v>
                      </c:pt>
                      <c:pt idx="4553">
                        <c:v>285.49340000000001</c:v>
                      </c:pt>
                      <c:pt idx="4554">
                        <c:v>285.49340000000001</c:v>
                      </c:pt>
                      <c:pt idx="4555">
                        <c:v>285.49340000000001</c:v>
                      </c:pt>
                      <c:pt idx="4556">
                        <c:v>285.49340000000001</c:v>
                      </c:pt>
                      <c:pt idx="4557">
                        <c:v>285.49340000000001</c:v>
                      </c:pt>
                      <c:pt idx="4558">
                        <c:v>285.49340000000001</c:v>
                      </c:pt>
                      <c:pt idx="4559">
                        <c:v>285.49340000000001</c:v>
                      </c:pt>
                      <c:pt idx="4560">
                        <c:v>285.49340000000001</c:v>
                      </c:pt>
                      <c:pt idx="4561">
                        <c:v>285.49340000000001</c:v>
                      </c:pt>
                      <c:pt idx="4562">
                        <c:v>285.49340000000001</c:v>
                      </c:pt>
                      <c:pt idx="4563">
                        <c:v>285.49340000000001</c:v>
                      </c:pt>
                      <c:pt idx="4564">
                        <c:v>285.49340000000001</c:v>
                      </c:pt>
                      <c:pt idx="4565">
                        <c:v>285.49340000000001</c:v>
                      </c:pt>
                      <c:pt idx="4566">
                        <c:v>285.49340000000001</c:v>
                      </c:pt>
                      <c:pt idx="4567">
                        <c:v>285.49340000000001</c:v>
                      </c:pt>
                      <c:pt idx="4568">
                        <c:v>285.49340000000001</c:v>
                      </c:pt>
                      <c:pt idx="4569">
                        <c:v>285.49340000000001</c:v>
                      </c:pt>
                      <c:pt idx="4570">
                        <c:v>285.49340000000001</c:v>
                      </c:pt>
                      <c:pt idx="4571">
                        <c:v>285.49340000000001</c:v>
                      </c:pt>
                      <c:pt idx="4572">
                        <c:v>285.49340000000001</c:v>
                      </c:pt>
                      <c:pt idx="4573">
                        <c:v>285.49340000000001</c:v>
                      </c:pt>
                      <c:pt idx="4574">
                        <c:v>285.49340000000001</c:v>
                      </c:pt>
                      <c:pt idx="4575">
                        <c:v>285.49340000000001</c:v>
                      </c:pt>
                      <c:pt idx="4576">
                        <c:v>285.49340000000001</c:v>
                      </c:pt>
                      <c:pt idx="4577">
                        <c:v>285.49340000000001</c:v>
                      </c:pt>
                      <c:pt idx="4578">
                        <c:v>285.49340000000001</c:v>
                      </c:pt>
                      <c:pt idx="4579">
                        <c:v>285.49340000000001</c:v>
                      </c:pt>
                      <c:pt idx="4580">
                        <c:v>285.49340000000001</c:v>
                      </c:pt>
                      <c:pt idx="4581">
                        <c:v>285.49340000000001</c:v>
                      </c:pt>
                      <c:pt idx="4582">
                        <c:v>285.49340000000001</c:v>
                      </c:pt>
                      <c:pt idx="4583">
                        <c:v>285.49340000000001</c:v>
                      </c:pt>
                      <c:pt idx="4584">
                        <c:v>285.49340000000001</c:v>
                      </c:pt>
                      <c:pt idx="4585">
                        <c:v>285.49340000000001</c:v>
                      </c:pt>
                      <c:pt idx="4586">
                        <c:v>285.49340000000001</c:v>
                      </c:pt>
                      <c:pt idx="4587">
                        <c:v>285.49340000000001</c:v>
                      </c:pt>
                      <c:pt idx="4588">
                        <c:v>285.49340000000001</c:v>
                      </c:pt>
                      <c:pt idx="4589">
                        <c:v>285.49340000000001</c:v>
                      </c:pt>
                      <c:pt idx="4590">
                        <c:v>285.49340000000001</c:v>
                      </c:pt>
                      <c:pt idx="4591">
                        <c:v>285.49340000000001</c:v>
                      </c:pt>
                      <c:pt idx="4592">
                        <c:v>285.49340000000001</c:v>
                      </c:pt>
                      <c:pt idx="4593">
                        <c:v>285.49340000000001</c:v>
                      </c:pt>
                      <c:pt idx="4594">
                        <c:v>285.49340000000001</c:v>
                      </c:pt>
                      <c:pt idx="4595">
                        <c:v>285.49340000000001</c:v>
                      </c:pt>
                      <c:pt idx="4596">
                        <c:v>285.49340000000001</c:v>
                      </c:pt>
                      <c:pt idx="4597">
                        <c:v>285.49340000000001</c:v>
                      </c:pt>
                      <c:pt idx="4598">
                        <c:v>285.49340000000001</c:v>
                      </c:pt>
                      <c:pt idx="4599">
                        <c:v>285.49340000000001</c:v>
                      </c:pt>
                      <c:pt idx="4600">
                        <c:v>285.49340000000001</c:v>
                      </c:pt>
                      <c:pt idx="4601">
                        <c:v>285.49340000000001</c:v>
                      </c:pt>
                      <c:pt idx="4602">
                        <c:v>285.49340000000001</c:v>
                      </c:pt>
                      <c:pt idx="4603">
                        <c:v>285.49340000000001</c:v>
                      </c:pt>
                      <c:pt idx="4604">
                        <c:v>285.49340000000001</c:v>
                      </c:pt>
                      <c:pt idx="4605">
                        <c:v>285.49340000000001</c:v>
                      </c:pt>
                      <c:pt idx="4606">
                        <c:v>285.49340000000001</c:v>
                      </c:pt>
                      <c:pt idx="4607">
                        <c:v>285.49340000000001</c:v>
                      </c:pt>
                      <c:pt idx="4608">
                        <c:v>285.49340000000001</c:v>
                      </c:pt>
                      <c:pt idx="4609">
                        <c:v>285.49340000000001</c:v>
                      </c:pt>
                      <c:pt idx="4610">
                        <c:v>285.49340000000001</c:v>
                      </c:pt>
                      <c:pt idx="4611">
                        <c:v>285.49340000000001</c:v>
                      </c:pt>
                      <c:pt idx="4612">
                        <c:v>285.49340000000001</c:v>
                      </c:pt>
                      <c:pt idx="4613">
                        <c:v>285.49340000000001</c:v>
                      </c:pt>
                      <c:pt idx="4614">
                        <c:v>285.49340000000001</c:v>
                      </c:pt>
                      <c:pt idx="4615">
                        <c:v>285.49340000000001</c:v>
                      </c:pt>
                      <c:pt idx="4616">
                        <c:v>285.49340000000001</c:v>
                      </c:pt>
                      <c:pt idx="4617">
                        <c:v>285.49340000000001</c:v>
                      </c:pt>
                      <c:pt idx="4618">
                        <c:v>285.49340000000001</c:v>
                      </c:pt>
                      <c:pt idx="4619">
                        <c:v>285.49340000000001</c:v>
                      </c:pt>
                      <c:pt idx="4620">
                        <c:v>285.49340000000001</c:v>
                      </c:pt>
                      <c:pt idx="4621">
                        <c:v>285.49340000000001</c:v>
                      </c:pt>
                      <c:pt idx="4622">
                        <c:v>285.49340000000001</c:v>
                      </c:pt>
                      <c:pt idx="4623">
                        <c:v>285.49340000000001</c:v>
                      </c:pt>
                      <c:pt idx="4624">
                        <c:v>285.49340000000001</c:v>
                      </c:pt>
                      <c:pt idx="4625">
                        <c:v>285.49340000000001</c:v>
                      </c:pt>
                      <c:pt idx="4626">
                        <c:v>285.49340000000001</c:v>
                      </c:pt>
                      <c:pt idx="4627">
                        <c:v>285.49340000000001</c:v>
                      </c:pt>
                      <c:pt idx="4628">
                        <c:v>285.49340000000001</c:v>
                      </c:pt>
                      <c:pt idx="4629">
                        <c:v>285.49340000000001</c:v>
                      </c:pt>
                      <c:pt idx="4630">
                        <c:v>285.49340000000001</c:v>
                      </c:pt>
                      <c:pt idx="4631">
                        <c:v>285.49340000000001</c:v>
                      </c:pt>
                      <c:pt idx="4632">
                        <c:v>285.49340000000001</c:v>
                      </c:pt>
                      <c:pt idx="4633">
                        <c:v>285.49340000000001</c:v>
                      </c:pt>
                      <c:pt idx="4634">
                        <c:v>285.49340000000001</c:v>
                      </c:pt>
                      <c:pt idx="4635">
                        <c:v>285.49340000000001</c:v>
                      </c:pt>
                      <c:pt idx="4636">
                        <c:v>285.49340000000001</c:v>
                      </c:pt>
                      <c:pt idx="4637">
                        <c:v>285.49340000000001</c:v>
                      </c:pt>
                      <c:pt idx="4638">
                        <c:v>285.49340000000001</c:v>
                      </c:pt>
                      <c:pt idx="4639">
                        <c:v>285.49340000000001</c:v>
                      </c:pt>
                      <c:pt idx="4640">
                        <c:v>285.49340000000001</c:v>
                      </c:pt>
                      <c:pt idx="4641">
                        <c:v>285.49340000000001</c:v>
                      </c:pt>
                      <c:pt idx="4642">
                        <c:v>285.49340000000001</c:v>
                      </c:pt>
                      <c:pt idx="4643">
                        <c:v>285.49340000000001</c:v>
                      </c:pt>
                      <c:pt idx="4644">
                        <c:v>285.49340000000001</c:v>
                      </c:pt>
                      <c:pt idx="4645">
                        <c:v>285.49340000000001</c:v>
                      </c:pt>
                      <c:pt idx="4646">
                        <c:v>285.49340000000001</c:v>
                      </c:pt>
                      <c:pt idx="4647">
                        <c:v>285.49340000000001</c:v>
                      </c:pt>
                      <c:pt idx="4648">
                        <c:v>285.49340000000001</c:v>
                      </c:pt>
                      <c:pt idx="4649">
                        <c:v>285.49340000000001</c:v>
                      </c:pt>
                      <c:pt idx="4650">
                        <c:v>285.49340000000001</c:v>
                      </c:pt>
                      <c:pt idx="4651">
                        <c:v>285.49340000000001</c:v>
                      </c:pt>
                      <c:pt idx="4652">
                        <c:v>285.49340000000001</c:v>
                      </c:pt>
                      <c:pt idx="4653">
                        <c:v>285.49340000000001</c:v>
                      </c:pt>
                      <c:pt idx="4654">
                        <c:v>285.49340000000001</c:v>
                      </c:pt>
                      <c:pt idx="4655">
                        <c:v>285.49340000000001</c:v>
                      </c:pt>
                      <c:pt idx="4656">
                        <c:v>285.49340000000001</c:v>
                      </c:pt>
                      <c:pt idx="4657">
                        <c:v>285.49340000000001</c:v>
                      </c:pt>
                      <c:pt idx="4658">
                        <c:v>285.49340000000001</c:v>
                      </c:pt>
                      <c:pt idx="4659">
                        <c:v>285.49340000000001</c:v>
                      </c:pt>
                      <c:pt idx="4660">
                        <c:v>285.49340000000001</c:v>
                      </c:pt>
                      <c:pt idx="4661">
                        <c:v>285.49340000000001</c:v>
                      </c:pt>
                      <c:pt idx="4662">
                        <c:v>285.49340000000001</c:v>
                      </c:pt>
                      <c:pt idx="4663">
                        <c:v>285.49340000000001</c:v>
                      </c:pt>
                      <c:pt idx="4664">
                        <c:v>285.49340000000001</c:v>
                      </c:pt>
                      <c:pt idx="4665">
                        <c:v>285.49340000000001</c:v>
                      </c:pt>
                      <c:pt idx="4666">
                        <c:v>285.49340000000001</c:v>
                      </c:pt>
                      <c:pt idx="4667">
                        <c:v>285.49340000000001</c:v>
                      </c:pt>
                      <c:pt idx="4668">
                        <c:v>285.49340000000001</c:v>
                      </c:pt>
                      <c:pt idx="4669">
                        <c:v>285.49340000000001</c:v>
                      </c:pt>
                      <c:pt idx="4670">
                        <c:v>285.49340000000001</c:v>
                      </c:pt>
                      <c:pt idx="4671">
                        <c:v>285.49340000000001</c:v>
                      </c:pt>
                      <c:pt idx="4672">
                        <c:v>285.49340000000001</c:v>
                      </c:pt>
                      <c:pt idx="4673">
                        <c:v>285.49340000000001</c:v>
                      </c:pt>
                      <c:pt idx="4674">
                        <c:v>285.49340000000001</c:v>
                      </c:pt>
                      <c:pt idx="4675">
                        <c:v>285.49340000000001</c:v>
                      </c:pt>
                      <c:pt idx="4676">
                        <c:v>285.49340000000001</c:v>
                      </c:pt>
                      <c:pt idx="4677">
                        <c:v>285.49340000000001</c:v>
                      </c:pt>
                      <c:pt idx="4678">
                        <c:v>285.49340000000001</c:v>
                      </c:pt>
                      <c:pt idx="4679">
                        <c:v>285.49340000000001</c:v>
                      </c:pt>
                      <c:pt idx="4680">
                        <c:v>285.49340000000001</c:v>
                      </c:pt>
                      <c:pt idx="4681">
                        <c:v>285.49340000000001</c:v>
                      </c:pt>
                      <c:pt idx="4682">
                        <c:v>285.49340000000001</c:v>
                      </c:pt>
                      <c:pt idx="4683">
                        <c:v>285.49340000000001</c:v>
                      </c:pt>
                      <c:pt idx="4684">
                        <c:v>285.49340000000001</c:v>
                      </c:pt>
                      <c:pt idx="4685">
                        <c:v>285.49340000000001</c:v>
                      </c:pt>
                      <c:pt idx="4686">
                        <c:v>285.49340000000001</c:v>
                      </c:pt>
                      <c:pt idx="4687">
                        <c:v>285.49340000000001</c:v>
                      </c:pt>
                      <c:pt idx="4688">
                        <c:v>285.49340000000001</c:v>
                      </c:pt>
                      <c:pt idx="4689">
                        <c:v>285.49340000000001</c:v>
                      </c:pt>
                      <c:pt idx="4690">
                        <c:v>285.49340000000001</c:v>
                      </c:pt>
                      <c:pt idx="4691">
                        <c:v>285.49340000000001</c:v>
                      </c:pt>
                      <c:pt idx="4692">
                        <c:v>285.49340000000001</c:v>
                      </c:pt>
                      <c:pt idx="4693">
                        <c:v>285.49340000000001</c:v>
                      </c:pt>
                      <c:pt idx="4694">
                        <c:v>285.49340000000001</c:v>
                      </c:pt>
                      <c:pt idx="4695">
                        <c:v>285.49340000000001</c:v>
                      </c:pt>
                      <c:pt idx="4696">
                        <c:v>285.49340000000001</c:v>
                      </c:pt>
                      <c:pt idx="4697">
                        <c:v>285.49340000000001</c:v>
                      </c:pt>
                      <c:pt idx="4698">
                        <c:v>285.49340000000001</c:v>
                      </c:pt>
                      <c:pt idx="4699">
                        <c:v>285.49340000000001</c:v>
                      </c:pt>
                      <c:pt idx="4700">
                        <c:v>285.49340000000001</c:v>
                      </c:pt>
                      <c:pt idx="4701">
                        <c:v>285.49340000000001</c:v>
                      </c:pt>
                      <c:pt idx="4702">
                        <c:v>285.49340000000001</c:v>
                      </c:pt>
                      <c:pt idx="4703">
                        <c:v>285.49340000000001</c:v>
                      </c:pt>
                      <c:pt idx="4704">
                        <c:v>285.49340000000001</c:v>
                      </c:pt>
                      <c:pt idx="4705">
                        <c:v>285.49340000000001</c:v>
                      </c:pt>
                      <c:pt idx="4706">
                        <c:v>285.49340000000001</c:v>
                      </c:pt>
                      <c:pt idx="4707">
                        <c:v>285.49340000000001</c:v>
                      </c:pt>
                      <c:pt idx="4708">
                        <c:v>285.49340000000001</c:v>
                      </c:pt>
                      <c:pt idx="4709">
                        <c:v>285.49340000000001</c:v>
                      </c:pt>
                      <c:pt idx="4710">
                        <c:v>285.49340000000001</c:v>
                      </c:pt>
                      <c:pt idx="4711">
                        <c:v>285.49340000000001</c:v>
                      </c:pt>
                      <c:pt idx="4712">
                        <c:v>285.49340000000001</c:v>
                      </c:pt>
                      <c:pt idx="4713">
                        <c:v>285.49340000000001</c:v>
                      </c:pt>
                      <c:pt idx="4714">
                        <c:v>285.49340000000001</c:v>
                      </c:pt>
                      <c:pt idx="4715">
                        <c:v>285.49340000000001</c:v>
                      </c:pt>
                      <c:pt idx="4716">
                        <c:v>285.49340000000001</c:v>
                      </c:pt>
                      <c:pt idx="4717">
                        <c:v>285.49340000000001</c:v>
                      </c:pt>
                      <c:pt idx="4718">
                        <c:v>285.49340000000001</c:v>
                      </c:pt>
                      <c:pt idx="4719">
                        <c:v>285.49340000000001</c:v>
                      </c:pt>
                      <c:pt idx="4720">
                        <c:v>285.49340000000001</c:v>
                      </c:pt>
                      <c:pt idx="4721">
                        <c:v>285.49340000000001</c:v>
                      </c:pt>
                      <c:pt idx="4722">
                        <c:v>285.49340000000001</c:v>
                      </c:pt>
                      <c:pt idx="4723">
                        <c:v>285.49340000000001</c:v>
                      </c:pt>
                      <c:pt idx="4724">
                        <c:v>285.49340000000001</c:v>
                      </c:pt>
                      <c:pt idx="4725">
                        <c:v>285.49340000000001</c:v>
                      </c:pt>
                      <c:pt idx="4726">
                        <c:v>285.49340000000001</c:v>
                      </c:pt>
                      <c:pt idx="4727">
                        <c:v>285.49340000000001</c:v>
                      </c:pt>
                      <c:pt idx="4728">
                        <c:v>285.49340000000001</c:v>
                      </c:pt>
                      <c:pt idx="4729">
                        <c:v>285.49340000000001</c:v>
                      </c:pt>
                      <c:pt idx="4730">
                        <c:v>285.49340000000001</c:v>
                      </c:pt>
                      <c:pt idx="4731">
                        <c:v>285.49340000000001</c:v>
                      </c:pt>
                      <c:pt idx="4732">
                        <c:v>285.49340000000001</c:v>
                      </c:pt>
                      <c:pt idx="4733">
                        <c:v>285.49340000000001</c:v>
                      </c:pt>
                      <c:pt idx="4734">
                        <c:v>285.49340000000001</c:v>
                      </c:pt>
                      <c:pt idx="4735">
                        <c:v>285.49340000000001</c:v>
                      </c:pt>
                      <c:pt idx="4736">
                        <c:v>285.49340000000001</c:v>
                      </c:pt>
                      <c:pt idx="4737">
                        <c:v>285.49340000000001</c:v>
                      </c:pt>
                      <c:pt idx="4738">
                        <c:v>285.49340000000001</c:v>
                      </c:pt>
                      <c:pt idx="4739">
                        <c:v>285.49340000000001</c:v>
                      </c:pt>
                      <c:pt idx="4740">
                        <c:v>285.49340000000001</c:v>
                      </c:pt>
                      <c:pt idx="4741">
                        <c:v>285.49340000000001</c:v>
                      </c:pt>
                      <c:pt idx="4742">
                        <c:v>285.49340000000001</c:v>
                      </c:pt>
                      <c:pt idx="4743">
                        <c:v>285.49340000000001</c:v>
                      </c:pt>
                      <c:pt idx="4744">
                        <c:v>285.49340000000001</c:v>
                      </c:pt>
                      <c:pt idx="4745">
                        <c:v>285.49340000000001</c:v>
                      </c:pt>
                      <c:pt idx="4746">
                        <c:v>285.49340000000001</c:v>
                      </c:pt>
                      <c:pt idx="4747">
                        <c:v>285.49340000000001</c:v>
                      </c:pt>
                      <c:pt idx="4748">
                        <c:v>285.49340000000001</c:v>
                      </c:pt>
                      <c:pt idx="4749">
                        <c:v>285.49340000000001</c:v>
                      </c:pt>
                      <c:pt idx="4750">
                        <c:v>282.76324840000001</c:v>
                      </c:pt>
                      <c:pt idx="4751">
                        <c:v>282.57940910000002</c:v>
                      </c:pt>
                      <c:pt idx="4752">
                        <c:v>280.50982429999999</c:v>
                      </c:pt>
                      <c:pt idx="4753">
                        <c:v>279.96065129999999</c:v>
                      </c:pt>
                      <c:pt idx="4754">
                        <c:v>279.83881250000002</c:v>
                      </c:pt>
                      <c:pt idx="4755">
                        <c:v>279.74736489999998</c:v>
                      </c:pt>
                      <c:pt idx="4756">
                        <c:v>279.29059869999998</c:v>
                      </c:pt>
                      <c:pt idx="4757">
                        <c:v>278.9252803</c:v>
                      </c:pt>
                      <c:pt idx="4758">
                        <c:v>276.09323599999999</c:v>
                      </c:pt>
                      <c:pt idx="4759">
                        <c:v>275.88135030000001</c:v>
                      </c:pt>
                      <c:pt idx="4760">
                        <c:v>273.93195989999998</c:v>
                      </c:pt>
                      <c:pt idx="4761">
                        <c:v>273.23150090000001</c:v>
                      </c:pt>
                      <c:pt idx="4762">
                        <c:v>271.40443649999997</c:v>
                      </c:pt>
                      <c:pt idx="4763">
                        <c:v>271.34290800000002</c:v>
                      </c:pt>
                      <c:pt idx="4764">
                        <c:v>268.90634499999999</c:v>
                      </c:pt>
                      <c:pt idx="4765">
                        <c:v>267.87144599999999</c:v>
                      </c:pt>
                      <c:pt idx="4766">
                        <c:v>265.86195830000003</c:v>
                      </c:pt>
                      <c:pt idx="4767">
                        <c:v>265.34390739999998</c:v>
                      </c:pt>
                      <c:pt idx="4768">
                        <c:v>263.76077939999999</c:v>
                      </c:pt>
                      <c:pt idx="4769">
                        <c:v>263.45651729999997</c:v>
                      </c:pt>
                      <c:pt idx="4770">
                        <c:v>262.84677520000002</c:v>
                      </c:pt>
                      <c:pt idx="4771">
                        <c:v>262.02493420000002</c:v>
                      </c:pt>
                      <c:pt idx="4772">
                        <c:v>261.5679245</c:v>
                      </c:pt>
                      <c:pt idx="4773">
                        <c:v>257.7002655</c:v>
                      </c:pt>
                      <c:pt idx="4774">
                        <c:v>253.65112740000001</c:v>
                      </c:pt>
                      <c:pt idx="4775">
                        <c:v>253.132848</c:v>
                      </c:pt>
                      <c:pt idx="4776">
                        <c:v>250.30031650000001</c:v>
                      </c:pt>
                      <c:pt idx="4777">
                        <c:v>249.35686509999999</c:v>
                      </c:pt>
                      <c:pt idx="4778">
                        <c:v>249.2939207</c:v>
                      </c:pt>
                      <c:pt idx="4779">
                        <c:v>245.27613289999999</c:v>
                      </c:pt>
                      <c:pt idx="4780">
                        <c:v>243.17496919999999</c:v>
                      </c:pt>
                      <c:pt idx="4781">
                        <c:v>242.38376299999999</c:v>
                      </c:pt>
                      <c:pt idx="4782">
                        <c:v>242.3220062</c:v>
                      </c:pt>
                      <c:pt idx="4783">
                        <c:v>241.6830453</c:v>
                      </c:pt>
                      <c:pt idx="4784">
                        <c:v>241.65263880000001</c:v>
                      </c:pt>
                      <c:pt idx="4785">
                        <c:v>241.46785560000001</c:v>
                      </c:pt>
                      <c:pt idx="4786">
                        <c:v>237.81610190000001</c:v>
                      </c:pt>
                      <c:pt idx="4787">
                        <c:v>237.75457349999999</c:v>
                      </c:pt>
                      <c:pt idx="4788">
                        <c:v>237.50920579999999</c:v>
                      </c:pt>
                      <c:pt idx="4789">
                        <c:v>237.4196614</c:v>
                      </c:pt>
                      <c:pt idx="4790">
                        <c:v>236.96289530000001</c:v>
                      </c:pt>
                      <c:pt idx="4791">
                        <c:v>234.67716150000001</c:v>
                      </c:pt>
                      <c:pt idx="4792">
                        <c:v>233.94652450000001</c:v>
                      </c:pt>
                      <c:pt idx="4793">
                        <c:v>233.64367849999999</c:v>
                      </c:pt>
                      <c:pt idx="4794">
                        <c:v>232.48645339999999</c:v>
                      </c:pt>
                      <c:pt idx="4795">
                        <c:v>232.09072850000001</c:v>
                      </c:pt>
                      <c:pt idx="4796">
                        <c:v>231.5729212</c:v>
                      </c:pt>
                      <c:pt idx="4797">
                        <c:v>231.11615509999999</c:v>
                      </c:pt>
                      <c:pt idx="4798">
                        <c:v>230.53753499999999</c:v>
                      </c:pt>
                      <c:pt idx="4799">
                        <c:v>230.23301409999999</c:v>
                      </c:pt>
                      <c:pt idx="4800">
                        <c:v>228.9522753</c:v>
                      </c:pt>
                      <c:pt idx="4801">
                        <c:v>228.80001490000001</c:v>
                      </c:pt>
                      <c:pt idx="4802">
                        <c:v>227.6430182</c:v>
                      </c:pt>
                      <c:pt idx="4803">
                        <c:v>226.79171479999999</c:v>
                      </c:pt>
                      <c:pt idx="4804">
                        <c:v>224.5672659</c:v>
                      </c:pt>
                      <c:pt idx="4805">
                        <c:v>224.14114979999999</c:v>
                      </c:pt>
                      <c:pt idx="4806">
                        <c:v>221.06539739999999</c:v>
                      </c:pt>
                      <c:pt idx="4807">
                        <c:v>218.84426769999999</c:v>
                      </c:pt>
                      <c:pt idx="4808">
                        <c:v>218.81387659999999</c:v>
                      </c:pt>
                      <c:pt idx="4809">
                        <c:v>218.47896449999999</c:v>
                      </c:pt>
                      <c:pt idx="4810">
                        <c:v>215.2796984</c:v>
                      </c:pt>
                      <c:pt idx="4811">
                        <c:v>212.8146323</c:v>
                      </c:pt>
                      <c:pt idx="4812">
                        <c:v>211.04694939999999</c:v>
                      </c:pt>
                      <c:pt idx="4813">
                        <c:v>210.65288419999999</c:v>
                      </c:pt>
                      <c:pt idx="4814">
                        <c:v>210.5899397</c:v>
                      </c:pt>
                      <c:pt idx="4815">
                        <c:v>210.1027824</c:v>
                      </c:pt>
                      <c:pt idx="4816">
                        <c:v>205.86551119999999</c:v>
                      </c:pt>
                      <c:pt idx="4817">
                        <c:v>205.34628789999999</c:v>
                      </c:pt>
                      <c:pt idx="4818">
                        <c:v>200.5653251</c:v>
                      </c:pt>
                      <c:pt idx="4819">
                        <c:v>196.08863959999999</c:v>
                      </c:pt>
                      <c:pt idx="4820">
                        <c:v>191.61265460000001</c:v>
                      </c:pt>
                      <c:pt idx="4821">
                        <c:v>191.0644408</c:v>
                      </c:pt>
                      <c:pt idx="4822">
                        <c:v>189.6333449</c:v>
                      </c:pt>
                      <c:pt idx="4823">
                        <c:v>188.71981270000001</c:v>
                      </c:pt>
                      <c:pt idx="4824">
                        <c:v>187.31910790000001</c:v>
                      </c:pt>
                      <c:pt idx="4825">
                        <c:v>183.2079693</c:v>
                      </c:pt>
                      <c:pt idx="4826">
                        <c:v>182.41581909999999</c:v>
                      </c:pt>
                      <c:pt idx="4827">
                        <c:v>182.29443710000001</c:v>
                      </c:pt>
                      <c:pt idx="4828">
                        <c:v>179.7669137</c:v>
                      </c:pt>
                      <c:pt idx="4829">
                        <c:v>179.24933480000001</c:v>
                      </c:pt>
                      <c:pt idx="4830">
                        <c:v>178.91395069999999</c:v>
                      </c:pt>
                      <c:pt idx="4831">
                        <c:v>177.45267670000001</c:v>
                      </c:pt>
                      <c:pt idx="4832">
                        <c:v>176.41729050000001</c:v>
                      </c:pt>
                      <c:pt idx="4833">
                        <c:v>176.2042324</c:v>
                      </c:pt>
                      <c:pt idx="4834">
                        <c:v>176.0210936</c:v>
                      </c:pt>
                      <c:pt idx="4835">
                        <c:v>174.83393409999999</c:v>
                      </c:pt>
                      <c:pt idx="4836">
                        <c:v>172.6705264</c:v>
                      </c:pt>
                      <c:pt idx="4837">
                        <c:v>169.99217379999999</c:v>
                      </c:pt>
                      <c:pt idx="4838">
                        <c:v>167.1292511</c:v>
                      </c:pt>
                      <c:pt idx="4839">
                        <c:v>166.61190049999999</c:v>
                      </c:pt>
                      <c:pt idx="4840">
                        <c:v>162.50053349999999</c:v>
                      </c:pt>
                      <c:pt idx="4841">
                        <c:v>161.8919942</c:v>
                      </c:pt>
                      <c:pt idx="4842">
                        <c:v>160.58250870000001</c:v>
                      </c:pt>
                      <c:pt idx="4843">
                        <c:v>158.99913710000001</c:v>
                      </c:pt>
                      <c:pt idx="4844">
                        <c:v>158.45923680000001</c:v>
                      </c:pt>
                      <c:pt idx="4845">
                        <c:v>156.62338690000001</c:v>
                      </c:pt>
                      <c:pt idx="4846">
                        <c:v>155.95331909999999</c:v>
                      </c:pt>
                      <c:pt idx="4847">
                        <c:v>153.21296609999999</c:v>
                      </c:pt>
                      <c:pt idx="4848">
                        <c:v>152.90868879999999</c:v>
                      </c:pt>
                      <c:pt idx="4849">
                        <c:v>152.7953918</c:v>
                      </c:pt>
                      <c:pt idx="4850">
                        <c:v>149.40538910000001</c:v>
                      </c:pt>
                      <c:pt idx="4851">
                        <c:v>149.01085190000001</c:v>
                      </c:pt>
                      <c:pt idx="4852">
                        <c:v>147.3044538</c:v>
                      </c:pt>
                      <c:pt idx="4853">
                        <c:v>147.2141938</c:v>
                      </c:pt>
                      <c:pt idx="4854">
                        <c:v>145.1123145</c:v>
                      </c:pt>
                      <c:pt idx="4855">
                        <c:v>144.65602039999999</c:v>
                      </c:pt>
                      <c:pt idx="4856">
                        <c:v>144.62561400000001</c:v>
                      </c:pt>
                      <c:pt idx="4857">
                        <c:v>144.41161199999999</c:v>
                      </c:pt>
                      <c:pt idx="4858">
                        <c:v>144.35079909999999</c:v>
                      </c:pt>
                      <c:pt idx="4859">
                        <c:v>144.1386851</c:v>
                      </c:pt>
                      <c:pt idx="4860">
                        <c:v>144.07740029999999</c:v>
                      </c:pt>
                      <c:pt idx="4861">
                        <c:v>140.78907709999999</c:v>
                      </c:pt>
                      <c:pt idx="4862">
                        <c:v>139.81426010000001</c:v>
                      </c:pt>
                      <c:pt idx="4863">
                        <c:v>137.895748</c:v>
                      </c:pt>
                      <c:pt idx="4864">
                        <c:v>137.3772251</c:v>
                      </c:pt>
                      <c:pt idx="4865">
                        <c:v>136.5254497</c:v>
                      </c:pt>
                      <c:pt idx="4866">
                        <c:v>136.49504329999999</c:v>
                      </c:pt>
                      <c:pt idx="4867">
                        <c:v>134.72807599999999</c:v>
                      </c:pt>
                      <c:pt idx="4868">
                        <c:v>132.26206579999999</c:v>
                      </c:pt>
                      <c:pt idx="4869">
                        <c:v>129.82644680000001</c:v>
                      </c:pt>
                      <c:pt idx="4870">
                        <c:v>129.765162</c:v>
                      </c:pt>
                      <c:pt idx="4871">
                        <c:v>129.7340552</c:v>
                      </c:pt>
                      <c:pt idx="4872">
                        <c:v>123.88729979999999</c:v>
                      </c:pt>
                      <c:pt idx="4873">
                        <c:v>123.735755</c:v>
                      </c:pt>
                      <c:pt idx="4874">
                        <c:v>123.7041761</c:v>
                      </c:pt>
                      <c:pt idx="4875">
                        <c:v>120.6296114</c:v>
                      </c:pt>
                      <c:pt idx="4876">
                        <c:v>116.365512</c:v>
                      </c:pt>
                      <c:pt idx="4877">
                        <c:v>116.1838044</c:v>
                      </c:pt>
                      <c:pt idx="4878">
                        <c:v>114.4168371</c:v>
                      </c:pt>
                      <c:pt idx="4879">
                        <c:v>114.35673989999999</c:v>
                      </c:pt>
                      <c:pt idx="4880">
                        <c:v>113.198312</c:v>
                      </c:pt>
                      <c:pt idx="4881">
                        <c:v>112.6505703</c:v>
                      </c:pt>
                      <c:pt idx="4882">
                        <c:v>112.3156582</c:v>
                      </c:pt>
                      <c:pt idx="4883">
                        <c:v>108.1140312</c:v>
                      </c:pt>
                      <c:pt idx="4884">
                        <c:v>107.9617708</c:v>
                      </c:pt>
                      <c:pt idx="4885">
                        <c:v>107.9007295</c:v>
                      </c:pt>
                      <c:pt idx="4886">
                        <c:v>107.26059619999999</c:v>
                      </c:pt>
                      <c:pt idx="4887">
                        <c:v>106.7130981</c:v>
                      </c:pt>
                      <c:pt idx="4888">
                        <c:v>106.6515696</c:v>
                      </c:pt>
                      <c:pt idx="4889">
                        <c:v>106.46701469999999</c:v>
                      </c:pt>
                      <c:pt idx="4890">
                        <c:v>104.4596739</c:v>
                      </c:pt>
                      <c:pt idx="4891">
                        <c:v>101.6575488</c:v>
                      </c:pt>
                      <c:pt idx="4892">
                        <c:v>101.5052884</c:v>
                      </c:pt>
                      <c:pt idx="4893">
                        <c:v>101.4444908</c:v>
                      </c:pt>
                      <c:pt idx="4894">
                        <c:v>100.1967621</c:v>
                      </c:pt>
                      <c:pt idx="4895">
                        <c:v>99.892241209999995</c:v>
                      </c:pt>
                      <c:pt idx="4896">
                        <c:v>97.089887719999993</c:v>
                      </c:pt>
                      <c:pt idx="4897">
                        <c:v>96.298209529999994</c:v>
                      </c:pt>
                      <c:pt idx="4898">
                        <c:v>96.267803119999996</c:v>
                      </c:pt>
                      <c:pt idx="4899">
                        <c:v>95.780158589999999</c:v>
                      </c:pt>
                      <c:pt idx="4900">
                        <c:v>95.019130430000004</c:v>
                      </c:pt>
                      <c:pt idx="4901">
                        <c:v>94.197045829999993</c:v>
                      </c:pt>
                      <c:pt idx="4902">
                        <c:v>93.435758829999997</c:v>
                      </c:pt>
                      <c:pt idx="4903">
                        <c:v>91.425799150000003</c:v>
                      </c:pt>
                      <c:pt idx="4904">
                        <c:v>89.842442770000005</c:v>
                      </c:pt>
                      <c:pt idx="4905">
                        <c:v>88.13698875</c:v>
                      </c:pt>
                      <c:pt idx="4906">
                        <c:v>86.401143540000007</c:v>
                      </c:pt>
                      <c:pt idx="4907">
                        <c:v>86.279517900000002</c:v>
                      </c:pt>
                      <c:pt idx="4908">
                        <c:v>85.274781669999996</c:v>
                      </c:pt>
                      <c:pt idx="4909">
                        <c:v>84.056500170000007</c:v>
                      </c:pt>
                      <c:pt idx="4910">
                        <c:v>80.980991430000003</c:v>
                      </c:pt>
                      <c:pt idx="4911">
                        <c:v>80.706892179999997</c:v>
                      </c:pt>
                      <c:pt idx="4912">
                        <c:v>79.549880279999996</c:v>
                      </c:pt>
                      <c:pt idx="4913">
                        <c:v>78.423061630000007</c:v>
                      </c:pt>
                      <c:pt idx="4914">
                        <c:v>77.479123000000001</c:v>
                      </c:pt>
                      <c:pt idx="4915">
                        <c:v>77.083154480000005</c:v>
                      </c:pt>
                      <c:pt idx="4916">
                        <c:v>75.408350479999996</c:v>
                      </c:pt>
                      <c:pt idx="4917">
                        <c:v>70.049011199999995</c:v>
                      </c:pt>
                      <c:pt idx="4918">
                        <c:v>69.805303129999999</c:v>
                      </c:pt>
                      <c:pt idx="4919">
                        <c:v>69.500797460000001</c:v>
                      </c:pt>
                      <c:pt idx="4920">
                        <c:v>69.409349840000004</c:v>
                      </c:pt>
                      <c:pt idx="4921">
                        <c:v>67.764708639999995</c:v>
                      </c:pt>
                      <c:pt idx="4922">
                        <c:v>67.155925699999997</c:v>
                      </c:pt>
                      <c:pt idx="4923">
                        <c:v>64.291815369999995</c:v>
                      </c:pt>
                      <c:pt idx="4924">
                        <c:v>61.429121049999999</c:v>
                      </c:pt>
                      <c:pt idx="4925">
                        <c:v>58.598980019999999</c:v>
                      </c:pt>
                      <c:pt idx="4926">
                        <c:v>58.538182429999999</c:v>
                      </c:pt>
                      <c:pt idx="4927">
                        <c:v>57.137477689999997</c:v>
                      </c:pt>
                      <c:pt idx="4928">
                        <c:v>55.887130130000003</c:v>
                      </c:pt>
                      <c:pt idx="4929">
                        <c:v>52.539166549999997</c:v>
                      </c:pt>
                      <c:pt idx="4930">
                        <c:v>52.204026089999999</c:v>
                      </c:pt>
                      <c:pt idx="4931">
                        <c:v>50.681710930000001</c:v>
                      </c:pt>
                      <c:pt idx="4932">
                        <c:v>49.950830340000003</c:v>
                      </c:pt>
                      <c:pt idx="4933">
                        <c:v>47.969617419999999</c:v>
                      </c:pt>
                      <c:pt idx="4934">
                        <c:v>47.423306949999997</c:v>
                      </c:pt>
                      <c:pt idx="4935">
                        <c:v>46.447058650000002</c:v>
                      </c:pt>
                      <c:pt idx="4936">
                        <c:v>46.142552979999998</c:v>
                      </c:pt>
                      <c:pt idx="4937">
                        <c:v>46.11214657</c:v>
                      </c:pt>
                      <c:pt idx="4938">
                        <c:v>44.406936160000001</c:v>
                      </c:pt>
                      <c:pt idx="4939">
                        <c:v>43.584135940000003</c:v>
                      </c:pt>
                      <c:pt idx="4940">
                        <c:v>42.427382889999997</c:v>
                      </c:pt>
                      <c:pt idx="4941">
                        <c:v>42.366098059999999</c:v>
                      </c:pt>
                      <c:pt idx="4942">
                        <c:v>41.544485469999998</c:v>
                      </c:pt>
                      <c:pt idx="4943">
                        <c:v>37.402955669999997</c:v>
                      </c:pt>
                      <c:pt idx="4944">
                        <c:v>34.570911389999999</c:v>
                      </c:pt>
                      <c:pt idx="4945">
                        <c:v>34.083738869999998</c:v>
                      </c:pt>
                      <c:pt idx="4946">
                        <c:v>31.831730749999998</c:v>
                      </c:pt>
                      <c:pt idx="4947">
                        <c:v>31.525793839999999</c:v>
                      </c:pt>
                      <c:pt idx="4948">
                        <c:v>28.754805990000001</c:v>
                      </c:pt>
                      <c:pt idx="4949">
                        <c:v>28.724155960000001</c:v>
                      </c:pt>
                      <c:pt idx="4950">
                        <c:v>28.358837470000001</c:v>
                      </c:pt>
                      <c:pt idx="4951">
                        <c:v>27.018945550000002</c:v>
                      </c:pt>
                      <c:pt idx="4952">
                        <c:v>24.095210030000001</c:v>
                      </c:pt>
                      <c:pt idx="4953">
                        <c:v>24.004249640000001</c:v>
                      </c:pt>
                      <c:pt idx="4954">
                        <c:v>22.419690410000001</c:v>
                      </c:pt>
                      <c:pt idx="4955">
                        <c:v>22.146778789999999</c:v>
                      </c:pt>
                      <c:pt idx="4956">
                        <c:v>22.116372380000001</c:v>
                      </c:pt>
                      <c:pt idx="4957">
                        <c:v>20.350120759999999</c:v>
                      </c:pt>
                      <c:pt idx="4958">
                        <c:v>20.319242339999999</c:v>
                      </c:pt>
                      <c:pt idx="4959">
                        <c:v>16.390998979999999</c:v>
                      </c:pt>
                      <c:pt idx="4960">
                        <c:v>13.65064593</c:v>
                      </c:pt>
                      <c:pt idx="4961">
                        <c:v>13.071782170000001</c:v>
                      </c:pt>
                      <c:pt idx="4962">
                        <c:v>12.462999229999999</c:v>
                      </c:pt>
                      <c:pt idx="4963">
                        <c:v>9.1426100199999993</c:v>
                      </c:pt>
                      <c:pt idx="4964">
                        <c:v>7.7723116890000004</c:v>
                      </c:pt>
                      <c:pt idx="4965">
                        <c:v>6.7074630400000004</c:v>
                      </c:pt>
                      <c:pt idx="4966">
                        <c:v>2.0792327300000002</c:v>
                      </c:pt>
                      <c:pt idx="4967">
                        <c:v>1.7440922649999999</c:v>
                      </c:pt>
                      <c:pt idx="4968">
                        <c:v>1.713685854</c:v>
                      </c:pt>
                      <c:pt idx="4969">
                        <c:v>6.9273043000000006E-2</c:v>
                      </c:pt>
                      <c:pt idx="4970">
                        <c:v>-0.17419140899999999</c:v>
                      </c:pt>
                      <c:pt idx="4971">
                        <c:v>-1.3630105159999999</c:v>
                      </c:pt>
                      <c:pt idx="4972">
                        <c:v>-2.278918</c:v>
                      </c:pt>
                      <c:pt idx="4973">
                        <c:v>-2.2687451850000002</c:v>
                      </c:pt>
                      <c:pt idx="4974">
                        <c:v>-2.263474805</c:v>
                      </c:pt>
                      <c:pt idx="4975">
                        <c:v>-2.2003349999999999</c:v>
                      </c:pt>
                      <c:pt idx="4976">
                        <c:v>-2.183110385</c:v>
                      </c:pt>
                      <c:pt idx="4977">
                        <c:v>-2.1217510000000002</c:v>
                      </c:pt>
                      <c:pt idx="4978">
                        <c:v>-2.12100643</c:v>
                      </c:pt>
                      <c:pt idx="4979">
                        <c:v>-2.1174896639999998</c:v>
                      </c:pt>
                      <c:pt idx="4980">
                        <c:v>-2.116965456</c:v>
                      </c:pt>
                      <c:pt idx="4981">
                        <c:v>-2.1141593969999999</c:v>
                      </c:pt>
                      <c:pt idx="4982">
                        <c:v>-2.1140840910000001</c:v>
                      </c:pt>
                      <c:pt idx="4983">
                        <c:v>-2.113635489</c:v>
                      </c:pt>
                      <c:pt idx="4984">
                        <c:v>-2.1135607620000001</c:v>
                      </c:pt>
                      <c:pt idx="4985">
                        <c:v>-2.1111279980000002</c:v>
                      </c:pt>
                      <c:pt idx="4986">
                        <c:v>-2.1082472129999998</c:v>
                      </c:pt>
                      <c:pt idx="4987">
                        <c:v>-2.1069002280000002</c:v>
                      </c:pt>
                      <c:pt idx="4988">
                        <c:v>-2.1046551409999998</c:v>
                      </c:pt>
                      <c:pt idx="4989">
                        <c:v>-2.102484182</c:v>
                      </c:pt>
                      <c:pt idx="4990">
                        <c:v>-2.1023341680000001</c:v>
                      </c:pt>
                      <c:pt idx="4991">
                        <c:v>-2.0990791880000002</c:v>
                      </c:pt>
                      <c:pt idx="4992">
                        <c:v>-2.0906974759999999</c:v>
                      </c:pt>
                      <c:pt idx="4993">
                        <c:v>-2.0895005050000002</c:v>
                      </c:pt>
                      <c:pt idx="4994">
                        <c:v>-2.085682233</c:v>
                      </c:pt>
                      <c:pt idx="4995">
                        <c:v>-2.0856083860000001</c:v>
                      </c:pt>
                      <c:pt idx="4996">
                        <c:v>-2.085571603</c:v>
                      </c:pt>
                      <c:pt idx="4997">
                        <c:v>-2.0834371460000001</c:v>
                      </c:pt>
                      <c:pt idx="4998">
                        <c:v>-2.0829882450000001</c:v>
                      </c:pt>
                      <c:pt idx="4999">
                        <c:v>-2.08044457</c:v>
                      </c:pt>
                      <c:pt idx="5000">
                        <c:v>-2.0781994830000001</c:v>
                      </c:pt>
                      <c:pt idx="5001">
                        <c:v>-2.0778632520000002</c:v>
                      </c:pt>
                      <c:pt idx="5002">
                        <c:v>-2.0778244290000001</c:v>
                      </c:pt>
                      <c:pt idx="5003">
                        <c:v>-2.0762162009999998</c:v>
                      </c:pt>
                      <c:pt idx="5004">
                        <c:v>-2.0748318530000001</c:v>
                      </c:pt>
                      <c:pt idx="5005">
                        <c:v>-2.0726991360000002</c:v>
                      </c:pt>
                      <c:pt idx="5006">
                        <c:v>-2.067833609</c:v>
                      </c:pt>
                      <c:pt idx="5007">
                        <c:v>-2.067497677</c:v>
                      </c:pt>
                      <c:pt idx="5008">
                        <c:v>-2.0673450240000002</c:v>
                      </c:pt>
                      <c:pt idx="5009">
                        <c:v>-2.062520658</c:v>
                      </c:pt>
                      <c:pt idx="5010">
                        <c:v>-2.0622961979999999</c:v>
                      </c:pt>
                      <c:pt idx="5011">
                        <c:v>-2.0611363100000002</c:v>
                      </c:pt>
                      <c:pt idx="5012">
                        <c:v>-2.0595636869999998</c:v>
                      </c:pt>
                      <c:pt idx="5013">
                        <c:v>-2.0572815360000001</c:v>
                      </c:pt>
                      <c:pt idx="5014">
                        <c:v>-2.055111175</c:v>
                      </c:pt>
                      <c:pt idx="5015">
                        <c:v>-2.053502741</c:v>
                      </c:pt>
                      <c:pt idx="5016">
                        <c:v>-2.0534644609999999</c:v>
                      </c:pt>
                      <c:pt idx="5017">
                        <c:v>-2.0511826100000001</c:v>
                      </c:pt>
                      <c:pt idx="5018">
                        <c:v>-2.0501337830000002</c:v>
                      </c:pt>
                      <c:pt idx="5019">
                        <c:v>-2.047552558</c:v>
                      </c:pt>
                      <c:pt idx="5020">
                        <c:v>-2.0431680000000001</c:v>
                      </c:pt>
                      <c:pt idx="5021">
                        <c:v>-2.0429281239999999</c:v>
                      </c:pt>
                      <c:pt idx="5022">
                        <c:v>-2.022569469</c:v>
                      </c:pt>
                      <c:pt idx="5023">
                        <c:v>-2.022319988</c:v>
                      </c:pt>
                      <c:pt idx="5024">
                        <c:v>-2.019973893</c:v>
                      </c:pt>
                      <c:pt idx="5025">
                        <c:v>-2.0157328140000002</c:v>
                      </c:pt>
                      <c:pt idx="5026">
                        <c:v>-2.011991471</c:v>
                      </c:pt>
                      <c:pt idx="5027">
                        <c:v>-2.0084988359999998</c:v>
                      </c:pt>
                      <c:pt idx="5028">
                        <c:v>-2.0083984199999998</c:v>
                      </c:pt>
                      <c:pt idx="5029">
                        <c:v>-2.007750417</c:v>
                      </c:pt>
                      <c:pt idx="5030">
                        <c:v>-1.9947268309999999</c:v>
                      </c:pt>
                      <c:pt idx="5031">
                        <c:v>-1.994227894</c:v>
                      </c:pt>
                      <c:pt idx="5032">
                        <c:v>-1.9940780549999999</c:v>
                      </c:pt>
                      <c:pt idx="5033">
                        <c:v>-1.9929307169999999</c:v>
                      </c:pt>
                      <c:pt idx="5034">
                        <c:v>-1.982502682</c:v>
                      </c:pt>
                      <c:pt idx="5035">
                        <c:v>-1.980506509</c:v>
                      </c:pt>
                      <c:pt idx="5036">
                        <c:v>-1.9762654799999999</c:v>
                      </c:pt>
                      <c:pt idx="5037">
                        <c:v>-1.975418192</c:v>
                      </c:pt>
                      <c:pt idx="5038">
                        <c:v>-1.974269681</c:v>
                      </c:pt>
                      <c:pt idx="5039">
                        <c:v>-1.96768338</c:v>
                      </c:pt>
                      <c:pt idx="5040">
                        <c:v>-1.9671353949999999</c:v>
                      </c:pt>
                      <c:pt idx="5041">
                        <c:v>-1.964585</c:v>
                      </c:pt>
                      <c:pt idx="5042">
                        <c:v>-1.964556494</c:v>
                      </c:pt>
                      <c:pt idx="5043">
                        <c:v>-1.9644916720000001</c:v>
                      </c:pt>
                      <c:pt idx="5044">
                        <c:v>-1.9633275889999999</c:v>
                      </c:pt>
                      <c:pt idx="5045">
                        <c:v>-1.962907094</c:v>
                      </c:pt>
                      <c:pt idx="5046">
                        <c:v>-1.9628425309999999</c:v>
                      </c:pt>
                      <c:pt idx="5047">
                        <c:v>-1.9607068110000001</c:v>
                      </c:pt>
                      <c:pt idx="5048">
                        <c:v>-1.959835067</c:v>
                      </c:pt>
                      <c:pt idx="5049">
                        <c:v>-1.9595757620000001</c:v>
                      </c:pt>
                      <c:pt idx="5050">
                        <c:v>-1.9588967230000001</c:v>
                      </c:pt>
                      <c:pt idx="5051">
                        <c:v>-1.956601349</c:v>
                      </c:pt>
                      <c:pt idx="5052">
                        <c:v>-1.951168075</c:v>
                      </c:pt>
                      <c:pt idx="5053">
                        <c:v>-1.9486126370000001</c:v>
                      </c:pt>
                      <c:pt idx="5054">
                        <c:v>-1.945508821</c:v>
                      </c:pt>
                      <c:pt idx="5055">
                        <c:v>-1.9412086180000001</c:v>
                      </c:pt>
                      <c:pt idx="5056">
                        <c:v>-1.940949313</c:v>
                      </c:pt>
                      <c:pt idx="5057">
                        <c:v>-1.9400437749999999</c:v>
                      </c:pt>
                      <c:pt idx="5058">
                        <c:v>-1.936357272</c:v>
                      </c:pt>
                      <c:pt idx="5059">
                        <c:v>-1.929598742</c:v>
                      </c:pt>
                      <c:pt idx="5060">
                        <c:v>-1.9218693339999999</c:v>
                      </c:pt>
                      <c:pt idx="5061">
                        <c:v>-1.9200915519999999</c:v>
                      </c:pt>
                      <c:pt idx="5062">
                        <c:v>-1.918054205</c:v>
                      </c:pt>
                      <c:pt idx="5063">
                        <c:v>-1.917891754</c:v>
                      </c:pt>
                      <c:pt idx="5064">
                        <c:v>-1.91727731</c:v>
                      </c:pt>
                      <c:pt idx="5065">
                        <c:v>-1.916953425</c:v>
                      </c:pt>
                      <c:pt idx="5066">
                        <c:v>-1.915919747</c:v>
                      </c:pt>
                      <c:pt idx="5067">
                        <c:v>-1.915725766</c:v>
                      </c:pt>
                      <c:pt idx="5068">
                        <c:v>-1.9123626460000001</c:v>
                      </c:pt>
                      <c:pt idx="5069">
                        <c:v>-1.9122332440000001</c:v>
                      </c:pt>
                      <c:pt idx="5070">
                        <c:v>-1.912136391</c:v>
                      </c:pt>
                      <c:pt idx="5071">
                        <c:v>-1.910066754</c:v>
                      </c:pt>
                      <c:pt idx="5072">
                        <c:v>-1.9099696429999999</c:v>
                      </c:pt>
                      <c:pt idx="5073">
                        <c:v>-1.9099373529999999</c:v>
                      </c:pt>
                      <c:pt idx="5074">
                        <c:v>-1.907867717</c:v>
                      </c:pt>
                      <c:pt idx="5075">
                        <c:v>-1.9070267590000001</c:v>
                      </c:pt>
                      <c:pt idx="5076">
                        <c:v>-1.9051190570000001</c:v>
                      </c:pt>
                      <c:pt idx="5077">
                        <c:v>-1.9048917830000001</c:v>
                      </c:pt>
                      <c:pt idx="5078">
                        <c:v>-1.901625532</c:v>
                      </c:pt>
                      <c:pt idx="5079">
                        <c:v>-1.9008503990000001</c:v>
                      </c:pt>
                      <c:pt idx="5080">
                        <c:v>-1.900461191</c:v>
                      </c:pt>
                      <c:pt idx="5081">
                        <c:v>-1.897259746</c:v>
                      </c:pt>
                      <c:pt idx="5082">
                        <c:v>-1.8972277150000001</c:v>
                      </c:pt>
                      <c:pt idx="5083">
                        <c:v>-1.896451321</c:v>
                      </c:pt>
                      <c:pt idx="5084">
                        <c:v>-1.8943821860000001</c:v>
                      </c:pt>
                      <c:pt idx="5085">
                        <c:v>-1.8942205110000001</c:v>
                      </c:pt>
                      <c:pt idx="5086">
                        <c:v>-1.8941536670000001</c:v>
                      </c:pt>
                      <c:pt idx="5087">
                        <c:v>-1.892668223</c:v>
                      </c:pt>
                      <c:pt idx="5088">
                        <c:v>-1.887397902</c:v>
                      </c:pt>
                      <c:pt idx="5089">
                        <c:v>-1.886001</c:v>
                      </c:pt>
                      <c:pt idx="5090">
                        <c:v>-1.8844433730000001</c:v>
                      </c:pt>
                      <c:pt idx="5091">
                        <c:v>-1.87230743</c:v>
                      </c:pt>
                      <c:pt idx="5092">
                        <c:v>-1.8710801619999999</c:v>
                      </c:pt>
                      <c:pt idx="5093">
                        <c:v>-1.870911948</c:v>
                      </c:pt>
                      <c:pt idx="5094">
                        <c:v>-1.867854627</c:v>
                      </c:pt>
                      <c:pt idx="5095">
                        <c:v>-1.8614804819999999</c:v>
                      </c:pt>
                      <c:pt idx="5096">
                        <c:v>-1.861387884</c:v>
                      </c:pt>
                      <c:pt idx="5097">
                        <c:v>-1.856672828</c:v>
                      </c:pt>
                      <c:pt idx="5098">
                        <c:v>-1.8452349750000001</c:v>
                      </c:pt>
                      <c:pt idx="5099">
                        <c:v>-1.821310432</c:v>
                      </c:pt>
                      <c:pt idx="5100">
                        <c:v>-1.8158142049999999</c:v>
                      </c:pt>
                      <c:pt idx="5101">
                        <c:v>-1.8142430000000001</c:v>
                      </c:pt>
                      <c:pt idx="5102">
                        <c:v>-1.807418</c:v>
                      </c:pt>
                      <c:pt idx="5103">
                        <c:v>-1.1329350540000001</c:v>
                      </c:pt>
                      <c:pt idx="5104">
                        <c:v>-0.268634382</c:v>
                      </c:pt>
                      <c:pt idx="5105">
                        <c:v>4.5073535040000001</c:v>
                      </c:pt>
                      <c:pt idx="5106">
                        <c:v>9.1016658540000002</c:v>
                      </c:pt>
                      <c:pt idx="5107">
                        <c:v>9.2836825449999996</c:v>
                      </c:pt>
                      <c:pt idx="5108">
                        <c:v>10.706451270000001</c:v>
                      </c:pt>
                      <c:pt idx="5109">
                        <c:v>13.698479989999999</c:v>
                      </c:pt>
                      <c:pt idx="5110">
                        <c:v>16.382197040000001</c:v>
                      </c:pt>
                      <c:pt idx="5111">
                        <c:v>16.837068200000001</c:v>
                      </c:pt>
                      <c:pt idx="5112">
                        <c:v>21.974587669999998</c:v>
                      </c:pt>
                      <c:pt idx="5113">
                        <c:v>22.065061539999999</c:v>
                      </c:pt>
                      <c:pt idx="5114">
                        <c:v>25.115291020000001</c:v>
                      </c:pt>
                      <c:pt idx="5115">
                        <c:v>29.388532569999999</c:v>
                      </c:pt>
                      <c:pt idx="5116">
                        <c:v>31.43572567</c:v>
                      </c:pt>
                      <c:pt idx="5117">
                        <c:v>34.80422849</c:v>
                      </c:pt>
                      <c:pt idx="5118">
                        <c:v>37.394628730000001</c:v>
                      </c:pt>
                      <c:pt idx="5119">
                        <c:v>37.66959834</c:v>
                      </c:pt>
                      <c:pt idx="5120">
                        <c:v>40.03506479</c:v>
                      </c:pt>
                      <c:pt idx="5121">
                        <c:v>44.899752550000002</c:v>
                      </c:pt>
                      <c:pt idx="5122">
                        <c:v>46.082303830000001</c:v>
                      </c:pt>
                      <c:pt idx="5123">
                        <c:v>46.90332351</c:v>
                      </c:pt>
                      <c:pt idx="5124">
                        <c:v>49.542690620000002</c:v>
                      </c:pt>
                      <c:pt idx="5125">
                        <c:v>53.863807360000003</c:v>
                      </c:pt>
                      <c:pt idx="5126">
                        <c:v>56.546478200000003</c:v>
                      </c:pt>
                      <c:pt idx="5127">
                        <c:v>57.226624289999997</c:v>
                      </c:pt>
                      <c:pt idx="5128">
                        <c:v>58.002225090000003</c:v>
                      </c:pt>
                      <c:pt idx="5129">
                        <c:v>58.138822900000001</c:v>
                      </c:pt>
                      <c:pt idx="5130">
                        <c:v>60.094495930000001</c:v>
                      </c:pt>
                      <c:pt idx="5131">
                        <c:v>61.186937229999998</c:v>
                      </c:pt>
                      <c:pt idx="5132">
                        <c:v>61.502344880000003</c:v>
                      </c:pt>
                      <c:pt idx="5133">
                        <c:v>62.594081129999999</c:v>
                      </c:pt>
                      <c:pt idx="5134">
                        <c:v>65.189098310000006</c:v>
                      </c:pt>
                      <c:pt idx="5135">
                        <c:v>65.914663279999999</c:v>
                      </c:pt>
                      <c:pt idx="5136">
                        <c:v>65.962197320000001</c:v>
                      </c:pt>
                      <c:pt idx="5137">
                        <c:v>67.645379779999999</c:v>
                      </c:pt>
                      <c:pt idx="5138">
                        <c:v>70.467468640000007</c:v>
                      </c:pt>
                      <c:pt idx="5139">
                        <c:v>73.196604570000005</c:v>
                      </c:pt>
                      <c:pt idx="5140">
                        <c:v>73.831354520000005</c:v>
                      </c:pt>
                      <c:pt idx="5141">
                        <c:v>74.14996902</c:v>
                      </c:pt>
                      <c:pt idx="5142">
                        <c:v>81.701216770000002</c:v>
                      </c:pt>
                      <c:pt idx="5143">
                        <c:v>83.156258609999995</c:v>
                      </c:pt>
                      <c:pt idx="5144">
                        <c:v>83.611107020000006</c:v>
                      </c:pt>
                      <c:pt idx="5145">
                        <c:v>85.658322859999998</c:v>
                      </c:pt>
                      <c:pt idx="5146">
                        <c:v>85.749842939999994</c:v>
                      </c:pt>
                      <c:pt idx="5147">
                        <c:v>91.661917020000004</c:v>
                      </c:pt>
                      <c:pt idx="5148">
                        <c:v>94.119267440000002</c:v>
                      </c:pt>
                      <c:pt idx="5149">
                        <c:v>97.030056169999995</c:v>
                      </c:pt>
                      <c:pt idx="5150">
                        <c:v>99.258219760000003</c:v>
                      </c:pt>
                      <c:pt idx="5151">
                        <c:v>103.6705382</c:v>
                      </c:pt>
                      <c:pt idx="5152">
                        <c:v>104.6263817</c:v>
                      </c:pt>
                      <c:pt idx="5153">
                        <c:v>106.40074300000001</c:v>
                      </c:pt>
                      <c:pt idx="5154">
                        <c:v>108.85668339999999</c:v>
                      </c:pt>
                      <c:pt idx="5155">
                        <c:v>110.2205235</c:v>
                      </c:pt>
                      <c:pt idx="5156">
                        <c:v>110.5398431</c:v>
                      </c:pt>
                      <c:pt idx="5157">
                        <c:v>116.2266195</c:v>
                      </c:pt>
                      <c:pt idx="5158">
                        <c:v>118.1350996</c:v>
                      </c:pt>
                      <c:pt idx="5159">
                        <c:v>122.729412</c:v>
                      </c:pt>
                      <c:pt idx="5160">
                        <c:v>128.73443900000001</c:v>
                      </c:pt>
                      <c:pt idx="5161">
                        <c:v>130.5545831</c:v>
                      </c:pt>
                      <c:pt idx="5162">
                        <c:v>131.96313710000001</c:v>
                      </c:pt>
                      <c:pt idx="5163">
                        <c:v>133.3277051</c:v>
                      </c:pt>
                      <c:pt idx="5164">
                        <c:v>136.37509159999999</c:v>
                      </c:pt>
                      <c:pt idx="5165">
                        <c:v>137.42140900000001</c:v>
                      </c:pt>
                      <c:pt idx="5166">
                        <c:v>140.05970719999999</c:v>
                      </c:pt>
                      <c:pt idx="5167">
                        <c:v>140.56104339999999</c:v>
                      </c:pt>
                      <c:pt idx="5168">
                        <c:v>141.6517107</c:v>
                      </c:pt>
                      <c:pt idx="5169">
                        <c:v>141.69819849999999</c:v>
                      </c:pt>
                      <c:pt idx="5170">
                        <c:v>141.74325350000001</c:v>
                      </c:pt>
                      <c:pt idx="5171">
                        <c:v>141.7879446</c:v>
                      </c:pt>
                      <c:pt idx="5172">
                        <c:v>141.8791463</c:v>
                      </c:pt>
                      <c:pt idx="5173">
                        <c:v>142.15729999999999</c:v>
                      </c:pt>
                      <c:pt idx="5174">
                        <c:v>142.19651519999999</c:v>
                      </c:pt>
                      <c:pt idx="5175">
                        <c:v>142.5196808</c:v>
                      </c:pt>
                      <c:pt idx="5176">
                        <c:v>142.53976030000001</c:v>
                      </c:pt>
                      <c:pt idx="5177">
                        <c:v>142.8426091</c:v>
                      </c:pt>
                      <c:pt idx="5178">
                        <c:v>144.03384410000001</c:v>
                      </c:pt>
                      <c:pt idx="5179">
                        <c:v>144.61930570000001</c:v>
                      </c:pt>
                      <c:pt idx="5180">
                        <c:v>145.3461873</c:v>
                      </c:pt>
                      <c:pt idx="5181">
                        <c:v>146.17402179999999</c:v>
                      </c:pt>
                      <c:pt idx="5182">
                        <c:v>146.68885169999999</c:v>
                      </c:pt>
                      <c:pt idx="5183">
                        <c:v>146.91106429999999</c:v>
                      </c:pt>
                      <c:pt idx="5184">
                        <c:v>147.41581400000001</c:v>
                      </c:pt>
                      <c:pt idx="5185">
                        <c:v>147.63779450000001</c:v>
                      </c:pt>
                      <c:pt idx="5186">
                        <c:v>148.41530900000001</c:v>
                      </c:pt>
                      <c:pt idx="5187">
                        <c:v>149.04100539999999</c:v>
                      </c:pt>
                      <c:pt idx="5188">
                        <c:v>150.02042080000001</c:v>
                      </c:pt>
                      <c:pt idx="5189">
                        <c:v>150.28311059999999</c:v>
                      </c:pt>
                      <c:pt idx="5190">
                        <c:v>150.31342670000001</c:v>
                      </c:pt>
                      <c:pt idx="5191">
                        <c:v>151.31237150000001</c:v>
                      </c:pt>
                      <c:pt idx="5192">
                        <c:v>151.46387669999999</c:v>
                      </c:pt>
                      <c:pt idx="5193">
                        <c:v>151.51434810000001</c:v>
                      </c:pt>
                      <c:pt idx="5194">
                        <c:v>152.0396519</c:v>
                      </c:pt>
                      <c:pt idx="5195">
                        <c:v>152.7763764</c:v>
                      </c:pt>
                      <c:pt idx="5196">
                        <c:v>153.4933393</c:v>
                      </c:pt>
                      <c:pt idx="5197">
                        <c:v>153.80587460000001</c:v>
                      </c:pt>
                      <c:pt idx="5198">
                        <c:v>154.13903959999999</c:v>
                      </c:pt>
                      <c:pt idx="5199">
                        <c:v>156.02700139999999</c:v>
                      </c:pt>
                      <c:pt idx="5200">
                        <c:v>156.13811029999999</c:v>
                      </c:pt>
                      <c:pt idx="5201">
                        <c:v>156.32000729999999</c:v>
                      </c:pt>
                      <c:pt idx="5202">
                        <c:v>156.3296938</c:v>
                      </c:pt>
                      <c:pt idx="5203">
                        <c:v>156.34000610000001</c:v>
                      </c:pt>
                      <c:pt idx="5204">
                        <c:v>156.35001059999999</c:v>
                      </c:pt>
                      <c:pt idx="5205">
                        <c:v>156.3604794</c:v>
                      </c:pt>
                      <c:pt idx="5206">
                        <c:v>156.37048379999999</c:v>
                      </c:pt>
                      <c:pt idx="5207">
                        <c:v>156.38032670000001</c:v>
                      </c:pt>
                      <c:pt idx="5208">
                        <c:v>156.4007192</c:v>
                      </c:pt>
                      <c:pt idx="5209">
                        <c:v>156.4106429</c:v>
                      </c:pt>
                      <c:pt idx="5210">
                        <c:v>156.43111619999999</c:v>
                      </c:pt>
                      <c:pt idx="5211">
                        <c:v>156.44095909999999</c:v>
                      </c:pt>
                      <c:pt idx="5212">
                        <c:v>156.45095850000001</c:v>
                      </c:pt>
                      <c:pt idx="5213">
                        <c:v>156.46143230000001</c:v>
                      </c:pt>
                      <c:pt idx="5214">
                        <c:v>156.4812747</c:v>
                      </c:pt>
                      <c:pt idx="5215">
                        <c:v>156.50143499999999</c:v>
                      </c:pt>
                      <c:pt idx="5216">
                        <c:v>156.5119038</c:v>
                      </c:pt>
                      <c:pt idx="5217">
                        <c:v>156.5522244</c:v>
                      </c:pt>
                      <c:pt idx="5218">
                        <c:v>156.57198589999999</c:v>
                      </c:pt>
                      <c:pt idx="5219">
                        <c:v>156.58254059999999</c:v>
                      </c:pt>
                      <c:pt idx="5220">
                        <c:v>156.59238350000001</c:v>
                      </c:pt>
                      <c:pt idx="5221">
                        <c:v>156.6633282</c:v>
                      </c:pt>
                      <c:pt idx="5222">
                        <c:v>156.67333260000001</c:v>
                      </c:pt>
                      <c:pt idx="5223">
                        <c:v>156.6831755</c:v>
                      </c:pt>
                      <c:pt idx="5224">
                        <c:v>156.69348790000001</c:v>
                      </c:pt>
                      <c:pt idx="5225">
                        <c:v>156.6953</c:v>
                      </c:pt>
                      <c:pt idx="5226">
                        <c:v>157.84346790000001</c:v>
                      </c:pt>
                      <c:pt idx="5227">
                        <c:v>159.1971121</c:v>
                      </c:pt>
                      <c:pt idx="5228">
                        <c:v>160.56116879999999</c:v>
                      </c:pt>
                      <c:pt idx="5229">
                        <c:v>162.0126918</c:v>
                      </c:pt>
                      <c:pt idx="5230">
                        <c:v>163.36633599999999</c:v>
                      </c:pt>
                      <c:pt idx="5231">
                        <c:v>164.7414995</c:v>
                      </c:pt>
                      <c:pt idx="5232">
                        <c:v>166.18191569999999</c:v>
                      </c:pt>
                      <c:pt idx="5233">
                        <c:v>167.5570793</c:v>
                      </c:pt>
                      <c:pt idx="5234">
                        <c:v>168.92183030000001</c:v>
                      </c:pt>
                      <c:pt idx="5235">
                        <c:v>173.12298620000001</c:v>
                      </c:pt>
                      <c:pt idx="5236">
                        <c:v>174.49884399999999</c:v>
                      </c:pt>
                      <c:pt idx="5237">
                        <c:v>175.85248820000001</c:v>
                      </c:pt>
                      <c:pt idx="5238">
                        <c:v>177.51990000000001</c:v>
                      </c:pt>
                      <c:pt idx="5239">
                        <c:v>178.3412429</c:v>
                      </c:pt>
                      <c:pt idx="5240">
                        <c:v>178.78906169999999</c:v>
                      </c:pt>
                      <c:pt idx="5241">
                        <c:v>182.44385539999999</c:v>
                      </c:pt>
                      <c:pt idx="5242">
                        <c:v>183.36478969999999</c:v>
                      </c:pt>
                      <c:pt idx="5243">
                        <c:v>183.81260839999999</c:v>
                      </c:pt>
                      <c:pt idx="5244">
                        <c:v>184.35659999999999</c:v>
                      </c:pt>
                      <c:pt idx="5245">
                        <c:v>190.01278149999999</c:v>
                      </c:pt>
                      <c:pt idx="5246">
                        <c:v>196.77279999999999</c:v>
                      </c:pt>
                      <c:pt idx="5247">
                        <c:v>201.49633360000001</c:v>
                      </c:pt>
                      <c:pt idx="5248">
                        <c:v>204.87872089999999</c:v>
                      </c:pt>
                      <c:pt idx="5249">
                        <c:v>208.22062070000001</c:v>
                      </c:pt>
                      <c:pt idx="5250">
                        <c:v>220.06319379999999</c:v>
                      </c:pt>
                      <c:pt idx="5251">
                        <c:v>222.07660000000001</c:v>
                      </c:pt>
                      <c:pt idx="5252">
                        <c:v>229.58597090000001</c:v>
                      </c:pt>
                      <c:pt idx="5253">
                        <c:v>230.85802200000001</c:v>
                      </c:pt>
                      <c:pt idx="5254">
                        <c:v>232.20059860000001</c:v>
                      </c:pt>
                      <c:pt idx="5255">
                        <c:v>233.47264949999999</c:v>
                      </c:pt>
                      <c:pt idx="5256">
                        <c:v>234.7641112</c:v>
                      </c:pt>
                      <c:pt idx="5257">
                        <c:v>236.0562199</c:v>
                      </c:pt>
                      <c:pt idx="5258">
                        <c:v>237.32827090000001</c:v>
                      </c:pt>
                      <c:pt idx="5259">
                        <c:v>241.48670000000001</c:v>
                      </c:pt>
                      <c:pt idx="5260">
                        <c:v>245.56483940000001</c:v>
                      </c:pt>
                      <c:pt idx="5261">
                        <c:v>249.80805659999999</c:v>
                      </c:pt>
                      <c:pt idx="5262">
                        <c:v>250.6555118</c:v>
                      </c:pt>
                      <c:pt idx="5263">
                        <c:v>251.57595760000001</c:v>
                      </c:pt>
                      <c:pt idx="5264">
                        <c:v>254.07164309999999</c:v>
                      </c:pt>
                      <c:pt idx="5265">
                        <c:v>254.21719999999999</c:v>
                      </c:pt>
                      <c:pt idx="5266">
                        <c:v>255.3653679</c:v>
                      </c:pt>
                      <c:pt idx="5267">
                        <c:v>258.15873399999998</c:v>
                      </c:pt>
                      <c:pt idx="5268">
                        <c:v>260.89864849999998</c:v>
                      </c:pt>
                      <c:pt idx="5269">
                        <c:v>266.44303600000001</c:v>
                      </c:pt>
                      <c:pt idx="5270">
                        <c:v>274.8036975</c:v>
                      </c:pt>
                      <c:pt idx="5271">
                        <c:v>275.04180000000002</c:v>
                      </c:pt>
                      <c:pt idx="5272">
                        <c:v>279.6388053</c:v>
                      </c:pt>
                      <c:pt idx="5273">
                        <c:v>285.10018059999999</c:v>
                      </c:pt>
                      <c:pt idx="5274">
                        <c:v>296.33143719999998</c:v>
                      </c:pt>
                      <c:pt idx="5275">
                        <c:v>301.75112230000002</c:v>
                      </c:pt>
                      <c:pt idx="5276">
                        <c:v>307.29865710000001</c:v>
                      </c:pt>
                      <c:pt idx="5277">
                        <c:v>313.06575859999998</c:v>
                      </c:pt>
                      <c:pt idx="5278">
                        <c:v>318.52991370000001</c:v>
                      </c:pt>
                      <c:pt idx="5279">
                        <c:v>323.99128899999999</c:v>
                      </c:pt>
                      <c:pt idx="5280">
                        <c:v>329.54160289999999</c:v>
                      </c:pt>
                      <c:pt idx="5281">
                        <c:v>335.09191679999998</c:v>
                      </c:pt>
                      <c:pt idx="5282">
                        <c:v>351.78454870000002</c:v>
                      </c:pt>
                      <c:pt idx="5283">
                        <c:v>357.46549069999998</c:v>
                      </c:pt>
                      <c:pt idx="5284">
                        <c:v>358.41879999999998</c:v>
                      </c:pt>
                      <c:pt idx="5285">
                        <c:v>358.61299709999997</c:v>
                      </c:pt>
                      <c:pt idx="5286">
                        <c:v>358.65333190000001</c:v>
                      </c:pt>
                      <c:pt idx="5287">
                        <c:v>358.97710160000003</c:v>
                      </c:pt>
                      <c:pt idx="5288">
                        <c:v>359.01808299999999</c:v>
                      </c:pt>
                      <c:pt idx="5289">
                        <c:v>359.05843800000002</c:v>
                      </c:pt>
                      <c:pt idx="5290">
                        <c:v>359.09784330000002</c:v>
                      </c:pt>
                      <c:pt idx="5291">
                        <c:v>359.25954619999999</c:v>
                      </c:pt>
                      <c:pt idx="5292">
                        <c:v>359.341206</c:v>
                      </c:pt>
                      <c:pt idx="5293">
                        <c:v>359.38091429999997</c:v>
                      </c:pt>
                      <c:pt idx="5294">
                        <c:v>359.6646523</c:v>
                      </c:pt>
                      <c:pt idx="5295">
                        <c:v>359.70405749999998</c:v>
                      </c:pt>
                      <c:pt idx="5296">
                        <c:v>359.78602039999998</c:v>
                      </c:pt>
                      <c:pt idx="5297">
                        <c:v>359.82542569999998</c:v>
                      </c:pt>
                      <c:pt idx="5298">
                        <c:v>359.86576050000002</c:v>
                      </c:pt>
                      <c:pt idx="5299">
                        <c:v>359.90769169999999</c:v>
                      </c:pt>
                      <c:pt idx="5300">
                        <c:v>359.98712860000001</c:v>
                      </c:pt>
                      <c:pt idx="5301">
                        <c:v>360.06783869999998</c:v>
                      </c:pt>
                      <c:pt idx="5302">
                        <c:v>360.2305116</c:v>
                      </c:pt>
                      <c:pt idx="5303">
                        <c:v>360.27086659999998</c:v>
                      </c:pt>
                      <c:pt idx="5304">
                        <c:v>360.31057490000001</c:v>
                      </c:pt>
                      <c:pt idx="5305">
                        <c:v>360.35060659999999</c:v>
                      </c:pt>
                      <c:pt idx="5306">
                        <c:v>360.43164000000002</c:v>
                      </c:pt>
                      <c:pt idx="5307">
                        <c:v>360.71440790000003</c:v>
                      </c:pt>
                      <c:pt idx="5308">
                        <c:v>360.7560158</c:v>
                      </c:pt>
                      <c:pt idx="5309">
                        <c:v>360.87708090000001</c:v>
                      </c:pt>
                      <c:pt idx="5310">
                        <c:v>360.95682090000003</c:v>
                      </c:pt>
                      <c:pt idx="5311">
                        <c:v>360.99844899999999</c:v>
                      </c:pt>
                      <c:pt idx="5312">
                        <c:v>361.03815739999999</c:v>
                      </c:pt>
                      <c:pt idx="5313">
                        <c:v>361.07818909999997</c:v>
                      </c:pt>
                      <c:pt idx="5314">
                        <c:v>361.11854410000001</c:v>
                      </c:pt>
                      <c:pt idx="5315">
                        <c:v>361.16015199999998</c:v>
                      </c:pt>
                      <c:pt idx="5316">
                        <c:v>361.19988050000001</c:v>
                      </c:pt>
                      <c:pt idx="5317">
                        <c:v>361.48329519999999</c:v>
                      </c:pt>
                      <c:pt idx="5318">
                        <c:v>361.52270040000002</c:v>
                      </c:pt>
                      <c:pt idx="5319">
                        <c:v>361.64437170000002</c:v>
                      </c:pt>
                      <c:pt idx="5320">
                        <c:v>361.72475839999998</c:v>
                      </c:pt>
                      <c:pt idx="5321">
                        <c:v>361.76636619999999</c:v>
                      </c:pt>
                      <c:pt idx="5322">
                        <c:v>361.80609479999998</c:v>
                      </c:pt>
                      <c:pt idx="5323">
                        <c:v>361.84644980000002</c:v>
                      </c:pt>
                      <c:pt idx="5324">
                        <c:v>361.8864815</c:v>
                      </c:pt>
                      <c:pt idx="5325">
                        <c:v>362.00784970000001</c:v>
                      </c:pt>
                      <c:pt idx="5326">
                        <c:v>362.04915440000002</c:v>
                      </c:pt>
                      <c:pt idx="5327">
                        <c:v>362.0895094</c:v>
                      </c:pt>
                      <c:pt idx="5328">
                        <c:v>362.2108776</c:v>
                      </c:pt>
                      <c:pt idx="5329">
                        <c:v>362.29061760000002</c:v>
                      </c:pt>
                      <c:pt idx="5330">
                        <c:v>362.37227739999997</c:v>
                      </c:pt>
                      <c:pt idx="5331">
                        <c:v>362.49269579999998</c:v>
                      </c:pt>
                      <c:pt idx="5332">
                        <c:v>362.61406390000002</c:v>
                      </c:pt>
                      <c:pt idx="5333">
                        <c:v>362.6553687</c:v>
                      </c:pt>
                      <c:pt idx="5334">
                        <c:v>362.66230000000002</c:v>
                      </c:pt>
                      <c:pt idx="5335">
                        <c:v>371.79217519999997</c:v>
                      </c:pt>
                      <c:pt idx="5336">
                        <c:v>374.13423870000003</c:v>
                      </c:pt>
                      <c:pt idx="5337">
                        <c:v>376.49537220000002</c:v>
                      </c:pt>
                      <c:pt idx="5338">
                        <c:v>378.96854350000001</c:v>
                      </c:pt>
                      <c:pt idx="5339">
                        <c:v>381.31179850000001</c:v>
                      </c:pt>
                      <c:pt idx="5340">
                        <c:v>398.00898189999998</c:v>
                      </c:pt>
                      <c:pt idx="5341">
                        <c:v>398.4178</c:v>
                      </c:pt>
                      <c:pt idx="5342">
                        <c:v>398.91580750000003</c:v>
                      </c:pt>
                      <c:pt idx="5343">
                        <c:v>399.50293859999999</c:v>
                      </c:pt>
                      <c:pt idx="5344">
                        <c:v>401.91228330000001</c:v>
                      </c:pt>
                      <c:pt idx="5345">
                        <c:v>402.5370509</c:v>
                      </c:pt>
                      <c:pt idx="5346">
                        <c:v>403.1335158</c:v>
                      </c:pt>
                      <c:pt idx="5347">
                        <c:v>403.7206468</c:v>
                      </c:pt>
                      <c:pt idx="5348">
                        <c:v>405.54797910000002</c:v>
                      </c:pt>
                      <c:pt idx="5349">
                        <c:v>406.14444400000002</c:v>
                      </c:pt>
                      <c:pt idx="5350">
                        <c:v>406.73157500000002</c:v>
                      </c:pt>
                      <c:pt idx="5351">
                        <c:v>407.34700880000003</c:v>
                      </c:pt>
                      <c:pt idx="5352">
                        <c:v>407.45479999999998</c:v>
                      </c:pt>
                      <c:pt idx="5353">
                        <c:v>408.30962290000002</c:v>
                      </c:pt>
                      <c:pt idx="5354">
                        <c:v>409.32664829999999</c:v>
                      </c:pt>
                      <c:pt idx="5355">
                        <c:v>410.35984180000003</c:v>
                      </c:pt>
                      <c:pt idx="5356">
                        <c:v>411.44206120000001</c:v>
                      </c:pt>
                      <c:pt idx="5357">
                        <c:v>412.4669098</c:v>
                      </c:pt>
                      <c:pt idx="5358">
                        <c:v>413.50010329999998</c:v>
                      </c:pt>
                      <c:pt idx="5359">
                        <c:v>414.58232270000002</c:v>
                      </c:pt>
                      <c:pt idx="5360">
                        <c:v>415.6155162</c:v>
                      </c:pt>
                      <c:pt idx="5361">
                        <c:v>416.63254160000002</c:v>
                      </c:pt>
                      <c:pt idx="5362">
                        <c:v>417.68242479999998</c:v>
                      </c:pt>
                      <c:pt idx="5363">
                        <c:v>418.71561819999999</c:v>
                      </c:pt>
                      <c:pt idx="5364">
                        <c:v>419.79783759999998</c:v>
                      </c:pt>
                      <c:pt idx="5365">
                        <c:v>420.83103110000002</c:v>
                      </c:pt>
                      <c:pt idx="5366">
                        <c:v>421.84805649999998</c:v>
                      </c:pt>
                      <c:pt idx="5367">
                        <c:v>422.91410769999999</c:v>
                      </c:pt>
                      <c:pt idx="5368">
                        <c:v>423.09300000000002</c:v>
                      </c:pt>
                      <c:pt idx="5369">
                        <c:v>424.55151050000001</c:v>
                      </c:pt>
                      <c:pt idx="5370">
                        <c:v>426.27295889999999</c:v>
                      </c:pt>
                      <c:pt idx="5371">
                        <c:v>428.10293539999998</c:v>
                      </c:pt>
                      <c:pt idx="5372">
                        <c:v>429.85173630000003</c:v>
                      </c:pt>
                      <c:pt idx="5373">
                        <c:v>431.58553769999997</c:v>
                      </c:pt>
                      <c:pt idx="5374">
                        <c:v>433.33345630000002</c:v>
                      </c:pt>
                      <c:pt idx="5375">
                        <c:v>435.16431510000001</c:v>
                      </c:pt>
                      <c:pt idx="5376">
                        <c:v>436.9122337</c:v>
                      </c:pt>
                      <c:pt idx="5377">
                        <c:v>438.63279979999999</c:v>
                      </c:pt>
                      <c:pt idx="5378">
                        <c:v>440.40895339999997</c:v>
                      </c:pt>
                      <c:pt idx="5379">
                        <c:v>442.15687200000002</c:v>
                      </c:pt>
                      <c:pt idx="5380">
                        <c:v>443.98773080000001</c:v>
                      </c:pt>
                      <c:pt idx="5381">
                        <c:v>445.73564950000002</c:v>
                      </c:pt>
                      <c:pt idx="5382">
                        <c:v>447.45621560000001</c:v>
                      </c:pt>
                      <c:pt idx="5383">
                        <c:v>449.2597217</c:v>
                      </c:pt>
                      <c:pt idx="5384">
                        <c:v>449.57560000000001</c:v>
                      </c:pt>
                      <c:pt idx="5385">
                        <c:v>449.82014249999997</c:v>
                      </c:pt>
                      <c:pt idx="5386">
                        <c:v>450.43518710000001</c:v>
                      </c:pt>
                      <c:pt idx="5387">
                        <c:v>450.71708749999999</c:v>
                      </c:pt>
                      <c:pt idx="5388">
                        <c:v>451.01048489999999</c:v>
                      </c:pt>
                      <c:pt idx="5389">
                        <c:v>451.30627129999999</c:v>
                      </c:pt>
                      <c:pt idx="5390">
                        <c:v>451.61609290000001</c:v>
                      </c:pt>
                      <c:pt idx="5391">
                        <c:v>451.91187930000001</c:v>
                      </c:pt>
                      <c:pt idx="5392">
                        <c:v>452.20303699999999</c:v>
                      </c:pt>
                      <c:pt idx="5393">
                        <c:v>452.50360130000001</c:v>
                      </c:pt>
                      <c:pt idx="5394">
                        <c:v>452.79938770000001</c:v>
                      </c:pt>
                      <c:pt idx="5395">
                        <c:v>453.10920929999997</c:v>
                      </c:pt>
                      <c:pt idx="5396">
                        <c:v>453.40499569999997</c:v>
                      </c:pt>
                      <c:pt idx="5397">
                        <c:v>453.69615340000001</c:v>
                      </c:pt>
                      <c:pt idx="5398">
                        <c:v>454.00134639999999</c:v>
                      </c:pt>
                      <c:pt idx="5399">
                        <c:v>454.0548</c:v>
                      </c:pt>
                      <c:pt idx="5400">
                        <c:v>470.28688390000002</c:v>
                      </c:pt>
                      <c:pt idx="5401">
                        <c:v>489.76934670000003</c:v>
                      </c:pt>
                      <c:pt idx="5402">
                        <c:v>511.26348109999998</c:v>
                      </c:pt>
                      <c:pt idx="5403">
                        <c:v>529.8144337</c:v>
                      </c:pt>
                      <c:pt idx="5404">
                        <c:v>549.28698759999997</c:v>
                      </c:pt>
                      <c:pt idx="5405">
                        <c:v>568.91809690000002</c:v>
                      </c:pt>
                      <c:pt idx="5406">
                        <c:v>589.48071870000001</c:v>
                      </c:pt>
                      <c:pt idx="5407">
                        <c:v>609.11182799999995</c:v>
                      </c:pt>
                      <c:pt idx="5408">
                        <c:v>628.4357377</c:v>
                      </c:pt>
                      <c:pt idx="5409">
                        <c:v>648.38395800000001</c:v>
                      </c:pt>
                      <c:pt idx="5410">
                        <c:v>668.01506730000006</c:v>
                      </c:pt>
                      <c:pt idx="5411">
                        <c:v>688.57768920000001</c:v>
                      </c:pt>
                      <c:pt idx="5412">
                        <c:v>708.20879849999994</c:v>
                      </c:pt>
                      <c:pt idx="5413">
                        <c:v>727.5327082</c:v>
                      </c:pt>
                      <c:pt idx="5414">
                        <c:v>747.7881304</c:v>
                      </c:pt>
                      <c:pt idx="5415">
                        <c:v>751.33579999999995</c:v>
                      </c:pt>
                      <c:pt idx="5416">
                        <c:v>757.32145360000004</c:v>
                      </c:pt>
                      <c:pt idx="5417">
                        <c:v>764.5056998</c:v>
                      </c:pt>
                      <c:pt idx="5418">
                        <c:v>772.43175719999999</c:v>
                      </c:pt>
                      <c:pt idx="5419">
                        <c:v>779.27250400000003</c:v>
                      </c:pt>
                      <c:pt idx="5420">
                        <c:v>786.4530962</c:v>
                      </c:pt>
                      <c:pt idx="5421">
                        <c:v>793.69215559999998</c:v>
                      </c:pt>
                      <c:pt idx="5422">
                        <c:v>801.27471449999996</c:v>
                      </c:pt>
                      <c:pt idx="5423">
                        <c:v>808.4589598</c:v>
                      </c:pt>
                      <c:pt idx="5424">
                        <c:v>808.51377390000005</c:v>
                      </c:pt>
                      <c:pt idx="5425">
                        <c:v>815.63955199999998</c:v>
                      </c:pt>
                      <c:pt idx="5426">
                        <c:v>822.99554750000004</c:v>
                      </c:pt>
                      <c:pt idx="5427">
                        <c:v>830.23460699999998</c:v>
                      </c:pt>
                      <c:pt idx="5428">
                        <c:v>837.8171658</c:v>
                      </c:pt>
                      <c:pt idx="5429">
                        <c:v>845.05622519999997</c:v>
                      </c:pt>
                      <c:pt idx="5430">
                        <c:v>852.18200339999999</c:v>
                      </c:pt>
                      <c:pt idx="5431">
                        <c:v>859.65128010000001</c:v>
                      </c:pt>
                      <c:pt idx="5432">
                        <c:v>860.95950000000005</c:v>
                      </c:pt>
                      <c:pt idx="5433">
                        <c:v>867.66816630000005</c:v>
                      </c:pt>
                      <c:pt idx="5434">
                        <c:v>875.72020450000002</c:v>
                      </c:pt>
                      <c:pt idx="5435">
                        <c:v>884.59956239999997</c:v>
                      </c:pt>
                      <c:pt idx="5436">
                        <c:v>892.27070490000006</c:v>
                      </c:pt>
                      <c:pt idx="5437">
                        <c:v>892.33213999999998</c:v>
                      </c:pt>
                      <c:pt idx="5438">
                        <c:v>900.31864670000004</c:v>
                      </c:pt>
                      <c:pt idx="5439">
                        <c:v>908.43211989999998</c:v>
                      </c:pt>
                      <c:pt idx="5440">
                        <c:v>916.99611270000003</c:v>
                      </c:pt>
                      <c:pt idx="5441">
                        <c:v>917.31557329999998</c:v>
                      </c:pt>
                      <c:pt idx="5442">
                        <c:v>925.04405540000005</c:v>
                      </c:pt>
                      <c:pt idx="5443">
                        <c:v>933.09609260000002</c:v>
                      </c:pt>
                      <c:pt idx="5444">
                        <c:v>941.27509529999998</c:v>
                      </c:pt>
                      <c:pt idx="5445">
                        <c:v>949.38856850000002</c:v>
                      </c:pt>
                      <c:pt idx="5446">
                        <c:v>957.88703180000005</c:v>
                      </c:pt>
                      <c:pt idx="5447">
                        <c:v>965.93497360000003</c:v>
                      </c:pt>
                      <c:pt idx="5448">
                        <c:v>966.00050409999994</c:v>
                      </c:pt>
                      <c:pt idx="5449">
                        <c:v>973.98701170000004</c:v>
                      </c:pt>
                      <c:pt idx="5450">
                        <c:v>982.35850949999997</c:v>
                      </c:pt>
                      <c:pt idx="5451">
                        <c:v>990.53341680000005</c:v>
                      </c:pt>
                      <c:pt idx="5452">
                        <c:v>998.58545400000003</c:v>
                      </c:pt>
                      <c:pt idx="5453">
                        <c:v>1007.083917</c:v>
                      </c:pt>
                      <c:pt idx="5454">
                        <c:v>1007.530342</c:v>
                      </c:pt>
                      <c:pt idx="5455">
                        <c:v>1015.13186</c:v>
                      </c:pt>
                      <c:pt idx="5456">
                        <c:v>1023.183897</c:v>
                      </c:pt>
                      <c:pt idx="5457">
                        <c:v>1031.2973689999999</c:v>
                      </c:pt>
                      <c:pt idx="5458">
                        <c:v>1039.7958329999999</c:v>
                      </c:pt>
                      <c:pt idx="5459">
                        <c:v>1047.8478709999999</c:v>
                      </c:pt>
                      <c:pt idx="5460">
                        <c:v>1047.9093049999999</c:v>
                      </c:pt>
                      <c:pt idx="5461">
                        <c:v>1055.8958130000001</c:v>
                      </c:pt>
                      <c:pt idx="5462">
                        <c:v>1064.1403459999999</c:v>
                      </c:pt>
                      <c:pt idx="5463">
                        <c:v>1072.2538179999999</c:v>
                      </c:pt>
                      <c:pt idx="5464">
                        <c:v>1080.752281</c:v>
                      </c:pt>
                      <c:pt idx="5465">
                        <c:v>1088.8657539999999</c:v>
                      </c:pt>
                      <c:pt idx="5466">
                        <c:v>1096.852261</c:v>
                      </c:pt>
                      <c:pt idx="5467">
                        <c:v>1105.2237600000001</c:v>
                      </c:pt>
                      <c:pt idx="5468">
                        <c:v>1106.69</c:v>
                      </c:pt>
                      <c:pt idx="5469">
                        <c:v>1116.483148</c:v>
                      </c:pt>
                      <c:pt idx="5470">
                        <c:v>1128.2373170000001</c:v>
                      </c:pt>
                      <c:pt idx="5471">
                        <c:v>1140.6431669999999</c:v>
                      </c:pt>
                      <c:pt idx="5472">
                        <c:v>1141.199188</c:v>
                      </c:pt>
                      <c:pt idx="5473">
                        <c:v>1152.3913560000001</c:v>
                      </c:pt>
                      <c:pt idx="5474">
                        <c:v>1152.487016</c:v>
                      </c:pt>
                      <c:pt idx="5475">
                        <c:v>1164.145526</c:v>
                      </c:pt>
                      <c:pt idx="5476">
                        <c:v>1175.9893750000001</c:v>
                      </c:pt>
                      <c:pt idx="5477">
                        <c:v>1188.395225</c:v>
                      </c:pt>
                      <c:pt idx="5478">
                        <c:v>1200.2390740000001</c:v>
                      </c:pt>
                      <c:pt idx="5479">
                        <c:v>1211.8975829999999</c:v>
                      </c:pt>
                      <c:pt idx="5480">
                        <c:v>1223.9327519999999</c:v>
                      </c:pt>
                      <c:pt idx="5481">
                        <c:v>1235.776601</c:v>
                      </c:pt>
                      <c:pt idx="5482">
                        <c:v>1248.1824509999999</c:v>
                      </c:pt>
                      <c:pt idx="5483">
                        <c:v>1259.9306409999999</c:v>
                      </c:pt>
                      <c:pt idx="5484">
                        <c:v>1260.0263</c:v>
                      </c:pt>
                      <c:pt idx="5485">
                        <c:v>1271.68481</c:v>
                      </c:pt>
                      <c:pt idx="5486">
                        <c:v>1283.9949999999999</c:v>
                      </c:pt>
                      <c:pt idx="5487">
                        <c:v>1284.838</c:v>
                      </c:pt>
                      <c:pt idx="5488">
                        <c:v>1284.838</c:v>
                      </c:pt>
                      <c:pt idx="5489">
                        <c:v>1284.838</c:v>
                      </c:pt>
                      <c:pt idx="5490">
                        <c:v>1284.838</c:v>
                      </c:pt>
                      <c:pt idx="5491">
                        <c:v>1284.838</c:v>
                      </c:pt>
                      <c:pt idx="5492">
                        <c:v>1284.838</c:v>
                      </c:pt>
                      <c:pt idx="5493">
                        <c:v>1284.838</c:v>
                      </c:pt>
                      <c:pt idx="5494">
                        <c:v>1284.838</c:v>
                      </c:pt>
                      <c:pt idx="5495">
                        <c:v>1284.838</c:v>
                      </c:pt>
                      <c:pt idx="5496">
                        <c:v>1284.838</c:v>
                      </c:pt>
                      <c:pt idx="5497">
                        <c:v>1284.838</c:v>
                      </c:pt>
                      <c:pt idx="5498">
                        <c:v>1284.838</c:v>
                      </c:pt>
                      <c:pt idx="5499">
                        <c:v>1284.838</c:v>
                      </c:pt>
                      <c:pt idx="5500">
                        <c:v>1284.838</c:v>
                      </c:pt>
                      <c:pt idx="5501">
                        <c:v>1284.838</c:v>
                      </c:pt>
                      <c:pt idx="5502">
                        <c:v>1284.838</c:v>
                      </c:pt>
                      <c:pt idx="5503">
                        <c:v>1284.838</c:v>
                      </c:pt>
                      <c:pt idx="5504">
                        <c:v>1284.838</c:v>
                      </c:pt>
                      <c:pt idx="5505">
                        <c:v>1284.838</c:v>
                      </c:pt>
                      <c:pt idx="5506">
                        <c:v>1284.838</c:v>
                      </c:pt>
                      <c:pt idx="5507">
                        <c:v>1284.838</c:v>
                      </c:pt>
                      <c:pt idx="5508">
                        <c:v>1284.838</c:v>
                      </c:pt>
                      <c:pt idx="5509">
                        <c:v>1284.838</c:v>
                      </c:pt>
                      <c:pt idx="5510">
                        <c:v>1284.838</c:v>
                      </c:pt>
                      <c:pt idx="5511">
                        <c:v>1284.838</c:v>
                      </c:pt>
                      <c:pt idx="5512">
                        <c:v>1284.838</c:v>
                      </c:pt>
                      <c:pt idx="5513">
                        <c:v>1284.838</c:v>
                      </c:pt>
                      <c:pt idx="5514">
                        <c:v>1284.838</c:v>
                      </c:pt>
                      <c:pt idx="5515">
                        <c:v>1284.838</c:v>
                      </c:pt>
                      <c:pt idx="5516">
                        <c:v>1284.838</c:v>
                      </c:pt>
                      <c:pt idx="5517">
                        <c:v>1284.838</c:v>
                      </c:pt>
                      <c:pt idx="5518">
                        <c:v>1284.838</c:v>
                      </c:pt>
                      <c:pt idx="5519">
                        <c:v>1284.838</c:v>
                      </c:pt>
                      <c:pt idx="5520">
                        <c:v>1284.838</c:v>
                      </c:pt>
                      <c:pt idx="5521">
                        <c:v>1284.838</c:v>
                      </c:pt>
                      <c:pt idx="5522">
                        <c:v>1284.838</c:v>
                      </c:pt>
                      <c:pt idx="5523">
                        <c:v>1284.838</c:v>
                      </c:pt>
                      <c:pt idx="5524">
                        <c:v>1284.838</c:v>
                      </c:pt>
                      <c:pt idx="5525">
                        <c:v>1284.838</c:v>
                      </c:pt>
                      <c:pt idx="5526">
                        <c:v>1284.838</c:v>
                      </c:pt>
                      <c:pt idx="5527">
                        <c:v>1284.838</c:v>
                      </c:pt>
                      <c:pt idx="5528">
                        <c:v>1284.838</c:v>
                      </c:pt>
                      <c:pt idx="5529">
                        <c:v>1284.838</c:v>
                      </c:pt>
                      <c:pt idx="5530">
                        <c:v>1284.838</c:v>
                      </c:pt>
                      <c:pt idx="5531">
                        <c:v>1284.838</c:v>
                      </c:pt>
                      <c:pt idx="5532">
                        <c:v>1284.838</c:v>
                      </c:pt>
                      <c:pt idx="5533">
                        <c:v>1284.838</c:v>
                      </c:pt>
                      <c:pt idx="5534">
                        <c:v>1284.838</c:v>
                      </c:pt>
                      <c:pt idx="5535">
                        <c:v>1284.838</c:v>
                      </c:pt>
                      <c:pt idx="5536">
                        <c:v>1284.838</c:v>
                      </c:pt>
                      <c:pt idx="5537">
                        <c:v>1284.838</c:v>
                      </c:pt>
                      <c:pt idx="5538">
                        <c:v>1284.838</c:v>
                      </c:pt>
                      <c:pt idx="5539">
                        <c:v>1284.838</c:v>
                      </c:pt>
                      <c:pt idx="5540">
                        <c:v>1284.838</c:v>
                      </c:pt>
                      <c:pt idx="5541">
                        <c:v>1284.838</c:v>
                      </c:pt>
                      <c:pt idx="5542">
                        <c:v>1284.838</c:v>
                      </c:pt>
                      <c:pt idx="5543">
                        <c:v>1284.838</c:v>
                      </c:pt>
                      <c:pt idx="5544">
                        <c:v>1284.838</c:v>
                      </c:pt>
                      <c:pt idx="5545">
                        <c:v>1284.838</c:v>
                      </c:pt>
                      <c:pt idx="5546">
                        <c:v>1284.838</c:v>
                      </c:pt>
                      <c:pt idx="5547">
                        <c:v>1284.838</c:v>
                      </c:pt>
                      <c:pt idx="5548">
                        <c:v>1284.838</c:v>
                      </c:pt>
                      <c:pt idx="5549">
                        <c:v>1284.838</c:v>
                      </c:pt>
                      <c:pt idx="5550">
                        <c:v>1284.838</c:v>
                      </c:pt>
                      <c:pt idx="5551">
                        <c:v>1284.838</c:v>
                      </c:pt>
                      <c:pt idx="5552">
                        <c:v>1284.838</c:v>
                      </c:pt>
                      <c:pt idx="5553">
                        <c:v>1284.838</c:v>
                      </c:pt>
                      <c:pt idx="5554">
                        <c:v>1284.838</c:v>
                      </c:pt>
                      <c:pt idx="5555">
                        <c:v>1284.838</c:v>
                      </c:pt>
                      <c:pt idx="5556">
                        <c:v>1284.838</c:v>
                      </c:pt>
                      <c:pt idx="5557">
                        <c:v>1284.838</c:v>
                      </c:pt>
                      <c:pt idx="5558">
                        <c:v>1284.838</c:v>
                      </c:pt>
                      <c:pt idx="5559">
                        <c:v>1284.838</c:v>
                      </c:pt>
                      <c:pt idx="5560">
                        <c:v>1284.838</c:v>
                      </c:pt>
                      <c:pt idx="5561">
                        <c:v>1284.838</c:v>
                      </c:pt>
                      <c:pt idx="5562">
                        <c:v>1284.838</c:v>
                      </c:pt>
                      <c:pt idx="5563">
                        <c:v>1284.838</c:v>
                      </c:pt>
                      <c:pt idx="5564">
                        <c:v>1284.838</c:v>
                      </c:pt>
                      <c:pt idx="5565">
                        <c:v>1284.838</c:v>
                      </c:pt>
                      <c:pt idx="5566">
                        <c:v>1284.838</c:v>
                      </c:pt>
                      <c:pt idx="5567">
                        <c:v>1284.838</c:v>
                      </c:pt>
                      <c:pt idx="5568">
                        <c:v>1284.838</c:v>
                      </c:pt>
                      <c:pt idx="5569">
                        <c:v>1284.838</c:v>
                      </c:pt>
                      <c:pt idx="5570">
                        <c:v>1284.838</c:v>
                      </c:pt>
                      <c:pt idx="5571">
                        <c:v>1284.838</c:v>
                      </c:pt>
                      <c:pt idx="5572">
                        <c:v>1284.838</c:v>
                      </c:pt>
                      <c:pt idx="5573">
                        <c:v>1284.838</c:v>
                      </c:pt>
                      <c:pt idx="5574">
                        <c:v>1284.838</c:v>
                      </c:pt>
                      <c:pt idx="5575">
                        <c:v>1284.838</c:v>
                      </c:pt>
                      <c:pt idx="5576">
                        <c:v>1284.838</c:v>
                      </c:pt>
                      <c:pt idx="5577">
                        <c:v>1284.838</c:v>
                      </c:pt>
                      <c:pt idx="5578">
                        <c:v>1284.838</c:v>
                      </c:pt>
                      <c:pt idx="5579">
                        <c:v>1284.838</c:v>
                      </c:pt>
                      <c:pt idx="5580">
                        <c:v>1284.838</c:v>
                      </c:pt>
                      <c:pt idx="5581">
                        <c:v>1284.838</c:v>
                      </c:pt>
                      <c:pt idx="5582">
                        <c:v>1284.838</c:v>
                      </c:pt>
                      <c:pt idx="5583">
                        <c:v>1284.838</c:v>
                      </c:pt>
                      <c:pt idx="5584">
                        <c:v>1284.838</c:v>
                      </c:pt>
                      <c:pt idx="5585">
                        <c:v>1284.838</c:v>
                      </c:pt>
                      <c:pt idx="5586">
                        <c:v>1284.838</c:v>
                      </c:pt>
                      <c:pt idx="5587">
                        <c:v>1284.838</c:v>
                      </c:pt>
                      <c:pt idx="5588">
                        <c:v>1284.838</c:v>
                      </c:pt>
                      <c:pt idx="5589">
                        <c:v>1284.838</c:v>
                      </c:pt>
                      <c:pt idx="5590">
                        <c:v>1284.838</c:v>
                      </c:pt>
                      <c:pt idx="5591">
                        <c:v>1284.838</c:v>
                      </c:pt>
                      <c:pt idx="5592">
                        <c:v>1284.838</c:v>
                      </c:pt>
                      <c:pt idx="5593">
                        <c:v>1284.838</c:v>
                      </c:pt>
                      <c:pt idx="5594">
                        <c:v>1284.838</c:v>
                      </c:pt>
                      <c:pt idx="5595">
                        <c:v>1284.838</c:v>
                      </c:pt>
                      <c:pt idx="5596">
                        <c:v>1284.838</c:v>
                      </c:pt>
                      <c:pt idx="5597">
                        <c:v>1284.838</c:v>
                      </c:pt>
                      <c:pt idx="5598">
                        <c:v>1284.838</c:v>
                      </c:pt>
                      <c:pt idx="5599">
                        <c:v>1284.838</c:v>
                      </c:pt>
                      <c:pt idx="5600">
                        <c:v>1284.838</c:v>
                      </c:pt>
                      <c:pt idx="5601">
                        <c:v>1284.838</c:v>
                      </c:pt>
                      <c:pt idx="5602">
                        <c:v>1284.838</c:v>
                      </c:pt>
                      <c:pt idx="5603">
                        <c:v>1284.838</c:v>
                      </c:pt>
                      <c:pt idx="5604">
                        <c:v>1284.838</c:v>
                      </c:pt>
                      <c:pt idx="5605">
                        <c:v>1284.838</c:v>
                      </c:pt>
                      <c:pt idx="5606">
                        <c:v>1284.838</c:v>
                      </c:pt>
                      <c:pt idx="5607">
                        <c:v>1284.838</c:v>
                      </c:pt>
                      <c:pt idx="5608">
                        <c:v>1284.838</c:v>
                      </c:pt>
                      <c:pt idx="5609">
                        <c:v>1284.838</c:v>
                      </c:pt>
                      <c:pt idx="5610">
                        <c:v>1284.838</c:v>
                      </c:pt>
                      <c:pt idx="5611">
                        <c:v>1284.838</c:v>
                      </c:pt>
                      <c:pt idx="5612">
                        <c:v>1284.838</c:v>
                      </c:pt>
                      <c:pt idx="5613">
                        <c:v>1284.838</c:v>
                      </c:pt>
                      <c:pt idx="5614">
                        <c:v>1284.838</c:v>
                      </c:pt>
                      <c:pt idx="5615">
                        <c:v>1284.838</c:v>
                      </c:pt>
                      <c:pt idx="5616">
                        <c:v>1284.838</c:v>
                      </c:pt>
                      <c:pt idx="5617">
                        <c:v>1284.838</c:v>
                      </c:pt>
                      <c:pt idx="5618">
                        <c:v>1284.838</c:v>
                      </c:pt>
                      <c:pt idx="5619">
                        <c:v>1284.838</c:v>
                      </c:pt>
                      <c:pt idx="5620">
                        <c:v>1284.838</c:v>
                      </c:pt>
                      <c:pt idx="5621">
                        <c:v>1284.838</c:v>
                      </c:pt>
                      <c:pt idx="5622">
                        <c:v>1284.838</c:v>
                      </c:pt>
                      <c:pt idx="5623">
                        <c:v>1284.838</c:v>
                      </c:pt>
                      <c:pt idx="5624">
                        <c:v>1284.838</c:v>
                      </c:pt>
                      <c:pt idx="5625">
                        <c:v>1284.838</c:v>
                      </c:pt>
                      <c:pt idx="5626">
                        <c:v>1284.838</c:v>
                      </c:pt>
                      <c:pt idx="5627">
                        <c:v>1284.838</c:v>
                      </c:pt>
                      <c:pt idx="5628">
                        <c:v>1284.838</c:v>
                      </c:pt>
                      <c:pt idx="5629">
                        <c:v>1284.838</c:v>
                      </c:pt>
                      <c:pt idx="5630">
                        <c:v>1284.838</c:v>
                      </c:pt>
                      <c:pt idx="5631">
                        <c:v>1284.838</c:v>
                      </c:pt>
                      <c:pt idx="5632">
                        <c:v>1284.838</c:v>
                      </c:pt>
                      <c:pt idx="5633">
                        <c:v>1284.838</c:v>
                      </c:pt>
                      <c:pt idx="5634">
                        <c:v>1284.838</c:v>
                      </c:pt>
                      <c:pt idx="5635">
                        <c:v>1284.838</c:v>
                      </c:pt>
                      <c:pt idx="5636">
                        <c:v>1284.838</c:v>
                      </c:pt>
                      <c:pt idx="5637">
                        <c:v>1284.838</c:v>
                      </c:pt>
                      <c:pt idx="5638">
                        <c:v>1284.838</c:v>
                      </c:pt>
                      <c:pt idx="5639">
                        <c:v>1284.838</c:v>
                      </c:pt>
                      <c:pt idx="5640">
                        <c:v>1284.838</c:v>
                      </c:pt>
                      <c:pt idx="5641">
                        <c:v>1284.838</c:v>
                      </c:pt>
                      <c:pt idx="5642">
                        <c:v>1284.838</c:v>
                      </c:pt>
                      <c:pt idx="5643">
                        <c:v>1284.838</c:v>
                      </c:pt>
                      <c:pt idx="5644">
                        <c:v>1284.838</c:v>
                      </c:pt>
                      <c:pt idx="5645">
                        <c:v>1284.838</c:v>
                      </c:pt>
                      <c:pt idx="5646">
                        <c:v>1284.838</c:v>
                      </c:pt>
                      <c:pt idx="5647">
                        <c:v>1284.838</c:v>
                      </c:pt>
                      <c:pt idx="5648">
                        <c:v>1284.838</c:v>
                      </c:pt>
                      <c:pt idx="5649">
                        <c:v>1284.838</c:v>
                      </c:pt>
                      <c:pt idx="5650">
                        <c:v>1284.838</c:v>
                      </c:pt>
                      <c:pt idx="5651">
                        <c:v>1284.838</c:v>
                      </c:pt>
                      <c:pt idx="5652">
                        <c:v>1284.838</c:v>
                      </c:pt>
                      <c:pt idx="5653">
                        <c:v>1284.838</c:v>
                      </c:pt>
                      <c:pt idx="5654">
                        <c:v>1284.838</c:v>
                      </c:pt>
                      <c:pt idx="5655">
                        <c:v>1284.838</c:v>
                      </c:pt>
                      <c:pt idx="5656">
                        <c:v>1284.838</c:v>
                      </c:pt>
                      <c:pt idx="5657">
                        <c:v>1284.838</c:v>
                      </c:pt>
                      <c:pt idx="5658">
                        <c:v>1284.838</c:v>
                      </c:pt>
                      <c:pt idx="5659">
                        <c:v>1284.838</c:v>
                      </c:pt>
                      <c:pt idx="5660">
                        <c:v>1284.838</c:v>
                      </c:pt>
                      <c:pt idx="5661">
                        <c:v>1284.838</c:v>
                      </c:pt>
                      <c:pt idx="5662">
                        <c:v>1284.838</c:v>
                      </c:pt>
                      <c:pt idx="5663">
                        <c:v>1284.838</c:v>
                      </c:pt>
                      <c:pt idx="5664">
                        <c:v>1284.838</c:v>
                      </c:pt>
                      <c:pt idx="5665">
                        <c:v>1284.838</c:v>
                      </c:pt>
                      <c:pt idx="5666">
                        <c:v>1284.838</c:v>
                      </c:pt>
                      <c:pt idx="5667">
                        <c:v>1284.838</c:v>
                      </c:pt>
                      <c:pt idx="5668">
                        <c:v>1284.838</c:v>
                      </c:pt>
                      <c:pt idx="5669">
                        <c:v>1284.838</c:v>
                      </c:pt>
                      <c:pt idx="5670">
                        <c:v>1284.838</c:v>
                      </c:pt>
                      <c:pt idx="5671">
                        <c:v>1284.838</c:v>
                      </c:pt>
                      <c:pt idx="5672">
                        <c:v>1284.838</c:v>
                      </c:pt>
                      <c:pt idx="5673">
                        <c:v>1284.838</c:v>
                      </c:pt>
                      <c:pt idx="5674">
                        <c:v>1284.838</c:v>
                      </c:pt>
                      <c:pt idx="5675">
                        <c:v>1284.838</c:v>
                      </c:pt>
                      <c:pt idx="5676">
                        <c:v>1284.838</c:v>
                      </c:pt>
                      <c:pt idx="5677">
                        <c:v>1284.838</c:v>
                      </c:pt>
                      <c:pt idx="5678">
                        <c:v>1284.838</c:v>
                      </c:pt>
                      <c:pt idx="5679">
                        <c:v>1284.838</c:v>
                      </c:pt>
                      <c:pt idx="5680">
                        <c:v>1284.838</c:v>
                      </c:pt>
                      <c:pt idx="5681">
                        <c:v>1284.838</c:v>
                      </c:pt>
                      <c:pt idx="5682">
                        <c:v>1284.838</c:v>
                      </c:pt>
                      <c:pt idx="5683">
                        <c:v>1284.838</c:v>
                      </c:pt>
                      <c:pt idx="5684">
                        <c:v>1284.838</c:v>
                      </c:pt>
                      <c:pt idx="5685">
                        <c:v>1284.838</c:v>
                      </c:pt>
                      <c:pt idx="5686">
                        <c:v>1284.838</c:v>
                      </c:pt>
                      <c:pt idx="5687">
                        <c:v>1284.838</c:v>
                      </c:pt>
                      <c:pt idx="5688">
                        <c:v>1284.838</c:v>
                      </c:pt>
                      <c:pt idx="5689">
                        <c:v>1284.838</c:v>
                      </c:pt>
                      <c:pt idx="5690">
                        <c:v>1284.838</c:v>
                      </c:pt>
                      <c:pt idx="5691">
                        <c:v>1284.838</c:v>
                      </c:pt>
                      <c:pt idx="5692">
                        <c:v>1284.838</c:v>
                      </c:pt>
                      <c:pt idx="5693">
                        <c:v>1284.838</c:v>
                      </c:pt>
                      <c:pt idx="5694">
                        <c:v>1284.838</c:v>
                      </c:pt>
                      <c:pt idx="5695">
                        <c:v>1284.838</c:v>
                      </c:pt>
                      <c:pt idx="5696">
                        <c:v>1284.838</c:v>
                      </c:pt>
                      <c:pt idx="5697">
                        <c:v>1284.838</c:v>
                      </c:pt>
                      <c:pt idx="5698">
                        <c:v>1284.838</c:v>
                      </c:pt>
                      <c:pt idx="5699">
                        <c:v>1284.838</c:v>
                      </c:pt>
                      <c:pt idx="5700">
                        <c:v>1284.838</c:v>
                      </c:pt>
                      <c:pt idx="5701">
                        <c:v>1284.838</c:v>
                      </c:pt>
                      <c:pt idx="5702">
                        <c:v>1284.838</c:v>
                      </c:pt>
                      <c:pt idx="5703">
                        <c:v>1284.838</c:v>
                      </c:pt>
                      <c:pt idx="5704">
                        <c:v>1284.838</c:v>
                      </c:pt>
                      <c:pt idx="5705">
                        <c:v>1284.838</c:v>
                      </c:pt>
                      <c:pt idx="5706">
                        <c:v>1284.838</c:v>
                      </c:pt>
                      <c:pt idx="5707">
                        <c:v>1284.838</c:v>
                      </c:pt>
                      <c:pt idx="5708">
                        <c:v>1284.838</c:v>
                      </c:pt>
                      <c:pt idx="5709">
                        <c:v>1284.838</c:v>
                      </c:pt>
                      <c:pt idx="5710">
                        <c:v>1284.838</c:v>
                      </c:pt>
                      <c:pt idx="5711">
                        <c:v>1284.838</c:v>
                      </c:pt>
                      <c:pt idx="5712">
                        <c:v>1284.838</c:v>
                      </c:pt>
                      <c:pt idx="5713">
                        <c:v>1284.838</c:v>
                      </c:pt>
                      <c:pt idx="5714">
                        <c:v>1284.838</c:v>
                      </c:pt>
                      <c:pt idx="5715">
                        <c:v>1284.838</c:v>
                      </c:pt>
                      <c:pt idx="5716">
                        <c:v>1284.838</c:v>
                      </c:pt>
                      <c:pt idx="5717">
                        <c:v>1284.838</c:v>
                      </c:pt>
                      <c:pt idx="5718">
                        <c:v>1284.838</c:v>
                      </c:pt>
                      <c:pt idx="5719">
                        <c:v>1284.838</c:v>
                      </c:pt>
                      <c:pt idx="5720">
                        <c:v>1284.838</c:v>
                      </c:pt>
                      <c:pt idx="5721">
                        <c:v>1284.838</c:v>
                      </c:pt>
                      <c:pt idx="5722">
                        <c:v>1284.838</c:v>
                      </c:pt>
                      <c:pt idx="5723">
                        <c:v>1284.838</c:v>
                      </c:pt>
                      <c:pt idx="5724">
                        <c:v>1284.838</c:v>
                      </c:pt>
                      <c:pt idx="5725">
                        <c:v>1284.838</c:v>
                      </c:pt>
                      <c:pt idx="5726">
                        <c:v>1284.838</c:v>
                      </c:pt>
                      <c:pt idx="5727">
                        <c:v>1284.838</c:v>
                      </c:pt>
                      <c:pt idx="5728">
                        <c:v>1284.838</c:v>
                      </c:pt>
                      <c:pt idx="5729">
                        <c:v>1284.838</c:v>
                      </c:pt>
                      <c:pt idx="5730">
                        <c:v>1284.838</c:v>
                      </c:pt>
                      <c:pt idx="5731">
                        <c:v>1284.838</c:v>
                      </c:pt>
                      <c:pt idx="5732">
                        <c:v>1284.838</c:v>
                      </c:pt>
                      <c:pt idx="5733">
                        <c:v>1284.838</c:v>
                      </c:pt>
                      <c:pt idx="5734">
                        <c:v>1284.838</c:v>
                      </c:pt>
                      <c:pt idx="5735">
                        <c:v>1284.838</c:v>
                      </c:pt>
                      <c:pt idx="5736">
                        <c:v>1284.838</c:v>
                      </c:pt>
                      <c:pt idx="5737">
                        <c:v>1284.838</c:v>
                      </c:pt>
                      <c:pt idx="5738">
                        <c:v>1284.838</c:v>
                      </c:pt>
                      <c:pt idx="5739">
                        <c:v>1284.838</c:v>
                      </c:pt>
                      <c:pt idx="5740">
                        <c:v>1284.838</c:v>
                      </c:pt>
                      <c:pt idx="5741">
                        <c:v>1284.838</c:v>
                      </c:pt>
                      <c:pt idx="5742">
                        <c:v>1284.838</c:v>
                      </c:pt>
                      <c:pt idx="5743">
                        <c:v>1284.838</c:v>
                      </c:pt>
                      <c:pt idx="5744">
                        <c:v>1284.838</c:v>
                      </c:pt>
                      <c:pt idx="5745">
                        <c:v>1284.838</c:v>
                      </c:pt>
                      <c:pt idx="5746">
                        <c:v>1284.838</c:v>
                      </c:pt>
                      <c:pt idx="5747">
                        <c:v>1284.838</c:v>
                      </c:pt>
                      <c:pt idx="5748">
                        <c:v>1284.838</c:v>
                      </c:pt>
                      <c:pt idx="5749">
                        <c:v>1284.838</c:v>
                      </c:pt>
                      <c:pt idx="5750">
                        <c:v>1284.838</c:v>
                      </c:pt>
                      <c:pt idx="5751">
                        <c:v>1284.838</c:v>
                      </c:pt>
                      <c:pt idx="5752">
                        <c:v>1284.838</c:v>
                      </c:pt>
                      <c:pt idx="5753">
                        <c:v>1284.838</c:v>
                      </c:pt>
                      <c:pt idx="5754">
                        <c:v>1284.838</c:v>
                      </c:pt>
                      <c:pt idx="5755">
                        <c:v>1284.838</c:v>
                      </c:pt>
                      <c:pt idx="5756">
                        <c:v>1284.838</c:v>
                      </c:pt>
                      <c:pt idx="5757">
                        <c:v>1284.838</c:v>
                      </c:pt>
                      <c:pt idx="5758">
                        <c:v>1284.838</c:v>
                      </c:pt>
                      <c:pt idx="5759">
                        <c:v>1284.838</c:v>
                      </c:pt>
                      <c:pt idx="5760">
                        <c:v>1284.838</c:v>
                      </c:pt>
                      <c:pt idx="5761">
                        <c:v>1284.838</c:v>
                      </c:pt>
                      <c:pt idx="5762">
                        <c:v>1284.838</c:v>
                      </c:pt>
                      <c:pt idx="5763">
                        <c:v>1284.838</c:v>
                      </c:pt>
                      <c:pt idx="5764">
                        <c:v>1284.838</c:v>
                      </c:pt>
                      <c:pt idx="5765">
                        <c:v>1284.838</c:v>
                      </c:pt>
                      <c:pt idx="5766">
                        <c:v>1284.838</c:v>
                      </c:pt>
                      <c:pt idx="5767">
                        <c:v>1284.838</c:v>
                      </c:pt>
                      <c:pt idx="5768">
                        <c:v>1284.838</c:v>
                      </c:pt>
                      <c:pt idx="5769">
                        <c:v>1284.838</c:v>
                      </c:pt>
                      <c:pt idx="5770">
                        <c:v>1284.838</c:v>
                      </c:pt>
                      <c:pt idx="5771">
                        <c:v>1284.838</c:v>
                      </c:pt>
                      <c:pt idx="5772">
                        <c:v>1284.838</c:v>
                      </c:pt>
                      <c:pt idx="5773">
                        <c:v>1284.838</c:v>
                      </c:pt>
                      <c:pt idx="5774">
                        <c:v>1284.838</c:v>
                      </c:pt>
                      <c:pt idx="5775">
                        <c:v>1284.838</c:v>
                      </c:pt>
                      <c:pt idx="5776">
                        <c:v>1284.838</c:v>
                      </c:pt>
                      <c:pt idx="5777">
                        <c:v>1284.838</c:v>
                      </c:pt>
                      <c:pt idx="5778">
                        <c:v>1284.838</c:v>
                      </c:pt>
                      <c:pt idx="5779">
                        <c:v>1284.838</c:v>
                      </c:pt>
                      <c:pt idx="5780">
                        <c:v>1284.838</c:v>
                      </c:pt>
                      <c:pt idx="5781">
                        <c:v>1284.838</c:v>
                      </c:pt>
                      <c:pt idx="5782">
                        <c:v>1284.838</c:v>
                      </c:pt>
                      <c:pt idx="5783">
                        <c:v>1284.838</c:v>
                      </c:pt>
                      <c:pt idx="5784">
                        <c:v>1284.838</c:v>
                      </c:pt>
                      <c:pt idx="5785">
                        <c:v>1284.838</c:v>
                      </c:pt>
                      <c:pt idx="5786">
                        <c:v>1284.838</c:v>
                      </c:pt>
                      <c:pt idx="5787">
                        <c:v>1284.838</c:v>
                      </c:pt>
                      <c:pt idx="5788">
                        <c:v>1284.838</c:v>
                      </c:pt>
                      <c:pt idx="5789">
                        <c:v>1284.838</c:v>
                      </c:pt>
                      <c:pt idx="5790">
                        <c:v>1284.838</c:v>
                      </c:pt>
                      <c:pt idx="5791">
                        <c:v>1284.838</c:v>
                      </c:pt>
                      <c:pt idx="5792">
                        <c:v>1284.838</c:v>
                      </c:pt>
                      <c:pt idx="5793">
                        <c:v>1284.838</c:v>
                      </c:pt>
                      <c:pt idx="5794">
                        <c:v>1284.838</c:v>
                      </c:pt>
                      <c:pt idx="5795">
                        <c:v>1284.838</c:v>
                      </c:pt>
                      <c:pt idx="5796">
                        <c:v>1284.838</c:v>
                      </c:pt>
                      <c:pt idx="5797">
                        <c:v>1284.838</c:v>
                      </c:pt>
                      <c:pt idx="5798">
                        <c:v>1284.838</c:v>
                      </c:pt>
                      <c:pt idx="5799">
                        <c:v>1284.838</c:v>
                      </c:pt>
                      <c:pt idx="5800">
                        <c:v>1284.838</c:v>
                      </c:pt>
                      <c:pt idx="5801">
                        <c:v>1284.838</c:v>
                      </c:pt>
                      <c:pt idx="5802">
                        <c:v>1284.838</c:v>
                      </c:pt>
                      <c:pt idx="5803">
                        <c:v>1284.838</c:v>
                      </c:pt>
                      <c:pt idx="5804">
                        <c:v>1284.838</c:v>
                      </c:pt>
                      <c:pt idx="5805">
                        <c:v>1284.838</c:v>
                      </c:pt>
                      <c:pt idx="5806">
                        <c:v>1284.838</c:v>
                      </c:pt>
                      <c:pt idx="5807">
                        <c:v>1284.838</c:v>
                      </c:pt>
                      <c:pt idx="5808">
                        <c:v>1284.838</c:v>
                      </c:pt>
                      <c:pt idx="5809">
                        <c:v>1284.838</c:v>
                      </c:pt>
                      <c:pt idx="5810">
                        <c:v>1284.838</c:v>
                      </c:pt>
                      <c:pt idx="5811">
                        <c:v>1284.838</c:v>
                      </c:pt>
                      <c:pt idx="5812">
                        <c:v>1284.838</c:v>
                      </c:pt>
                      <c:pt idx="5813">
                        <c:v>1284.838</c:v>
                      </c:pt>
                      <c:pt idx="5814">
                        <c:v>1284.838</c:v>
                      </c:pt>
                      <c:pt idx="5815">
                        <c:v>1284.838</c:v>
                      </c:pt>
                      <c:pt idx="5816">
                        <c:v>1284.838</c:v>
                      </c:pt>
                      <c:pt idx="5817">
                        <c:v>1284.838</c:v>
                      </c:pt>
                      <c:pt idx="5818">
                        <c:v>1284.838</c:v>
                      </c:pt>
                      <c:pt idx="5819">
                        <c:v>1284.838</c:v>
                      </c:pt>
                      <c:pt idx="5820">
                        <c:v>1284.838</c:v>
                      </c:pt>
                      <c:pt idx="5821">
                        <c:v>1284.838</c:v>
                      </c:pt>
                      <c:pt idx="5822">
                        <c:v>1284.838</c:v>
                      </c:pt>
                      <c:pt idx="5823">
                        <c:v>1284.838</c:v>
                      </c:pt>
                      <c:pt idx="5824">
                        <c:v>1284.838</c:v>
                      </c:pt>
                      <c:pt idx="5825">
                        <c:v>1284.838</c:v>
                      </c:pt>
                      <c:pt idx="5826">
                        <c:v>1284.838</c:v>
                      </c:pt>
                      <c:pt idx="5827">
                        <c:v>1284.838</c:v>
                      </c:pt>
                      <c:pt idx="5828">
                        <c:v>1284.838</c:v>
                      </c:pt>
                      <c:pt idx="5829">
                        <c:v>1284.838</c:v>
                      </c:pt>
                      <c:pt idx="5830">
                        <c:v>1284.838</c:v>
                      </c:pt>
                      <c:pt idx="5831">
                        <c:v>1284.838</c:v>
                      </c:pt>
                      <c:pt idx="5832">
                        <c:v>1284.838</c:v>
                      </c:pt>
                      <c:pt idx="5833">
                        <c:v>1284.838</c:v>
                      </c:pt>
                      <c:pt idx="5834">
                        <c:v>1284.838</c:v>
                      </c:pt>
                      <c:pt idx="5835">
                        <c:v>1284.838</c:v>
                      </c:pt>
                      <c:pt idx="5836">
                        <c:v>1284.838</c:v>
                      </c:pt>
                      <c:pt idx="5837">
                        <c:v>1284.838</c:v>
                      </c:pt>
                      <c:pt idx="5838">
                        <c:v>1284.838</c:v>
                      </c:pt>
                      <c:pt idx="5839">
                        <c:v>1284.838</c:v>
                      </c:pt>
                      <c:pt idx="5840">
                        <c:v>1284.838</c:v>
                      </c:pt>
                      <c:pt idx="5841">
                        <c:v>1284.838</c:v>
                      </c:pt>
                      <c:pt idx="5842">
                        <c:v>1284.838</c:v>
                      </c:pt>
                      <c:pt idx="5843">
                        <c:v>1284.838</c:v>
                      </c:pt>
                      <c:pt idx="5844">
                        <c:v>1284.838</c:v>
                      </c:pt>
                      <c:pt idx="5845">
                        <c:v>1284.838</c:v>
                      </c:pt>
                      <c:pt idx="5846">
                        <c:v>1284.838</c:v>
                      </c:pt>
                      <c:pt idx="5847">
                        <c:v>1284.838</c:v>
                      </c:pt>
                      <c:pt idx="5848">
                        <c:v>1284.838</c:v>
                      </c:pt>
                      <c:pt idx="5849">
                        <c:v>1284.838</c:v>
                      </c:pt>
                      <c:pt idx="5850">
                        <c:v>1284.838</c:v>
                      </c:pt>
                      <c:pt idx="5851">
                        <c:v>1284.838</c:v>
                      </c:pt>
                      <c:pt idx="5852">
                        <c:v>1284.838</c:v>
                      </c:pt>
                      <c:pt idx="5853">
                        <c:v>1284.838</c:v>
                      </c:pt>
                      <c:pt idx="5854">
                        <c:v>1284.838</c:v>
                      </c:pt>
                      <c:pt idx="5855">
                        <c:v>1284.838</c:v>
                      </c:pt>
                      <c:pt idx="5856">
                        <c:v>1284.838</c:v>
                      </c:pt>
                      <c:pt idx="5857">
                        <c:v>1284.838</c:v>
                      </c:pt>
                      <c:pt idx="5858">
                        <c:v>1284.838</c:v>
                      </c:pt>
                      <c:pt idx="5859">
                        <c:v>1284.838</c:v>
                      </c:pt>
                      <c:pt idx="5860">
                        <c:v>1284.838</c:v>
                      </c:pt>
                      <c:pt idx="5861">
                        <c:v>1284.838</c:v>
                      </c:pt>
                      <c:pt idx="5862">
                        <c:v>1284.838</c:v>
                      </c:pt>
                      <c:pt idx="5863">
                        <c:v>1284.838</c:v>
                      </c:pt>
                      <c:pt idx="5864">
                        <c:v>1284.838</c:v>
                      </c:pt>
                      <c:pt idx="5865">
                        <c:v>1284.838</c:v>
                      </c:pt>
                      <c:pt idx="5866">
                        <c:v>1284.838</c:v>
                      </c:pt>
                      <c:pt idx="5867">
                        <c:v>1284.838</c:v>
                      </c:pt>
                      <c:pt idx="5868">
                        <c:v>1284.838</c:v>
                      </c:pt>
                      <c:pt idx="5869">
                        <c:v>1284.838</c:v>
                      </c:pt>
                      <c:pt idx="5870">
                        <c:v>1284.838</c:v>
                      </c:pt>
                      <c:pt idx="5871">
                        <c:v>1284.838</c:v>
                      </c:pt>
                      <c:pt idx="5872">
                        <c:v>1284.838</c:v>
                      </c:pt>
                      <c:pt idx="5873">
                        <c:v>1284.838</c:v>
                      </c:pt>
                      <c:pt idx="5874">
                        <c:v>1284.838</c:v>
                      </c:pt>
                      <c:pt idx="5875">
                        <c:v>1284.838</c:v>
                      </c:pt>
                      <c:pt idx="5876">
                        <c:v>1284.838</c:v>
                      </c:pt>
                      <c:pt idx="5877">
                        <c:v>1284.838</c:v>
                      </c:pt>
                      <c:pt idx="5878">
                        <c:v>1284.838</c:v>
                      </c:pt>
                      <c:pt idx="5879">
                        <c:v>1284.838</c:v>
                      </c:pt>
                      <c:pt idx="5880">
                        <c:v>1284.838</c:v>
                      </c:pt>
                      <c:pt idx="5881">
                        <c:v>1284.838</c:v>
                      </c:pt>
                      <c:pt idx="5882">
                        <c:v>1284.838</c:v>
                      </c:pt>
                      <c:pt idx="5883">
                        <c:v>1284.838</c:v>
                      </c:pt>
                      <c:pt idx="5884">
                        <c:v>1284.838</c:v>
                      </c:pt>
                      <c:pt idx="5885">
                        <c:v>1284.838</c:v>
                      </c:pt>
                      <c:pt idx="5886">
                        <c:v>1284.838</c:v>
                      </c:pt>
                      <c:pt idx="5887">
                        <c:v>1284.838</c:v>
                      </c:pt>
                      <c:pt idx="5888">
                        <c:v>1284.838</c:v>
                      </c:pt>
                      <c:pt idx="5889">
                        <c:v>1284.838</c:v>
                      </c:pt>
                      <c:pt idx="5890">
                        <c:v>1284.838</c:v>
                      </c:pt>
                      <c:pt idx="5891">
                        <c:v>1284.838</c:v>
                      </c:pt>
                      <c:pt idx="5892">
                        <c:v>1284.838</c:v>
                      </c:pt>
                      <c:pt idx="5893">
                        <c:v>1284.838</c:v>
                      </c:pt>
                      <c:pt idx="5894">
                        <c:v>1284.838</c:v>
                      </c:pt>
                      <c:pt idx="5895">
                        <c:v>1284.838</c:v>
                      </c:pt>
                      <c:pt idx="5896">
                        <c:v>1284.838</c:v>
                      </c:pt>
                      <c:pt idx="5897">
                        <c:v>1284.838</c:v>
                      </c:pt>
                      <c:pt idx="5898">
                        <c:v>1284.838</c:v>
                      </c:pt>
                      <c:pt idx="5899">
                        <c:v>1284.838</c:v>
                      </c:pt>
                      <c:pt idx="5900">
                        <c:v>1284.838</c:v>
                      </c:pt>
                      <c:pt idx="5901">
                        <c:v>1284.838</c:v>
                      </c:pt>
                      <c:pt idx="5902">
                        <c:v>1284.838</c:v>
                      </c:pt>
                      <c:pt idx="5903">
                        <c:v>1284.838</c:v>
                      </c:pt>
                      <c:pt idx="5904">
                        <c:v>1284.838</c:v>
                      </c:pt>
                      <c:pt idx="5905">
                        <c:v>1284.838</c:v>
                      </c:pt>
                      <c:pt idx="5906">
                        <c:v>1284.838</c:v>
                      </c:pt>
                      <c:pt idx="5907">
                        <c:v>1284.838</c:v>
                      </c:pt>
                      <c:pt idx="5908">
                        <c:v>1284.838</c:v>
                      </c:pt>
                      <c:pt idx="5909">
                        <c:v>1284.838</c:v>
                      </c:pt>
                      <c:pt idx="5910">
                        <c:v>1284.838</c:v>
                      </c:pt>
                      <c:pt idx="5911">
                        <c:v>1284.838</c:v>
                      </c:pt>
                      <c:pt idx="5912">
                        <c:v>1284.838</c:v>
                      </c:pt>
                      <c:pt idx="5913">
                        <c:v>1284.838</c:v>
                      </c:pt>
                      <c:pt idx="5914">
                        <c:v>1284.838</c:v>
                      </c:pt>
                      <c:pt idx="5915">
                        <c:v>1284.838</c:v>
                      </c:pt>
                      <c:pt idx="5916">
                        <c:v>1284.838</c:v>
                      </c:pt>
                      <c:pt idx="5917">
                        <c:v>1284.838</c:v>
                      </c:pt>
                      <c:pt idx="5918">
                        <c:v>1284.838</c:v>
                      </c:pt>
                      <c:pt idx="5919">
                        <c:v>1284.838</c:v>
                      </c:pt>
                      <c:pt idx="5920">
                        <c:v>1284.838</c:v>
                      </c:pt>
                      <c:pt idx="5921">
                        <c:v>1284.838</c:v>
                      </c:pt>
                      <c:pt idx="5922">
                        <c:v>1284.838</c:v>
                      </c:pt>
                      <c:pt idx="5923">
                        <c:v>1284.838</c:v>
                      </c:pt>
                      <c:pt idx="5924">
                        <c:v>1284.838</c:v>
                      </c:pt>
                      <c:pt idx="5925">
                        <c:v>1284.838</c:v>
                      </c:pt>
                      <c:pt idx="5926">
                        <c:v>1284.838</c:v>
                      </c:pt>
                      <c:pt idx="5927">
                        <c:v>1284.838</c:v>
                      </c:pt>
                      <c:pt idx="5928">
                        <c:v>1284.838</c:v>
                      </c:pt>
                      <c:pt idx="5929">
                        <c:v>1284.838</c:v>
                      </c:pt>
                      <c:pt idx="5930">
                        <c:v>1284.838</c:v>
                      </c:pt>
                      <c:pt idx="5931">
                        <c:v>1284.838</c:v>
                      </c:pt>
                      <c:pt idx="5932">
                        <c:v>1284.838</c:v>
                      </c:pt>
                      <c:pt idx="5933">
                        <c:v>1284.838</c:v>
                      </c:pt>
                      <c:pt idx="5934">
                        <c:v>1284.838</c:v>
                      </c:pt>
                      <c:pt idx="5935">
                        <c:v>1284.838</c:v>
                      </c:pt>
                      <c:pt idx="5936">
                        <c:v>1284.838</c:v>
                      </c:pt>
                      <c:pt idx="5937">
                        <c:v>1284.838</c:v>
                      </c:pt>
                      <c:pt idx="5938">
                        <c:v>1284.838</c:v>
                      </c:pt>
                      <c:pt idx="5939">
                        <c:v>1284.838</c:v>
                      </c:pt>
                      <c:pt idx="5940">
                        <c:v>1284.838</c:v>
                      </c:pt>
                      <c:pt idx="5941">
                        <c:v>1284.838</c:v>
                      </c:pt>
                      <c:pt idx="5942">
                        <c:v>1284.838</c:v>
                      </c:pt>
                      <c:pt idx="5943">
                        <c:v>1284.838</c:v>
                      </c:pt>
                      <c:pt idx="5944">
                        <c:v>1284.838</c:v>
                      </c:pt>
                      <c:pt idx="5945">
                        <c:v>1284.838</c:v>
                      </c:pt>
                      <c:pt idx="5946">
                        <c:v>1284.838</c:v>
                      </c:pt>
                      <c:pt idx="5947">
                        <c:v>1284.838</c:v>
                      </c:pt>
                      <c:pt idx="5948">
                        <c:v>1284.838</c:v>
                      </c:pt>
                      <c:pt idx="5949">
                        <c:v>1284.838</c:v>
                      </c:pt>
                      <c:pt idx="5950">
                        <c:v>1284.838</c:v>
                      </c:pt>
                      <c:pt idx="5951">
                        <c:v>1284.838</c:v>
                      </c:pt>
                      <c:pt idx="5952">
                        <c:v>1284.838</c:v>
                      </c:pt>
                      <c:pt idx="5953">
                        <c:v>1284.838</c:v>
                      </c:pt>
                      <c:pt idx="5954">
                        <c:v>1284.838</c:v>
                      </c:pt>
                      <c:pt idx="5955">
                        <c:v>1284.838</c:v>
                      </c:pt>
                      <c:pt idx="5956">
                        <c:v>1284.838</c:v>
                      </c:pt>
                      <c:pt idx="5957">
                        <c:v>1284.838</c:v>
                      </c:pt>
                      <c:pt idx="5958">
                        <c:v>1284.838</c:v>
                      </c:pt>
                      <c:pt idx="5959">
                        <c:v>1284.838</c:v>
                      </c:pt>
                      <c:pt idx="5960">
                        <c:v>1284.838</c:v>
                      </c:pt>
                      <c:pt idx="5961">
                        <c:v>1284.838</c:v>
                      </c:pt>
                      <c:pt idx="5962">
                        <c:v>1284.838</c:v>
                      </c:pt>
                      <c:pt idx="5963">
                        <c:v>1284.838</c:v>
                      </c:pt>
                      <c:pt idx="5964">
                        <c:v>1284.838</c:v>
                      </c:pt>
                      <c:pt idx="5965">
                        <c:v>1284.838</c:v>
                      </c:pt>
                      <c:pt idx="5966">
                        <c:v>1284.838</c:v>
                      </c:pt>
                      <c:pt idx="5967">
                        <c:v>1284.838</c:v>
                      </c:pt>
                      <c:pt idx="5968">
                        <c:v>1284.838</c:v>
                      </c:pt>
                      <c:pt idx="5969">
                        <c:v>1284.838</c:v>
                      </c:pt>
                      <c:pt idx="5970">
                        <c:v>1284.838</c:v>
                      </c:pt>
                      <c:pt idx="5971">
                        <c:v>1284.838</c:v>
                      </c:pt>
                      <c:pt idx="5972">
                        <c:v>1284.838</c:v>
                      </c:pt>
                      <c:pt idx="5973">
                        <c:v>1284.838</c:v>
                      </c:pt>
                      <c:pt idx="5974">
                        <c:v>1284.838</c:v>
                      </c:pt>
                      <c:pt idx="5975">
                        <c:v>1284.838</c:v>
                      </c:pt>
                      <c:pt idx="5976">
                        <c:v>1284.838</c:v>
                      </c:pt>
                      <c:pt idx="5977">
                        <c:v>1284.838</c:v>
                      </c:pt>
                      <c:pt idx="5978">
                        <c:v>1284.838</c:v>
                      </c:pt>
                      <c:pt idx="5979">
                        <c:v>1284.838</c:v>
                      </c:pt>
                      <c:pt idx="5980">
                        <c:v>1284.838</c:v>
                      </c:pt>
                      <c:pt idx="5981">
                        <c:v>1284.838</c:v>
                      </c:pt>
                      <c:pt idx="5982">
                        <c:v>1284.838</c:v>
                      </c:pt>
                      <c:pt idx="5983">
                        <c:v>1284.838</c:v>
                      </c:pt>
                      <c:pt idx="5984">
                        <c:v>1284.838</c:v>
                      </c:pt>
                      <c:pt idx="5985">
                        <c:v>1284.838</c:v>
                      </c:pt>
                      <c:pt idx="5986">
                        <c:v>1284.838</c:v>
                      </c:pt>
                      <c:pt idx="5987">
                        <c:v>1284.838</c:v>
                      </c:pt>
                      <c:pt idx="5988">
                        <c:v>1284.838</c:v>
                      </c:pt>
                      <c:pt idx="5989">
                        <c:v>1284.838</c:v>
                      </c:pt>
                      <c:pt idx="5990">
                        <c:v>1284.838</c:v>
                      </c:pt>
                      <c:pt idx="5991">
                        <c:v>1284.838</c:v>
                      </c:pt>
                      <c:pt idx="5992">
                        <c:v>1284.838</c:v>
                      </c:pt>
                      <c:pt idx="5993">
                        <c:v>1284.838</c:v>
                      </c:pt>
                      <c:pt idx="5994">
                        <c:v>1284.838</c:v>
                      </c:pt>
                      <c:pt idx="5995">
                        <c:v>1284.838</c:v>
                      </c:pt>
                      <c:pt idx="5996">
                        <c:v>1284.838</c:v>
                      </c:pt>
                      <c:pt idx="5997">
                        <c:v>1284.838</c:v>
                      </c:pt>
                      <c:pt idx="5998">
                        <c:v>1284.838</c:v>
                      </c:pt>
                      <c:pt idx="5999">
                        <c:v>1284.838</c:v>
                      </c:pt>
                      <c:pt idx="6000">
                        <c:v>1284.838</c:v>
                      </c:pt>
                      <c:pt idx="6001">
                        <c:v>1284.838</c:v>
                      </c:pt>
                      <c:pt idx="6002">
                        <c:v>1284.838</c:v>
                      </c:pt>
                      <c:pt idx="6003">
                        <c:v>1284.838</c:v>
                      </c:pt>
                      <c:pt idx="6004">
                        <c:v>1284.838</c:v>
                      </c:pt>
                      <c:pt idx="6005">
                        <c:v>1284.838</c:v>
                      </c:pt>
                      <c:pt idx="6006">
                        <c:v>1284.838</c:v>
                      </c:pt>
                      <c:pt idx="6007">
                        <c:v>1284.838</c:v>
                      </c:pt>
                      <c:pt idx="6008">
                        <c:v>1284.838</c:v>
                      </c:pt>
                      <c:pt idx="6009">
                        <c:v>1284.838</c:v>
                      </c:pt>
                      <c:pt idx="6010">
                        <c:v>1284.838</c:v>
                      </c:pt>
                      <c:pt idx="6011">
                        <c:v>1284.838</c:v>
                      </c:pt>
                      <c:pt idx="6012">
                        <c:v>1284.838</c:v>
                      </c:pt>
                      <c:pt idx="6013">
                        <c:v>1284.838</c:v>
                      </c:pt>
                      <c:pt idx="6014">
                        <c:v>1284.838</c:v>
                      </c:pt>
                      <c:pt idx="6015">
                        <c:v>1284.838</c:v>
                      </c:pt>
                      <c:pt idx="6016">
                        <c:v>1284.838</c:v>
                      </c:pt>
                      <c:pt idx="6017">
                        <c:v>1284.838</c:v>
                      </c:pt>
                      <c:pt idx="6018">
                        <c:v>1284.838</c:v>
                      </c:pt>
                      <c:pt idx="6019">
                        <c:v>1284.838</c:v>
                      </c:pt>
                      <c:pt idx="6020">
                        <c:v>1284.838</c:v>
                      </c:pt>
                      <c:pt idx="6021">
                        <c:v>1284.838</c:v>
                      </c:pt>
                      <c:pt idx="6022">
                        <c:v>1284.838</c:v>
                      </c:pt>
                      <c:pt idx="6023">
                        <c:v>1284.838</c:v>
                      </c:pt>
                      <c:pt idx="6024">
                        <c:v>1284.838</c:v>
                      </c:pt>
                      <c:pt idx="6025">
                        <c:v>1284.838</c:v>
                      </c:pt>
                      <c:pt idx="6026">
                        <c:v>1284.838</c:v>
                      </c:pt>
                      <c:pt idx="6027">
                        <c:v>1284.838</c:v>
                      </c:pt>
                      <c:pt idx="6028">
                        <c:v>1284.838</c:v>
                      </c:pt>
                      <c:pt idx="6029">
                        <c:v>1284.838</c:v>
                      </c:pt>
                      <c:pt idx="6030">
                        <c:v>1284.838</c:v>
                      </c:pt>
                      <c:pt idx="6031">
                        <c:v>1284.838</c:v>
                      </c:pt>
                      <c:pt idx="6032">
                        <c:v>1284.838</c:v>
                      </c:pt>
                      <c:pt idx="6033">
                        <c:v>1284.838</c:v>
                      </c:pt>
                      <c:pt idx="6034">
                        <c:v>1284.838</c:v>
                      </c:pt>
                      <c:pt idx="6035">
                        <c:v>1284.838</c:v>
                      </c:pt>
                      <c:pt idx="6036">
                        <c:v>1284.838</c:v>
                      </c:pt>
                      <c:pt idx="6037">
                        <c:v>1284.838</c:v>
                      </c:pt>
                      <c:pt idx="6038">
                        <c:v>1284.838</c:v>
                      </c:pt>
                      <c:pt idx="6039">
                        <c:v>1284.838</c:v>
                      </c:pt>
                      <c:pt idx="6040">
                        <c:v>1284.838</c:v>
                      </c:pt>
                      <c:pt idx="6041">
                        <c:v>1284.838</c:v>
                      </c:pt>
                      <c:pt idx="6042">
                        <c:v>1284.838</c:v>
                      </c:pt>
                      <c:pt idx="6043">
                        <c:v>1284.838</c:v>
                      </c:pt>
                      <c:pt idx="6044">
                        <c:v>1284.838</c:v>
                      </c:pt>
                      <c:pt idx="6045">
                        <c:v>1284.838</c:v>
                      </c:pt>
                      <c:pt idx="6046">
                        <c:v>1284.838</c:v>
                      </c:pt>
                      <c:pt idx="6047">
                        <c:v>1284.838</c:v>
                      </c:pt>
                      <c:pt idx="6048">
                        <c:v>1284.838</c:v>
                      </c:pt>
                      <c:pt idx="6049">
                        <c:v>1284.838</c:v>
                      </c:pt>
                      <c:pt idx="6050">
                        <c:v>1284.838</c:v>
                      </c:pt>
                      <c:pt idx="6051">
                        <c:v>1284.838</c:v>
                      </c:pt>
                      <c:pt idx="6052">
                        <c:v>1284.838</c:v>
                      </c:pt>
                      <c:pt idx="6053">
                        <c:v>1284.838</c:v>
                      </c:pt>
                      <c:pt idx="6054">
                        <c:v>1284.838</c:v>
                      </c:pt>
                      <c:pt idx="6055">
                        <c:v>1284.838</c:v>
                      </c:pt>
                      <c:pt idx="6056">
                        <c:v>1284.838</c:v>
                      </c:pt>
                      <c:pt idx="6057">
                        <c:v>1284.838</c:v>
                      </c:pt>
                      <c:pt idx="6058">
                        <c:v>1284.838</c:v>
                      </c:pt>
                      <c:pt idx="6059">
                        <c:v>1284.838</c:v>
                      </c:pt>
                      <c:pt idx="6060">
                        <c:v>1284.838</c:v>
                      </c:pt>
                      <c:pt idx="6061">
                        <c:v>1284.838</c:v>
                      </c:pt>
                      <c:pt idx="6062">
                        <c:v>1284.838</c:v>
                      </c:pt>
                      <c:pt idx="6063">
                        <c:v>1284.838</c:v>
                      </c:pt>
                      <c:pt idx="6064">
                        <c:v>1284.838</c:v>
                      </c:pt>
                      <c:pt idx="6065">
                        <c:v>1284.838</c:v>
                      </c:pt>
                      <c:pt idx="6066">
                        <c:v>1284.838</c:v>
                      </c:pt>
                      <c:pt idx="6067">
                        <c:v>1284.838</c:v>
                      </c:pt>
                      <c:pt idx="6068">
                        <c:v>1284.838</c:v>
                      </c:pt>
                      <c:pt idx="6069">
                        <c:v>1284.838</c:v>
                      </c:pt>
                      <c:pt idx="6070">
                        <c:v>1284.838</c:v>
                      </c:pt>
                      <c:pt idx="6071">
                        <c:v>1284.838</c:v>
                      </c:pt>
                      <c:pt idx="6072">
                        <c:v>1284.838</c:v>
                      </c:pt>
                      <c:pt idx="6073">
                        <c:v>1284.838</c:v>
                      </c:pt>
                      <c:pt idx="6074">
                        <c:v>1284.838</c:v>
                      </c:pt>
                      <c:pt idx="6075">
                        <c:v>1284.838</c:v>
                      </c:pt>
                      <c:pt idx="6076">
                        <c:v>1284.838</c:v>
                      </c:pt>
                      <c:pt idx="6077">
                        <c:v>1284.838</c:v>
                      </c:pt>
                      <c:pt idx="6078">
                        <c:v>1284.838</c:v>
                      </c:pt>
                      <c:pt idx="6079">
                        <c:v>1284.838</c:v>
                      </c:pt>
                      <c:pt idx="6080">
                        <c:v>1284.838</c:v>
                      </c:pt>
                      <c:pt idx="6081">
                        <c:v>1284.838</c:v>
                      </c:pt>
                      <c:pt idx="6082">
                        <c:v>1284.838</c:v>
                      </c:pt>
                      <c:pt idx="6083">
                        <c:v>1284.838</c:v>
                      </c:pt>
                      <c:pt idx="6084">
                        <c:v>1284.838</c:v>
                      </c:pt>
                      <c:pt idx="6085">
                        <c:v>1284.838</c:v>
                      </c:pt>
                      <c:pt idx="6086">
                        <c:v>1284.838</c:v>
                      </c:pt>
                      <c:pt idx="6087">
                        <c:v>1284.838</c:v>
                      </c:pt>
                      <c:pt idx="6088">
                        <c:v>1284.838</c:v>
                      </c:pt>
                      <c:pt idx="6089">
                        <c:v>1284.838</c:v>
                      </c:pt>
                      <c:pt idx="6090">
                        <c:v>1284.838</c:v>
                      </c:pt>
                      <c:pt idx="6091">
                        <c:v>1284.838</c:v>
                      </c:pt>
                      <c:pt idx="6092">
                        <c:v>1284.838</c:v>
                      </c:pt>
                      <c:pt idx="6093">
                        <c:v>1284.838</c:v>
                      </c:pt>
                      <c:pt idx="6094">
                        <c:v>1284.838</c:v>
                      </c:pt>
                      <c:pt idx="6095">
                        <c:v>1284.838</c:v>
                      </c:pt>
                      <c:pt idx="6096">
                        <c:v>1284.838</c:v>
                      </c:pt>
                      <c:pt idx="6097">
                        <c:v>1284.838</c:v>
                      </c:pt>
                      <c:pt idx="6098">
                        <c:v>1284.838</c:v>
                      </c:pt>
                      <c:pt idx="6099">
                        <c:v>1284.838</c:v>
                      </c:pt>
                      <c:pt idx="6100">
                        <c:v>1284.838</c:v>
                      </c:pt>
                      <c:pt idx="6101">
                        <c:v>1284.838</c:v>
                      </c:pt>
                      <c:pt idx="6102">
                        <c:v>1284.838</c:v>
                      </c:pt>
                      <c:pt idx="6103">
                        <c:v>1284.838</c:v>
                      </c:pt>
                      <c:pt idx="6104">
                        <c:v>1284.838</c:v>
                      </c:pt>
                      <c:pt idx="6105">
                        <c:v>1284.838</c:v>
                      </c:pt>
                      <c:pt idx="6106">
                        <c:v>1284.838</c:v>
                      </c:pt>
                      <c:pt idx="6107">
                        <c:v>1284.838</c:v>
                      </c:pt>
                      <c:pt idx="6108">
                        <c:v>1284.838</c:v>
                      </c:pt>
                      <c:pt idx="6109">
                        <c:v>1284.838</c:v>
                      </c:pt>
                      <c:pt idx="6110">
                        <c:v>1284.838</c:v>
                      </c:pt>
                      <c:pt idx="6111">
                        <c:v>1284.838</c:v>
                      </c:pt>
                      <c:pt idx="6112">
                        <c:v>1284.838</c:v>
                      </c:pt>
                      <c:pt idx="6113">
                        <c:v>1284.838</c:v>
                      </c:pt>
                      <c:pt idx="6114">
                        <c:v>1284.838</c:v>
                      </c:pt>
                      <c:pt idx="6115">
                        <c:v>1284.838</c:v>
                      </c:pt>
                      <c:pt idx="6116">
                        <c:v>1284.838</c:v>
                      </c:pt>
                      <c:pt idx="6117">
                        <c:v>1284.838</c:v>
                      </c:pt>
                      <c:pt idx="6118">
                        <c:v>1284.838</c:v>
                      </c:pt>
                      <c:pt idx="6119">
                        <c:v>1284.838</c:v>
                      </c:pt>
                      <c:pt idx="6120">
                        <c:v>1284.838</c:v>
                      </c:pt>
                      <c:pt idx="6121">
                        <c:v>1284.838</c:v>
                      </c:pt>
                      <c:pt idx="6122">
                        <c:v>1284.838</c:v>
                      </c:pt>
                      <c:pt idx="6123">
                        <c:v>1284.838</c:v>
                      </c:pt>
                      <c:pt idx="6124">
                        <c:v>1284.838</c:v>
                      </c:pt>
                      <c:pt idx="6125">
                        <c:v>1284.838</c:v>
                      </c:pt>
                      <c:pt idx="6126">
                        <c:v>1284.838</c:v>
                      </c:pt>
                      <c:pt idx="6127">
                        <c:v>1284.838</c:v>
                      </c:pt>
                      <c:pt idx="6128">
                        <c:v>1284.838</c:v>
                      </c:pt>
                      <c:pt idx="6129">
                        <c:v>1284.838</c:v>
                      </c:pt>
                      <c:pt idx="6130">
                        <c:v>1284.838</c:v>
                      </c:pt>
                      <c:pt idx="6131">
                        <c:v>1284.838</c:v>
                      </c:pt>
                      <c:pt idx="6132">
                        <c:v>1284.838</c:v>
                      </c:pt>
                      <c:pt idx="6133">
                        <c:v>1284.838</c:v>
                      </c:pt>
                      <c:pt idx="6134">
                        <c:v>1284.838</c:v>
                      </c:pt>
                      <c:pt idx="6135">
                        <c:v>1284.838</c:v>
                      </c:pt>
                      <c:pt idx="6136">
                        <c:v>1284.838</c:v>
                      </c:pt>
                      <c:pt idx="6137">
                        <c:v>1284.838</c:v>
                      </c:pt>
                      <c:pt idx="6138">
                        <c:v>1284.838</c:v>
                      </c:pt>
                      <c:pt idx="6139">
                        <c:v>1284.838</c:v>
                      </c:pt>
                      <c:pt idx="6140">
                        <c:v>1284.838</c:v>
                      </c:pt>
                      <c:pt idx="6141">
                        <c:v>1284.838</c:v>
                      </c:pt>
                      <c:pt idx="6142">
                        <c:v>1284.838</c:v>
                      </c:pt>
                      <c:pt idx="6143">
                        <c:v>1284.838</c:v>
                      </c:pt>
                      <c:pt idx="6144">
                        <c:v>1284.838</c:v>
                      </c:pt>
                      <c:pt idx="6145">
                        <c:v>1284.838</c:v>
                      </c:pt>
                      <c:pt idx="6146">
                        <c:v>1284.838</c:v>
                      </c:pt>
                      <c:pt idx="6147">
                        <c:v>1284.838</c:v>
                      </c:pt>
                      <c:pt idx="6148">
                        <c:v>1284.838</c:v>
                      </c:pt>
                      <c:pt idx="6149">
                        <c:v>1284.838</c:v>
                      </c:pt>
                      <c:pt idx="6150">
                        <c:v>1284.838</c:v>
                      </c:pt>
                      <c:pt idx="6151">
                        <c:v>1284.838</c:v>
                      </c:pt>
                      <c:pt idx="6152">
                        <c:v>1284.838</c:v>
                      </c:pt>
                      <c:pt idx="6153">
                        <c:v>1284.838</c:v>
                      </c:pt>
                      <c:pt idx="6154">
                        <c:v>1284.838</c:v>
                      </c:pt>
                      <c:pt idx="6155">
                        <c:v>1284.838</c:v>
                      </c:pt>
                      <c:pt idx="6156">
                        <c:v>1284.838</c:v>
                      </c:pt>
                      <c:pt idx="6157">
                        <c:v>1284.838</c:v>
                      </c:pt>
                      <c:pt idx="6158">
                        <c:v>1284.838</c:v>
                      </c:pt>
                      <c:pt idx="6159">
                        <c:v>1284.838</c:v>
                      </c:pt>
                      <c:pt idx="6160">
                        <c:v>1284.838</c:v>
                      </c:pt>
                      <c:pt idx="6161">
                        <c:v>1284.838</c:v>
                      </c:pt>
                      <c:pt idx="6162">
                        <c:v>1284.838</c:v>
                      </c:pt>
                      <c:pt idx="6163">
                        <c:v>1284.838</c:v>
                      </c:pt>
                      <c:pt idx="6164">
                        <c:v>1284.838</c:v>
                      </c:pt>
                      <c:pt idx="6165">
                        <c:v>1284.838</c:v>
                      </c:pt>
                      <c:pt idx="6166">
                        <c:v>1284.838</c:v>
                      </c:pt>
                      <c:pt idx="6167">
                        <c:v>1284.838</c:v>
                      </c:pt>
                      <c:pt idx="6168">
                        <c:v>1284.838</c:v>
                      </c:pt>
                      <c:pt idx="6169">
                        <c:v>1284.838</c:v>
                      </c:pt>
                      <c:pt idx="6170">
                        <c:v>1284.838</c:v>
                      </c:pt>
                      <c:pt idx="6171">
                        <c:v>1284.838</c:v>
                      </c:pt>
                      <c:pt idx="6172">
                        <c:v>1284.838</c:v>
                      </c:pt>
                      <c:pt idx="6173">
                        <c:v>1284.838</c:v>
                      </c:pt>
                      <c:pt idx="6174">
                        <c:v>1284.838</c:v>
                      </c:pt>
                      <c:pt idx="6175">
                        <c:v>1284.838</c:v>
                      </c:pt>
                      <c:pt idx="6176">
                        <c:v>1284.838</c:v>
                      </c:pt>
                      <c:pt idx="6177">
                        <c:v>1284.838</c:v>
                      </c:pt>
                      <c:pt idx="6178">
                        <c:v>1284.838</c:v>
                      </c:pt>
                      <c:pt idx="6179">
                        <c:v>1284.838</c:v>
                      </c:pt>
                      <c:pt idx="6180">
                        <c:v>1284.838</c:v>
                      </c:pt>
                      <c:pt idx="6181">
                        <c:v>1284.838</c:v>
                      </c:pt>
                      <c:pt idx="6182">
                        <c:v>1284.838</c:v>
                      </c:pt>
                      <c:pt idx="6183">
                        <c:v>1284.838</c:v>
                      </c:pt>
                      <c:pt idx="6184">
                        <c:v>1284.838</c:v>
                      </c:pt>
                      <c:pt idx="6185">
                        <c:v>1284.838</c:v>
                      </c:pt>
                      <c:pt idx="6186">
                        <c:v>1284.838</c:v>
                      </c:pt>
                      <c:pt idx="6187">
                        <c:v>1284.838</c:v>
                      </c:pt>
                      <c:pt idx="6188">
                        <c:v>1284.838</c:v>
                      </c:pt>
                      <c:pt idx="6189">
                        <c:v>1284.838</c:v>
                      </c:pt>
                      <c:pt idx="6190">
                        <c:v>1284.838</c:v>
                      </c:pt>
                      <c:pt idx="6191">
                        <c:v>1284.838</c:v>
                      </c:pt>
                      <c:pt idx="6192">
                        <c:v>1284.838</c:v>
                      </c:pt>
                      <c:pt idx="6193">
                        <c:v>1284.838</c:v>
                      </c:pt>
                      <c:pt idx="6194">
                        <c:v>1284.838</c:v>
                      </c:pt>
                      <c:pt idx="6195">
                        <c:v>1284.838</c:v>
                      </c:pt>
                      <c:pt idx="6196">
                        <c:v>1284.838</c:v>
                      </c:pt>
                      <c:pt idx="6197">
                        <c:v>1284.838</c:v>
                      </c:pt>
                      <c:pt idx="6198">
                        <c:v>1284.838</c:v>
                      </c:pt>
                      <c:pt idx="6199">
                        <c:v>1284.838</c:v>
                      </c:pt>
                      <c:pt idx="6200">
                        <c:v>1284.838</c:v>
                      </c:pt>
                      <c:pt idx="6201">
                        <c:v>1284.838</c:v>
                      </c:pt>
                      <c:pt idx="6202">
                        <c:v>1284.838</c:v>
                      </c:pt>
                      <c:pt idx="6203">
                        <c:v>1284.838</c:v>
                      </c:pt>
                      <c:pt idx="6204">
                        <c:v>1284.838</c:v>
                      </c:pt>
                      <c:pt idx="6205">
                        <c:v>1284.838</c:v>
                      </c:pt>
                      <c:pt idx="6206">
                        <c:v>1284.838</c:v>
                      </c:pt>
                      <c:pt idx="6207">
                        <c:v>1284.838</c:v>
                      </c:pt>
                      <c:pt idx="6208">
                        <c:v>1284.838</c:v>
                      </c:pt>
                      <c:pt idx="6209">
                        <c:v>1284.838</c:v>
                      </c:pt>
                      <c:pt idx="6210">
                        <c:v>1284.838</c:v>
                      </c:pt>
                      <c:pt idx="6211">
                        <c:v>1284.838</c:v>
                      </c:pt>
                      <c:pt idx="6212">
                        <c:v>1284.838</c:v>
                      </c:pt>
                      <c:pt idx="6213">
                        <c:v>1284.838</c:v>
                      </c:pt>
                      <c:pt idx="6214">
                        <c:v>1284.838</c:v>
                      </c:pt>
                      <c:pt idx="6215">
                        <c:v>1284.838</c:v>
                      </c:pt>
                      <c:pt idx="6216">
                        <c:v>1284.838</c:v>
                      </c:pt>
                      <c:pt idx="6217">
                        <c:v>1284.838</c:v>
                      </c:pt>
                      <c:pt idx="6218">
                        <c:v>1284.838</c:v>
                      </c:pt>
                      <c:pt idx="6219">
                        <c:v>1284.838</c:v>
                      </c:pt>
                      <c:pt idx="6220">
                        <c:v>1284.838</c:v>
                      </c:pt>
                      <c:pt idx="6221">
                        <c:v>1284.838</c:v>
                      </c:pt>
                      <c:pt idx="6222">
                        <c:v>1284.838</c:v>
                      </c:pt>
                      <c:pt idx="6223">
                        <c:v>1284.838</c:v>
                      </c:pt>
                      <c:pt idx="6224">
                        <c:v>1284.838</c:v>
                      </c:pt>
                      <c:pt idx="6225">
                        <c:v>1284.838</c:v>
                      </c:pt>
                      <c:pt idx="6226">
                        <c:v>1284.838</c:v>
                      </c:pt>
                      <c:pt idx="6227">
                        <c:v>1284.838</c:v>
                      </c:pt>
                      <c:pt idx="6228">
                        <c:v>1284.838</c:v>
                      </c:pt>
                      <c:pt idx="6229">
                        <c:v>1284.838</c:v>
                      </c:pt>
                      <c:pt idx="6230">
                        <c:v>1284.838</c:v>
                      </c:pt>
                      <c:pt idx="6231">
                        <c:v>1284.838</c:v>
                      </c:pt>
                      <c:pt idx="6232">
                        <c:v>1284.838</c:v>
                      </c:pt>
                      <c:pt idx="6233">
                        <c:v>1284.838</c:v>
                      </c:pt>
                      <c:pt idx="6234">
                        <c:v>1284.838</c:v>
                      </c:pt>
                      <c:pt idx="6235">
                        <c:v>1284.838</c:v>
                      </c:pt>
                      <c:pt idx="6236">
                        <c:v>1284.838</c:v>
                      </c:pt>
                      <c:pt idx="6237">
                        <c:v>1284.838</c:v>
                      </c:pt>
                      <c:pt idx="6238">
                        <c:v>1284.838</c:v>
                      </c:pt>
                      <c:pt idx="6239">
                        <c:v>1284.838</c:v>
                      </c:pt>
                      <c:pt idx="6240">
                        <c:v>1284.838</c:v>
                      </c:pt>
                      <c:pt idx="6241">
                        <c:v>1284.838</c:v>
                      </c:pt>
                      <c:pt idx="6242">
                        <c:v>1284.838</c:v>
                      </c:pt>
                      <c:pt idx="6243">
                        <c:v>1284.838</c:v>
                      </c:pt>
                      <c:pt idx="6244">
                        <c:v>1284.838</c:v>
                      </c:pt>
                      <c:pt idx="6245">
                        <c:v>1284.838</c:v>
                      </c:pt>
                      <c:pt idx="6246">
                        <c:v>1284.838</c:v>
                      </c:pt>
                      <c:pt idx="6247">
                        <c:v>1284.838</c:v>
                      </c:pt>
                      <c:pt idx="6248">
                        <c:v>1284.838</c:v>
                      </c:pt>
                      <c:pt idx="6249">
                        <c:v>1284.838</c:v>
                      </c:pt>
                      <c:pt idx="6250">
                        <c:v>1284.838</c:v>
                      </c:pt>
                      <c:pt idx="6251">
                        <c:v>1284.838</c:v>
                      </c:pt>
                      <c:pt idx="6252">
                        <c:v>1284.838</c:v>
                      </c:pt>
                      <c:pt idx="6253">
                        <c:v>1284.838</c:v>
                      </c:pt>
                      <c:pt idx="6254">
                        <c:v>1284.838</c:v>
                      </c:pt>
                      <c:pt idx="6255">
                        <c:v>1284.838</c:v>
                      </c:pt>
                      <c:pt idx="6256">
                        <c:v>1284.838</c:v>
                      </c:pt>
                      <c:pt idx="6257">
                        <c:v>1284.838</c:v>
                      </c:pt>
                      <c:pt idx="6258">
                        <c:v>1284.838</c:v>
                      </c:pt>
                      <c:pt idx="6259">
                        <c:v>1284.838</c:v>
                      </c:pt>
                      <c:pt idx="6260">
                        <c:v>1284.838</c:v>
                      </c:pt>
                      <c:pt idx="6261">
                        <c:v>1284.838</c:v>
                      </c:pt>
                      <c:pt idx="6262">
                        <c:v>1284.838</c:v>
                      </c:pt>
                      <c:pt idx="6263">
                        <c:v>1284.838</c:v>
                      </c:pt>
                      <c:pt idx="6264">
                        <c:v>1284.838</c:v>
                      </c:pt>
                      <c:pt idx="6265">
                        <c:v>1284.838</c:v>
                      </c:pt>
                      <c:pt idx="6266">
                        <c:v>1284.838</c:v>
                      </c:pt>
                      <c:pt idx="6267">
                        <c:v>1284.838</c:v>
                      </c:pt>
                      <c:pt idx="6268">
                        <c:v>1284.838</c:v>
                      </c:pt>
                      <c:pt idx="6269">
                        <c:v>1284.838</c:v>
                      </c:pt>
                      <c:pt idx="6270">
                        <c:v>1284.838</c:v>
                      </c:pt>
                      <c:pt idx="6271">
                        <c:v>1284.838</c:v>
                      </c:pt>
                      <c:pt idx="6272">
                        <c:v>1284.838</c:v>
                      </c:pt>
                      <c:pt idx="6273">
                        <c:v>1284.838</c:v>
                      </c:pt>
                      <c:pt idx="6274">
                        <c:v>1284.838</c:v>
                      </c:pt>
                      <c:pt idx="6275">
                        <c:v>1284.838</c:v>
                      </c:pt>
                      <c:pt idx="6276">
                        <c:v>1284.838</c:v>
                      </c:pt>
                      <c:pt idx="6277">
                        <c:v>1284.838</c:v>
                      </c:pt>
                      <c:pt idx="6278">
                        <c:v>1284.838</c:v>
                      </c:pt>
                      <c:pt idx="6279">
                        <c:v>1284.838</c:v>
                      </c:pt>
                      <c:pt idx="6280">
                        <c:v>1284.838</c:v>
                      </c:pt>
                      <c:pt idx="6281">
                        <c:v>1284.838</c:v>
                      </c:pt>
                      <c:pt idx="6282">
                        <c:v>1284.838</c:v>
                      </c:pt>
                      <c:pt idx="6283">
                        <c:v>1284.838</c:v>
                      </c:pt>
                      <c:pt idx="6284">
                        <c:v>1284.838</c:v>
                      </c:pt>
                      <c:pt idx="6285">
                        <c:v>1284.838</c:v>
                      </c:pt>
                      <c:pt idx="6286">
                        <c:v>1284.838</c:v>
                      </c:pt>
                      <c:pt idx="6287">
                        <c:v>1284.838</c:v>
                      </c:pt>
                      <c:pt idx="6288">
                        <c:v>1284.838</c:v>
                      </c:pt>
                      <c:pt idx="6289">
                        <c:v>1284.838</c:v>
                      </c:pt>
                      <c:pt idx="6290">
                        <c:v>1284.838</c:v>
                      </c:pt>
                      <c:pt idx="6291">
                        <c:v>1284.838</c:v>
                      </c:pt>
                      <c:pt idx="6292">
                        <c:v>1284.838</c:v>
                      </c:pt>
                      <c:pt idx="6293">
                        <c:v>1284.838</c:v>
                      </c:pt>
                      <c:pt idx="6294">
                        <c:v>1284.838</c:v>
                      </c:pt>
                      <c:pt idx="6295">
                        <c:v>1284.838</c:v>
                      </c:pt>
                      <c:pt idx="6296">
                        <c:v>1284.838</c:v>
                      </c:pt>
                      <c:pt idx="6297">
                        <c:v>1284.838</c:v>
                      </c:pt>
                      <c:pt idx="6298">
                        <c:v>1284.838</c:v>
                      </c:pt>
                      <c:pt idx="6299">
                        <c:v>1284.838</c:v>
                      </c:pt>
                      <c:pt idx="6300">
                        <c:v>1284.838</c:v>
                      </c:pt>
                      <c:pt idx="6301">
                        <c:v>1284.838</c:v>
                      </c:pt>
                      <c:pt idx="6302">
                        <c:v>1284.838</c:v>
                      </c:pt>
                      <c:pt idx="6303">
                        <c:v>1284.838</c:v>
                      </c:pt>
                      <c:pt idx="6304">
                        <c:v>1284.838</c:v>
                      </c:pt>
                      <c:pt idx="6305">
                        <c:v>1284.838</c:v>
                      </c:pt>
                      <c:pt idx="6306">
                        <c:v>1284.838</c:v>
                      </c:pt>
                      <c:pt idx="6307">
                        <c:v>1284.838</c:v>
                      </c:pt>
                      <c:pt idx="6308">
                        <c:v>1284.838</c:v>
                      </c:pt>
                      <c:pt idx="6309">
                        <c:v>1284.838</c:v>
                      </c:pt>
                      <c:pt idx="6310">
                        <c:v>1284.838</c:v>
                      </c:pt>
                      <c:pt idx="6311">
                        <c:v>1284.838</c:v>
                      </c:pt>
                      <c:pt idx="6312">
                        <c:v>1284.838</c:v>
                      </c:pt>
                      <c:pt idx="6313">
                        <c:v>1284.838</c:v>
                      </c:pt>
                      <c:pt idx="6314">
                        <c:v>1284.838</c:v>
                      </c:pt>
                      <c:pt idx="6315">
                        <c:v>1284.838</c:v>
                      </c:pt>
                      <c:pt idx="6316">
                        <c:v>1284.838</c:v>
                      </c:pt>
                      <c:pt idx="6317">
                        <c:v>1284.838</c:v>
                      </c:pt>
                      <c:pt idx="6318">
                        <c:v>1284.838</c:v>
                      </c:pt>
                      <c:pt idx="6319">
                        <c:v>1284.838</c:v>
                      </c:pt>
                      <c:pt idx="6320">
                        <c:v>1284.838</c:v>
                      </c:pt>
                      <c:pt idx="6321">
                        <c:v>1284.838</c:v>
                      </c:pt>
                      <c:pt idx="6322">
                        <c:v>1284.838</c:v>
                      </c:pt>
                      <c:pt idx="6323">
                        <c:v>1284.838</c:v>
                      </c:pt>
                      <c:pt idx="6324">
                        <c:v>1284.838</c:v>
                      </c:pt>
                      <c:pt idx="6325">
                        <c:v>1284.838</c:v>
                      </c:pt>
                      <c:pt idx="6326">
                        <c:v>1284.838</c:v>
                      </c:pt>
                      <c:pt idx="6327">
                        <c:v>1284.838</c:v>
                      </c:pt>
                      <c:pt idx="6328">
                        <c:v>1284.838</c:v>
                      </c:pt>
                      <c:pt idx="6329">
                        <c:v>1284.838</c:v>
                      </c:pt>
                      <c:pt idx="6330">
                        <c:v>1284.838</c:v>
                      </c:pt>
                      <c:pt idx="6331">
                        <c:v>1284.838</c:v>
                      </c:pt>
                      <c:pt idx="6332">
                        <c:v>1284.838</c:v>
                      </c:pt>
                      <c:pt idx="6333">
                        <c:v>1284.838</c:v>
                      </c:pt>
                      <c:pt idx="6334">
                        <c:v>1284.838</c:v>
                      </c:pt>
                      <c:pt idx="6335">
                        <c:v>1284.838</c:v>
                      </c:pt>
                      <c:pt idx="6336">
                        <c:v>1284.838</c:v>
                      </c:pt>
                      <c:pt idx="6337">
                        <c:v>1284.838</c:v>
                      </c:pt>
                      <c:pt idx="6338">
                        <c:v>1284.838</c:v>
                      </c:pt>
                      <c:pt idx="6339">
                        <c:v>1284.838</c:v>
                      </c:pt>
                      <c:pt idx="6340">
                        <c:v>1284.838</c:v>
                      </c:pt>
                      <c:pt idx="6341">
                        <c:v>1284.838</c:v>
                      </c:pt>
                      <c:pt idx="6342">
                        <c:v>1284.838</c:v>
                      </c:pt>
                      <c:pt idx="6343">
                        <c:v>1284.838</c:v>
                      </c:pt>
                      <c:pt idx="6344">
                        <c:v>1284.838</c:v>
                      </c:pt>
                      <c:pt idx="6345">
                        <c:v>1284.838</c:v>
                      </c:pt>
                      <c:pt idx="6346">
                        <c:v>1284.838</c:v>
                      </c:pt>
                      <c:pt idx="6347">
                        <c:v>1284.838</c:v>
                      </c:pt>
                      <c:pt idx="6348">
                        <c:v>1284.838</c:v>
                      </c:pt>
                      <c:pt idx="6349">
                        <c:v>1284.838</c:v>
                      </c:pt>
                      <c:pt idx="6350">
                        <c:v>1284.838</c:v>
                      </c:pt>
                      <c:pt idx="6351">
                        <c:v>1284.838</c:v>
                      </c:pt>
                      <c:pt idx="6352">
                        <c:v>1284.838</c:v>
                      </c:pt>
                      <c:pt idx="6353">
                        <c:v>1284.838</c:v>
                      </c:pt>
                      <c:pt idx="6354">
                        <c:v>1284.838</c:v>
                      </c:pt>
                      <c:pt idx="6355">
                        <c:v>1284.838</c:v>
                      </c:pt>
                      <c:pt idx="6356">
                        <c:v>1284.838</c:v>
                      </c:pt>
                      <c:pt idx="6357">
                        <c:v>1284.838</c:v>
                      </c:pt>
                      <c:pt idx="6358">
                        <c:v>1284.838</c:v>
                      </c:pt>
                      <c:pt idx="6359">
                        <c:v>1284.838</c:v>
                      </c:pt>
                      <c:pt idx="6360">
                        <c:v>1284.838</c:v>
                      </c:pt>
                      <c:pt idx="6361">
                        <c:v>1284.838</c:v>
                      </c:pt>
                      <c:pt idx="6362">
                        <c:v>1284.838</c:v>
                      </c:pt>
                      <c:pt idx="6363">
                        <c:v>1284.838</c:v>
                      </c:pt>
                      <c:pt idx="6364">
                        <c:v>1284.838</c:v>
                      </c:pt>
                      <c:pt idx="6365">
                        <c:v>1284.838</c:v>
                      </c:pt>
                      <c:pt idx="6366">
                        <c:v>1284.838</c:v>
                      </c:pt>
                      <c:pt idx="6367">
                        <c:v>1284.838</c:v>
                      </c:pt>
                      <c:pt idx="6368">
                        <c:v>1284.838</c:v>
                      </c:pt>
                      <c:pt idx="6369">
                        <c:v>1284.838</c:v>
                      </c:pt>
                      <c:pt idx="6370">
                        <c:v>1284.838</c:v>
                      </c:pt>
                      <c:pt idx="6371">
                        <c:v>1284.838</c:v>
                      </c:pt>
                      <c:pt idx="6372">
                        <c:v>1284.838</c:v>
                      </c:pt>
                      <c:pt idx="6373">
                        <c:v>1284.838</c:v>
                      </c:pt>
                      <c:pt idx="6374">
                        <c:v>1284.838</c:v>
                      </c:pt>
                      <c:pt idx="6375">
                        <c:v>1284.838</c:v>
                      </c:pt>
                      <c:pt idx="6376">
                        <c:v>1284.838</c:v>
                      </c:pt>
                      <c:pt idx="6377">
                        <c:v>1284.838</c:v>
                      </c:pt>
                      <c:pt idx="6378">
                        <c:v>1284.838</c:v>
                      </c:pt>
                      <c:pt idx="6379">
                        <c:v>1284.838</c:v>
                      </c:pt>
                      <c:pt idx="6380">
                        <c:v>1284.838</c:v>
                      </c:pt>
                      <c:pt idx="6381">
                        <c:v>1284.838</c:v>
                      </c:pt>
                      <c:pt idx="6382">
                        <c:v>1284.838</c:v>
                      </c:pt>
                      <c:pt idx="6383">
                        <c:v>1284.838</c:v>
                      </c:pt>
                      <c:pt idx="6384">
                        <c:v>1284.838</c:v>
                      </c:pt>
                      <c:pt idx="6385">
                        <c:v>1284.838</c:v>
                      </c:pt>
                      <c:pt idx="6386">
                        <c:v>1284.838</c:v>
                      </c:pt>
                      <c:pt idx="6387">
                        <c:v>1284.838</c:v>
                      </c:pt>
                      <c:pt idx="6388">
                        <c:v>1284.838</c:v>
                      </c:pt>
                      <c:pt idx="6389">
                        <c:v>1284.838</c:v>
                      </c:pt>
                      <c:pt idx="6390">
                        <c:v>1284.838</c:v>
                      </c:pt>
                      <c:pt idx="6391">
                        <c:v>1284.838</c:v>
                      </c:pt>
                      <c:pt idx="6392">
                        <c:v>1284.838</c:v>
                      </c:pt>
                      <c:pt idx="6393">
                        <c:v>1284.838</c:v>
                      </c:pt>
                      <c:pt idx="6394">
                        <c:v>1284.838</c:v>
                      </c:pt>
                      <c:pt idx="6395">
                        <c:v>1284.838</c:v>
                      </c:pt>
                      <c:pt idx="6396">
                        <c:v>1284.838</c:v>
                      </c:pt>
                      <c:pt idx="6397">
                        <c:v>1284.838</c:v>
                      </c:pt>
                      <c:pt idx="6398">
                        <c:v>1284.838</c:v>
                      </c:pt>
                      <c:pt idx="6399">
                        <c:v>1284.838</c:v>
                      </c:pt>
                      <c:pt idx="6400">
                        <c:v>1284.838</c:v>
                      </c:pt>
                      <c:pt idx="6401">
                        <c:v>1284.838</c:v>
                      </c:pt>
                      <c:pt idx="6402">
                        <c:v>1284.838</c:v>
                      </c:pt>
                      <c:pt idx="6403">
                        <c:v>1284.838</c:v>
                      </c:pt>
                      <c:pt idx="6404">
                        <c:v>1284.838</c:v>
                      </c:pt>
                      <c:pt idx="6405">
                        <c:v>1284.838</c:v>
                      </c:pt>
                      <c:pt idx="6406">
                        <c:v>1284.838</c:v>
                      </c:pt>
                      <c:pt idx="6407">
                        <c:v>1284.838</c:v>
                      </c:pt>
                      <c:pt idx="6408">
                        <c:v>1284.838</c:v>
                      </c:pt>
                      <c:pt idx="6409">
                        <c:v>1284.838</c:v>
                      </c:pt>
                      <c:pt idx="6410">
                        <c:v>1284.838</c:v>
                      </c:pt>
                      <c:pt idx="6411">
                        <c:v>1284.838</c:v>
                      </c:pt>
                      <c:pt idx="6412">
                        <c:v>1284.838</c:v>
                      </c:pt>
                      <c:pt idx="6413">
                        <c:v>1284.838</c:v>
                      </c:pt>
                      <c:pt idx="6414">
                        <c:v>1284.838</c:v>
                      </c:pt>
                      <c:pt idx="6415">
                        <c:v>1284.838</c:v>
                      </c:pt>
                      <c:pt idx="6416">
                        <c:v>1284.838</c:v>
                      </c:pt>
                      <c:pt idx="6417">
                        <c:v>1284.838</c:v>
                      </c:pt>
                      <c:pt idx="6418">
                        <c:v>1284.838</c:v>
                      </c:pt>
                      <c:pt idx="6419">
                        <c:v>1284.838</c:v>
                      </c:pt>
                      <c:pt idx="6420">
                        <c:v>1284.838</c:v>
                      </c:pt>
                      <c:pt idx="6421">
                        <c:v>1284.838</c:v>
                      </c:pt>
                      <c:pt idx="6422">
                        <c:v>1284.838</c:v>
                      </c:pt>
                      <c:pt idx="6423">
                        <c:v>1284.838</c:v>
                      </c:pt>
                      <c:pt idx="6424">
                        <c:v>1284.838</c:v>
                      </c:pt>
                      <c:pt idx="6425">
                        <c:v>1284.838</c:v>
                      </c:pt>
                      <c:pt idx="6426">
                        <c:v>1284.838</c:v>
                      </c:pt>
                      <c:pt idx="6427">
                        <c:v>1284.838</c:v>
                      </c:pt>
                      <c:pt idx="6428">
                        <c:v>1284.838</c:v>
                      </c:pt>
                      <c:pt idx="6429">
                        <c:v>1284.838</c:v>
                      </c:pt>
                      <c:pt idx="6430">
                        <c:v>1284.838</c:v>
                      </c:pt>
                      <c:pt idx="6431">
                        <c:v>1284.838</c:v>
                      </c:pt>
                      <c:pt idx="6432">
                        <c:v>1284.838</c:v>
                      </c:pt>
                      <c:pt idx="6433">
                        <c:v>1284.838</c:v>
                      </c:pt>
                      <c:pt idx="6434">
                        <c:v>1284.838</c:v>
                      </c:pt>
                      <c:pt idx="6435">
                        <c:v>1284.838</c:v>
                      </c:pt>
                      <c:pt idx="6436">
                        <c:v>1284.838</c:v>
                      </c:pt>
                      <c:pt idx="6437">
                        <c:v>1284.838</c:v>
                      </c:pt>
                      <c:pt idx="6438">
                        <c:v>1284.838</c:v>
                      </c:pt>
                      <c:pt idx="6439">
                        <c:v>1284.838</c:v>
                      </c:pt>
                      <c:pt idx="6440">
                        <c:v>1284.838</c:v>
                      </c:pt>
                      <c:pt idx="6441">
                        <c:v>1284.838</c:v>
                      </c:pt>
                      <c:pt idx="6442">
                        <c:v>1284.838</c:v>
                      </c:pt>
                      <c:pt idx="6443">
                        <c:v>1284.838</c:v>
                      </c:pt>
                      <c:pt idx="6444">
                        <c:v>1284.838</c:v>
                      </c:pt>
                      <c:pt idx="6445">
                        <c:v>1284.838</c:v>
                      </c:pt>
                      <c:pt idx="6446">
                        <c:v>1284.838</c:v>
                      </c:pt>
                      <c:pt idx="6447">
                        <c:v>1284.838</c:v>
                      </c:pt>
                      <c:pt idx="6448">
                        <c:v>1284.838</c:v>
                      </c:pt>
                      <c:pt idx="6449">
                        <c:v>1284.838</c:v>
                      </c:pt>
                      <c:pt idx="6450">
                        <c:v>1284.838</c:v>
                      </c:pt>
                      <c:pt idx="6451">
                        <c:v>1284.838</c:v>
                      </c:pt>
                      <c:pt idx="6452">
                        <c:v>1284.838</c:v>
                      </c:pt>
                      <c:pt idx="6453">
                        <c:v>1284.838</c:v>
                      </c:pt>
                      <c:pt idx="6454">
                        <c:v>1284.838</c:v>
                      </c:pt>
                      <c:pt idx="6455">
                        <c:v>1284.838</c:v>
                      </c:pt>
                      <c:pt idx="6456">
                        <c:v>1284.838</c:v>
                      </c:pt>
                      <c:pt idx="6457">
                        <c:v>1284.838</c:v>
                      </c:pt>
                      <c:pt idx="6458">
                        <c:v>1284.838</c:v>
                      </c:pt>
                      <c:pt idx="6459">
                        <c:v>1284.838</c:v>
                      </c:pt>
                      <c:pt idx="6460">
                        <c:v>1284.838</c:v>
                      </c:pt>
                      <c:pt idx="6461">
                        <c:v>1284.838</c:v>
                      </c:pt>
                      <c:pt idx="6462">
                        <c:v>1284.838</c:v>
                      </c:pt>
                      <c:pt idx="6463">
                        <c:v>1284.838</c:v>
                      </c:pt>
                      <c:pt idx="6464">
                        <c:v>1284.838</c:v>
                      </c:pt>
                      <c:pt idx="6465">
                        <c:v>1284.838</c:v>
                      </c:pt>
                      <c:pt idx="6466">
                        <c:v>1284.838</c:v>
                      </c:pt>
                      <c:pt idx="6467">
                        <c:v>1284.838</c:v>
                      </c:pt>
                      <c:pt idx="6468">
                        <c:v>1284.838</c:v>
                      </c:pt>
                      <c:pt idx="6469">
                        <c:v>1284.838</c:v>
                      </c:pt>
                      <c:pt idx="6470">
                        <c:v>1284.838</c:v>
                      </c:pt>
                      <c:pt idx="6471">
                        <c:v>1284.838</c:v>
                      </c:pt>
                      <c:pt idx="6472">
                        <c:v>1284.838</c:v>
                      </c:pt>
                      <c:pt idx="6473">
                        <c:v>1284.838</c:v>
                      </c:pt>
                      <c:pt idx="6474">
                        <c:v>1284.838</c:v>
                      </c:pt>
                      <c:pt idx="6475">
                        <c:v>1284.838</c:v>
                      </c:pt>
                      <c:pt idx="6476">
                        <c:v>1284.838</c:v>
                      </c:pt>
                      <c:pt idx="6477">
                        <c:v>1284.838</c:v>
                      </c:pt>
                      <c:pt idx="6478">
                        <c:v>1284.838</c:v>
                      </c:pt>
                      <c:pt idx="6479">
                        <c:v>1284.838</c:v>
                      </c:pt>
                      <c:pt idx="6480">
                        <c:v>1284.838</c:v>
                      </c:pt>
                      <c:pt idx="6481">
                        <c:v>1284.838</c:v>
                      </c:pt>
                      <c:pt idx="6482">
                        <c:v>1284.838</c:v>
                      </c:pt>
                      <c:pt idx="6483">
                        <c:v>1284.838</c:v>
                      </c:pt>
                      <c:pt idx="6484">
                        <c:v>1284.838</c:v>
                      </c:pt>
                      <c:pt idx="6485">
                        <c:v>1284.838</c:v>
                      </c:pt>
                      <c:pt idx="6486">
                        <c:v>1284.838</c:v>
                      </c:pt>
                      <c:pt idx="6487">
                        <c:v>1284.838</c:v>
                      </c:pt>
                      <c:pt idx="6488">
                        <c:v>1284.838</c:v>
                      </c:pt>
                      <c:pt idx="6489">
                        <c:v>1284.838</c:v>
                      </c:pt>
                      <c:pt idx="6490">
                        <c:v>1284.838</c:v>
                      </c:pt>
                      <c:pt idx="6491">
                        <c:v>1284.838</c:v>
                      </c:pt>
                      <c:pt idx="6492">
                        <c:v>1284.838</c:v>
                      </c:pt>
                      <c:pt idx="6493">
                        <c:v>1284.838</c:v>
                      </c:pt>
                      <c:pt idx="6494">
                        <c:v>1284.838</c:v>
                      </c:pt>
                      <c:pt idx="6495">
                        <c:v>1284.838</c:v>
                      </c:pt>
                      <c:pt idx="6496">
                        <c:v>1284.838</c:v>
                      </c:pt>
                      <c:pt idx="6497">
                        <c:v>1284.838</c:v>
                      </c:pt>
                      <c:pt idx="6498">
                        <c:v>1284.838</c:v>
                      </c:pt>
                      <c:pt idx="6499">
                        <c:v>1284.838</c:v>
                      </c:pt>
                      <c:pt idx="6500">
                        <c:v>1284.838</c:v>
                      </c:pt>
                      <c:pt idx="6501">
                        <c:v>1284.838</c:v>
                      </c:pt>
                      <c:pt idx="6502">
                        <c:v>1284.838</c:v>
                      </c:pt>
                      <c:pt idx="6503">
                        <c:v>1284.838</c:v>
                      </c:pt>
                      <c:pt idx="6504">
                        <c:v>1284.838</c:v>
                      </c:pt>
                      <c:pt idx="6505">
                        <c:v>1284.838</c:v>
                      </c:pt>
                      <c:pt idx="6506">
                        <c:v>1284.838</c:v>
                      </c:pt>
                      <c:pt idx="6507">
                        <c:v>1284.838</c:v>
                      </c:pt>
                      <c:pt idx="6508">
                        <c:v>1284.838</c:v>
                      </c:pt>
                      <c:pt idx="6509">
                        <c:v>1284.838</c:v>
                      </c:pt>
                      <c:pt idx="6510">
                        <c:v>1284.838</c:v>
                      </c:pt>
                      <c:pt idx="6511">
                        <c:v>1284.838</c:v>
                      </c:pt>
                      <c:pt idx="6512">
                        <c:v>1284.838</c:v>
                      </c:pt>
                      <c:pt idx="6513">
                        <c:v>1284.838</c:v>
                      </c:pt>
                      <c:pt idx="6514">
                        <c:v>1284.838</c:v>
                      </c:pt>
                      <c:pt idx="6515">
                        <c:v>1284.838</c:v>
                      </c:pt>
                      <c:pt idx="6516">
                        <c:v>1284.838</c:v>
                      </c:pt>
                      <c:pt idx="6517">
                        <c:v>1284.838</c:v>
                      </c:pt>
                      <c:pt idx="6518">
                        <c:v>1284.838</c:v>
                      </c:pt>
                      <c:pt idx="6519">
                        <c:v>1284.838</c:v>
                      </c:pt>
                      <c:pt idx="6520">
                        <c:v>1284.838</c:v>
                      </c:pt>
                      <c:pt idx="6521">
                        <c:v>1284.838</c:v>
                      </c:pt>
                      <c:pt idx="6522">
                        <c:v>1284.838</c:v>
                      </c:pt>
                      <c:pt idx="6523">
                        <c:v>1284.838</c:v>
                      </c:pt>
                      <c:pt idx="6524">
                        <c:v>1284.838</c:v>
                      </c:pt>
                      <c:pt idx="6525">
                        <c:v>1284.838</c:v>
                      </c:pt>
                      <c:pt idx="6526">
                        <c:v>1284.838</c:v>
                      </c:pt>
                      <c:pt idx="6527">
                        <c:v>1284.838</c:v>
                      </c:pt>
                      <c:pt idx="6528">
                        <c:v>1284.838</c:v>
                      </c:pt>
                      <c:pt idx="6529">
                        <c:v>1284.838</c:v>
                      </c:pt>
                      <c:pt idx="6530">
                        <c:v>1284.838</c:v>
                      </c:pt>
                      <c:pt idx="6531">
                        <c:v>1284.838</c:v>
                      </c:pt>
                      <c:pt idx="6532">
                        <c:v>1284.838</c:v>
                      </c:pt>
                      <c:pt idx="6533">
                        <c:v>1284.838</c:v>
                      </c:pt>
                      <c:pt idx="6534">
                        <c:v>1284.838</c:v>
                      </c:pt>
                      <c:pt idx="6535">
                        <c:v>1284.838</c:v>
                      </c:pt>
                      <c:pt idx="6536">
                        <c:v>1284.838</c:v>
                      </c:pt>
                      <c:pt idx="6537">
                        <c:v>1284.838</c:v>
                      </c:pt>
                      <c:pt idx="6538">
                        <c:v>1284.838</c:v>
                      </c:pt>
                      <c:pt idx="6539">
                        <c:v>1284.838</c:v>
                      </c:pt>
                      <c:pt idx="6540">
                        <c:v>1284.838</c:v>
                      </c:pt>
                      <c:pt idx="6541">
                        <c:v>1284.838</c:v>
                      </c:pt>
                      <c:pt idx="6542">
                        <c:v>1284.838</c:v>
                      </c:pt>
                      <c:pt idx="6543">
                        <c:v>1284.838</c:v>
                      </c:pt>
                      <c:pt idx="6544">
                        <c:v>1284.838</c:v>
                      </c:pt>
                      <c:pt idx="6545">
                        <c:v>1284.838</c:v>
                      </c:pt>
                      <c:pt idx="6546">
                        <c:v>1284.838</c:v>
                      </c:pt>
                      <c:pt idx="6547">
                        <c:v>1284.838</c:v>
                      </c:pt>
                      <c:pt idx="6548">
                        <c:v>1284.838</c:v>
                      </c:pt>
                      <c:pt idx="6549">
                        <c:v>1284.838</c:v>
                      </c:pt>
                      <c:pt idx="6550">
                        <c:v>1284.838</c:v>
                      </c:pt>
                      <c:pt idx="6551">
                        <c:v>1284.838</c:v>
                      </c:pt>
                      <c:pt idx="6552">
                        <c:v>1284.838</c:v>
                      </c:pt>
                      <c:pt idx="6553">
                        <c:v>1284.838</c:v>
                      </c:pt>
                      <c:pt idx="6554">
                        <c:v>1284.838</c:v>
                      </c:pt>
                      <c:pt idx="6555">
                        <c:v>1284.838</c:v>
                      </c:pt>
                      <c:pt idx="6556">
                        <c:v>1284.838</c:v>
                      </c:pt>
                      <c:pt idx="6557">
                        <c:v>1284.838</c:v>
                      </c:pt>
                      <c:pt idx="6558">
                        <c:v>1284.838</c:v>
                      </c:pt>
                      <c:pt idx="6559">
                        <c:v>1284.838</c:v>
                      </c:pt>
                      <c:pt idx="6560">
                        <c:v>1284.838</c:v>
                      </c:pt>
                      <c:pt idx="6561">
                        <c:v>1284.838</c:v>
                      </c:pt>
                      <c:pt idx="6562">
                        <c:v>1284.838</c:v>
                      </c:pt>
                      <c:pt idx="6563">
                        <c:v>1284.838</c:v>
                      </c:pt>
                      <c:pt idx="6564">
                        <c:v>1284.838</c:v>
                      </c:pt>
                      <c:pt idx="6565">
                        <c:v>1284.838</c:v>
                      </c:pt>
                      <c:pt idx="6566">
                        <c:v>1284.838</c:v>
                      </c:pt>
                      <c:pt idx="6567">
                        <c:v>1284.838</c:v>
                      </c:pt>
                      <c:pt idx="6568">
                        <c:v>1284.838</c:v>
                      </c:pt>
                      <c:pt idx="6569">
                        <c:v>1284.838</c:v>
                      </c:pt>
                      <c:pt idx="6570">
                        <c:v>1284.838</c:v>
                      </c:pt>
                      <c:pt idx="6571">
                        <c:v>1284.838</c:v>
                      </c:pt>
                      <c:pt idx="6572">
                        <c:v>1284.838</c:v>
                      </c:pt>
                      <c:pt idx="6573">
                        <c:v>1284.838</c:v>
                      </c:pt>
                      <c:pt idx="6574">
                        <c:v>1284.838</c:v>
                      </c:pt>
                      <c:pt idx="6575">
                        <c:v>1284.838</c:v>
                      </c:pt>
                      <c:pt idx="6576">
                        <c:v>1284.838</c:v>
                      </c:pt>
                      <c:pt idx="6577">
                        <c:v>1284.838</c:v>
                      </c:pt>
                      <c:pt idx="6578">
                        <c:v>1284.838</c:v>
                      </c:pt>
                      <c:pt idx="6579">
                        <c:v>1284.838</c:v>
                      </c:pt>
                      <c:pt idx="6580">
                        <c:v>1284.838</c:v>
                      </c:pt>
                      <c:pt idx="6581">
                        <c:v>1284.838</c:v>
                      </c:pt>
                      <c:pt idx="6582">
                        <c:v>1284.838</c:v>
                      </c:pt>
                      <c:pt idx="6583">
                        <c:v>1284.838</c:v>
                      </c:pt>
                      <c:pt idx="6584">
                        <c:v>1284.838</c:v>
                      </c:pt>
                      <c:pt idx="6585">
                        <c:v>1284.838</c:v>
                      </c:pt>
                      <c:pt idx="6586">
                        <c:v>1284.838</c:v>
                      </c:pt>
                      <c:pt idx="6587">
                        <c:v>1284.838</c:v>
                      </c:pt>
                      <c:pt idx="6588">
                        <c:v>1284.838</c:v>
                      </c:pt>
                      <c:pt idx="6589">
                        <c:v>1284.838</c:v>
                      </c:pt>
                      <c:pt idx="6590">
                        <c:v>1284.838</c:v>
                      </c:pt>
                      <c:pt idx="6591">
                        <c:v>1284.838</c:v>
                      </c:pt>
                      <c:pt idx="6592">
                        <c:v>1284.838</c:v>
                      </c:pt>
                      <c:pt idx="6593">
                        <c:v>1284.838</c:v>
                      </c:pt>
                      <c:pt idx="6594">
                        <c:v>1284.838</c:v>
                      </c:pt>
                      <c:pt idx="6595">
                        <c:v>1284.838</c:v>
                      </c:pt>
                      <c:pt idx="6596">
                        <c:v>1284.838</c:v>
                      </c:pt>
                      <c:pt idx="6597">
                        <c:v>1284.838</c:v>
                      </c:pt>
                      <c:pt idx="6598">
                        <c:v>1284.838</c:v>
                      </c:pt>
                      <c:pt idx="6599">
                        <c:v>1284.838</c:v>
                      </c:pt>
                      <c:pt idx="6600">
                        <c:v>1284.838</c:v>
                      </c:pt>
                      <c:pt idx="6601">
                        <c:v>1284.838</c:v>
                      </c:pt>
                      <c:pt idx="6602">
                        <c:v>1284.838</c:v>
                      </c:pt>
                      <c:pt idx="6603">
                        <c:v>1284.838</c:v>
                      </c:pt>
                      <c:pt idx="6604">
                        <c:v>1284.838</c:v>
                      </c:pt>
                      <c:pt idx="6605">
                        <c:v>1284.838</c:v>
                      </c:pt>
                      <c:pt idx="6606">
                        <c:v>1284.838</c:v>
                      </c:pt>
                      <c:pt idx="6607">
                        <c:v>1284.838</c:v>
                      </c:pt>
                      <c:pt idx="6608">
                        <c:v>1284.838</c:v>
                      </c:pt>
                      <c:pt idx="6609">
                        <c:v>1284.838</c:v>
                      </c:pt>
                      <c:pt idx="6610">
                        <c:v>1284.838</c:v>
                      </c:pt>
                      <c:pt idx="6611">
                        <c:v>1284.838</c:v>
                      </c:pt>
                      <c:pt idx="6612">
                        <c:v>1284.838</c:v>
                      </c:pt>
                      <c:pt idx="6613">
                        <c:v>1284.838</c:v>
                      </c:pt>
                      <c:pt idx="6614">
                        <c:v>1284.838</c:v>
                      </c:pt>
                      <c:pt idx="6615">
                        <c:v>1284.838</c:v>
                      </c:pt>
                      <c:pt idx="6616">
                        <c:v>1284.838</c:v>
                      </c:pt>
                      <c:pt idx="6617">
                        <c:v>1284.838</c:v>
                      </c:pt>
                      <c:pt idx="6618">
                        <c:v>1284.838</c:v>
                      </c:pt>
                      <c:pt idx="6619">
                        <c:v>1284.838</c:v>
                      </c:pt>
                      <c:pt idx="6620">
                        <c:v>1284.838</c:v>
                      </c:pt>
                      <c:pt idx="6621">
                        <c:v>1284.838</c:v>
                      </c:pt>
                      <c:pt idx="6622">
                        <c:v>1284.838</c:v>
                      </c:pt>
                      <c:pt idx="6623">
                        <c:v>1284.838</c:v>
                      </c:pt>
                      <c:pt idx="6624">
                        <c:v>1284.838</c:v>
                      </c:pt>
                      <c:pt idx="6625">
                        <c:v>1284.838</c:v>
                      </c:pt>
                      <c:pt idx="6626">
                        <c:v>1284.838</c:v>
                      </c:pt>
                      <c:pt idx="6627">
                        <c:v>1284.838</c:v>
                      </c:pt>
                      <c:pt idx="6628">
                        <c:v>1284.838</c:v>
                      </c:pt>
                      <c:pt idx="6629">
                        <c:v>1284.838</c:v>
                      </c:pt>
                      <c:pt idx="6630">
                        <c:v>1284.838</c:v>
                      </c:pt>
                      <c:pt idx="6631">
                        <c:v>1284.838</c:v>
                      </c:pt>
                      <c:pt idx="6632">
                        <c:v>1284.838</c:v>
                      </c:pt>
                      <c:pt idx="6633">
                        <c:v>1284.838</c:v>
                      </c:pt>
                      <c:pt idx="6634">
                        <c:v>1284.838</c:v>
                      </c:pt>
                      <c:pt idx="6635">
                        <c:v>1284.838</c:v>
                      </c:pt>
                      <c:pt idx="6636">
                        <c:v>1284.838</c:v>
                      </c:pt>
                      <c:pt idx="6637">
                        <c:v>1284.838</c:v>
                      </c:pt>
                      <c:pt idx="6638">
                        <c:v>1284.838</c:v>
                      </c:pt>
                      <c:pt idx="6639">
                        <c:v>1284.838</c:v>
                      </c:pt>
                      <c:pt idx="6640">
                        <c:v>1284.838</c:v>
                      </c:pt>
                      <c:pt idx="6641">
                        <c:v>1284.838</c:v>
                      </c:pt>
                      <c:pt idx="6642">
                        <c:v>1284.838</c:v>
                      </c:pt>
                      <c:pt idx="6643">
                        <c:v>1284.838</c:v>
                      </c:pt>
                      <c:pt idx="6644">
                        <c:v>1284.838</c:v>
                      </c:pt>
                      <c:pt idx="6645">
                        <c:v>1284.838</c:v>
                      </c:pt>
                      <c:pt idx="6646">
                        <c:v>1284.838</c:v>
                      </c:pt>
                      <c:pt idx="6647">
                        <c:v>1284.838</c:v>
                      </c:pt>
                      <c:pt idx="6648">
                        <c:v>1284.838</c:v>
                      </c:pt>
                      <c:pt idx="6649">
                        <c:v>1284.838</c:v>
                      </c:pt>
                      <c:pt idx="6650">
                        <c:v>1284.838</c:v>
                      </c:pt>
                      <c:pt idx="6651">
                        <c:v>1284.838</c:v>
                      </c:pt>
                      <c:pt idx="6652">
                        <c:v>1284.838</c:v>
                      </c:pt>
                      <c:pt idx="6653">
                        <c:v>1284.838</c:v>
                      </c:pt>
                      <c:pt idx="6654">
                        <c:v>1284.838</c:v>
                      </c:pt>
                      <c:pt idx="6655">
                        <c:v>1284.838</c:v>
                      </c:pt>
                      <c:pt idx="6656">
                        <c:v>1284.838</c:v>
                      </c:pt>
                      <c:pt idx="6657">
                        <c:v>1284.838</c:v>
                      </c:pt>
                      <c:pt idx="6658">
                        <c:v>1284.838</c:v>
                      </c:pt>
                      <c:pt idx="6659">
                        <c:v>1284.838</c:v>
                      </c:pt>
                      <c:pt idx="6660">
                        <c:v>1284.838</c:v>
                      </c:pt>
                      <c:pt idx="6661">
                        <c:v>1284.838</c:v>
                      </c:pt>
                      <c:pt idx="6662">
                        <c:v>1284.838</c:v>
                      </c:pt>
                      <c:pt idx="6663">
                        <c:v>1284.838</c:v>
                      </c:pt>
                      <c:pt idx="6664">
                        <c:v>1284.838</c:v>
                      </c:pt>
                      <c:pt idx="6665">
                        <c:v>1284.838</c:v>
                      </c:pt>
                      <c:pt idx="6666">
                        <c:v>1284.838</c:v>
                      </c:pt>
                      <c:pt idx="6667">
                        <c:v>1284.838</c:v>
                      </c:pt>
                      <c:pt idx="6668">
                        <c:v>1284.838</c:v>
                      </c:pt>
                      <c:pt idx="6669">
                        <c:v>1284.838</c:v>
                      </c:pt>
                      <c:pt idx="6670">
                        <c:v>1284.838</c:v>
                      </c:pt>
                      <c:pt idx="6671">
                        <c:v>1284.838</c:v>
                      </c:pt>
                      <c:pt idx="6672">
                        <c:v>1284.838</c:v>
                      </c:pt>
                      <c:pt idx="6673">
                        <c:v>1284.838</c:v>
                      </c:pt>
                      <c:pt idx="6674">
                        <c:v>1284.838</c:v>
                      </c:pt>
                      <c:pt idx="6675">
                        <c:v>1284.838</c:v>
                      </c:pt>
                      <c:pt idx="6676">
                        <c:v>1284.838</c:v>
                      </c:pt>
                      <c:pt idx="6677">
                        <c:v>1284.838</c:v>
                      </c:pt>
                      <c:pt idx="6678">
                        <c:v>1284.838</c:v>
                      </c:pt>
                      <c:pt idx="6679">
                        <c:v>1284.838</c:v>
                      </c:pt>
                      <c:pt idx="6680">
                        <c:v>1284.838</c:v>
                      </c:pt>
                      <c:pt idx="6681">
                        <c:v>1284.838</c:v>
                      </c:pt>
                      <c:pt idx="6682">
                        <c:v>1284.838</c:v>
                      </c:pt>
                      <c:pt idx="6683">
                        <c:v>1284.838</c:v>
                      </c:pt>
                      <c:pt idx="6684">
                        <c:v>1284.838</c:v>
                      </c:pt>
                      <c:pt idx="6685">
                        <c:v>1284.838</c:v>
                      </c:pt>
                      <c:pt idx="6686">
                        <c:v>1284.838</c:v>
                      </c:pt>
                      <c:pt idx="6687">
                        <c:v>1284.838</c:v>
                      </c:pt>
                      <c:pt idx="6688">
                        <c:v>1284.838</c:v>
                      </c:pt>
                      <c:pt idx="6689">
                        <c:v>1284.838</c:v>
                      </c:pt>
                      <c:pt idx="6690">
                        <c:v>1284.838</c:v>
                      </c:pt>
                      <c:pt idx="6691">
                        <c:v>1284.838</c:v>
                      </c:pt>
                      <c:pt idx="6692">
                        <c:v>1284.838</c:v>
                      </c:pt>
                      <c:pt idx="6693">
                        <c:v>1284.838</c:v>
                      </c:pt>
                      <c:pt idx="6694">
                        <c:v>1284.838</c:v>
                      </c:pt>
                      <c:pt idx="6695">
                        <c:v>1284.838</c:v>
                      </c:pt>
                      <c:pt idx="6696">
                        <c:v>1284.838</c:v>
                      </c:pt>
                      <c:pt idx="6697">
                        <c:v>1284.838</c:v>
                      </c:pt>
                      <c:pt idx="6698">
                        <c:v>1284.838</c:v>
                      </c:pt>
                      <c:pt idx="6699">
                        <c:v>1284.838</c:v>
                      </c:pt>
                      <c:pt idx="6700">
                        <c:v>1284.838</c:v>
                      </c:pt>
                      <c:pt idx="6701">
                        <c:v>1284.838</c:v>
                      </c:pt>
                      <c:pt idx="6702">
                        <c:v>1284.838</c:v>
                      </c:pt>
                      <c:pt idx="6703">
                        <c:v>1284.838</c:v>
                      </c:pt>
                      <c:pt idx="6704">
                        <c:v>1284.838</c:v>
                      </c:pt>
                      <c:pt idx="6705">
                        <c:v>1284.838</c:v>
                      </c:pt>
                      <c:pt idx="6706">
                        <c:v>1284.838</c:v>
                      </c:pt>
                      <c:pt idx="6707">
                        <c:v>1284.838</c:v>
                      </c:pt>
                      <c:pt idx="6708">
                        <c:v>1284.838</c:v>
                      </c:pt>
                      <c:pt idx="6709">
                        <c:v>1284.838</c:v>
                      </c:pt>
                      <c:pt idx="6710">
                        <c:v>1284.838</c:v>
                      </c:pt>
                      <c:pt idx="6711">
                        <c:v>1284.838</c:v>
                      </c:pt>
                      <c:pt idx="6712">
                        <c:v>1284.838</c:v>
                      </c:pt>
                      <c:pt idx="6713">
                        <c:v>1284.838</c:v>
                      </c:pt>
                      <c:pt idx="6714">
                        <c:v>1284.838</c:v>
                      </c:pt>
                      <c:pt idx="6715">
                        <c:v>1284.838</c:v>
                      </c:pt>
                      <c:pt idx="6716">
                        <c:v>1284.838</c:v>
                      </c:pt>
                      <c:pt idx="6717">
                        <c:v>1284.838</c:v>
                      </c:pt>
                      <c:pt idx="6718">
                        <c:v>1284.838</c:v>
                      </c:pt>
                      <c:pt idx="6719">
                        <c:v>1284.838</c:v>
                      </c:pt>
                      <c:pt idx="6720">
                        <c:v>1284.838</c:v>
                      </c:pt>
                      <c:pt idx="6721">
                        <c:v>1284.838</c:v>
                      </c:pt>
                      <c:pt idx="6722">
                        <c:v>1284.838</c:v>
                      </c:pt>
                      <c:pt idx="6723">
                        <c:v>1284.838</c:v>
                      </c:pt>
                      <c:pt idx="6724">
                        <c:v>1284.838</c:v>
                      </c:pt>
                      <c:pt idx="6725">
                        <c:v>1284.838</c:v>
                      </c:pt>
                      <c:pt idx="6726">
                        <c:v>1284.838</c:v>
                      </c:pt>
                      <c:pt idx="6727">
                        <c:v>1284.838</c:v>
                      </c:pt>
                      <c:pt idx="6728">
                        <c:v>1284.838</c:v>
                      </c:pt>
                      <c:pt idx="6729">
                        <c:v>1284.838</c:v>
                      </c:pt>
                      <c:pt idx="6730">
                        <c:v>1284.838</c:v>
                      </c:pt>
                      <c:pt idx="6731">
                        <c:v>1284.838</c:v>
                      </c:pt>
                      <c:pt idx="6732">
                        <c:v>1284.838</c:v>
                      </c:pt>
                      <c:pt idx="6733">
                        <c:v>1284.838</c:v>
                      </c:pt>
                      <c:pt idx="6734">
                        <c:v>1284.838</c:v>
                      </c:pt>
                      <c:pt idx="6735">
                        <c:v>1284.838</c:v>
                      </c:pt>
                      <c:pt idx="6736">
                        <c:v>1284.838</c:v>
                      </c:pt>
                      <c:pt idx="6737">
                        <c:v>1284.838</c:v>
                      </c:pt>
                      <c:pt idx="6738">
                        <c:v>1284.838</c:v>
                      </c:pt>
                      <c:pt idx="6739">
                        <c:v>1284.838</c:v>
                      </c:pt>
                      <c:pt idx="6740">
                        <c:v>1284.838</c:v>
                      </c:pt>
                      <c:pt idx="6741">
                        <c:v>1284.838</c:v>
                      </c:pt>
                      <c:pt idx="6742">
                        <c:v>1284.838</c:v>
                      </c:pt>
                      <c:pt idx="6743">
                        <c:v>1284.838</c:v>
                      </c:pt>
                      <c:pt idx="6744">
                        <c:v>1284.838</c:v>
                      </c:pt>
                      <c:pt idx="6745">
                        <c:v>1284.838</c:v>
                      </c:pt>
                      <c:pt idx="6746">
                        <c:v>1284.838</c:v>
                      </c:pt>
                      <c:pt idx="6747">
                        <c:v>1284.838</c:v>
                      </c:pt>
                      <c:pt idx="6748">
                        <c:v>1284.838</c:v>
                      </c:pt>
                      <c:pt idx="6749">
                        <c:v>1284.838</c:v>
                      </c:pt>
                      <c:pt idx="6750">
                        <c:v>1284.838</c:v>
                      </c:pt>
                      <c:pt idx="6751">
                        <c:v>1284.838</c:v>
                      </c:pt>
                      <c:pt idx="6752">
                        <c:v>1284.838</c:v>
                      </c:pt>
                      <c:pt idx="6753">
                        <c:v>1284.838</c:v>
                      </c:pt>
                      <c:pt idx="6754">
                        <c:v>1284.838</c:v>
                      </c:pt>
                      <c:pt idx="6755">
                        <c:v>1284.838</c:v>
                      </c:pt>
                      <c:pt idx="6756">
                        <c:v>1284.838</c:v>
                      </c:pt>
                      <c:pt idx="6757">
                        <c:v>1284.838</c:v>
                      </c:pt>
                      <c:pt idx="6758">
                        <c:v>1284.838</c:v>
                      </c:pt>
                      <c:pt idx="6759">
                        <c:v>1284.838</c:v>
                      </c:pt>
                      <c:pt idx="6760">
                        <c:v>1284.838</c:v>
                      </c:pt>
                      <c:pt idx="6761">
                        <c:v>1284.838</c:v>
                      </c:pt>
                      <c:pt idx="6762">
                        <c:v>1284.838</c:v>
                      </c:pt>
                      <c:pt idx="6763">
                        <c:v>1284.838</c:v>
                      </c:pt>
                      <c:pt idx="6764">
                        <c:v>1284.838</c:v>
                      </c:pt>
                      <c:pt idx="6765">
                        <c:v>1284.838</c:v>
                      </c:pt>
                      <c:pt idx="6766">
                        <c:v>1284.838</c:v>
                      </c:pt>
                      <c:pt idx="6767">
                        <c:v>1284.838</c:v>
                      </c:pt>
                      <c:pt idx="6768">
                        <c:v>1284.838</c:v>
                      </c:pt>
                      <c:pt idx="6769">
                        <c:v>1284.838</c:v>
                      </c:pt>
                      <c:pt idx="6770">
                        <c:v>1284.838</c:v>
                      </c:pt>
                      <c:pt idx="6771">
                        <c:v>1284.838</c:v>
                      </c:pt>
                      <c:pt idx="6772">
                        <c:v>1284.838</c:v>
                      </c:pt>
                      <c:pt idx="6773">
                        <c:v>1284.838</c:v>
                      </c:pt>
                      <c:pt idx="6774">
                        <c:v>1284.838</c:v>
                      </c:pt>
                      <c:pt idx="6775">
                        <c:v>1284.838</c:v>
                      </c:pt>
                      <c:pt idx="6776">
                        <c:v>1284.838</c:v>
                      </c:pt>
                      <c:pt idx="6777">
                        <c:v>1284.838</c:v>
                      </c:pt>
                      <c:pt idx="6778">
                        <c:v>1284.838</c:v>
                      </c:pt>
                      <c:pt idx="6779">
                        <c:v>1284.838</c:v>
                      </c:pt>
                      <c:pt idx="6780">
                        <c:v>1284.838</c:v>
                      </c:pt>
                      <c:pt idx="6781">
                        <c:v>1284.838</c:v>
                      </c:pt>
                      <c:pt idx="6782">
                        <c:v>1284.838</c:v>
                      </c:pt>
                      <c:pt idx="6783">
                        <c:v>1284.838</c:v>
                      </c:pt>
                      <c:pt idx="6784">
                        <c:v>1284.838</c:v>
                      </c:pt>
                      <c:pt idx="6785">
                        <c:v>1284.838</c:v>
                      </c:pt>
                      <c:pt idx="6786">
                        <c:v>1284.838</c:v>
                      </c:pt>
                      <c:pt idx="6787">
                        <c:v>1284.838</c:v>
                      </c:pt>
                      <c:pt idx="6788">
                        <c:v>1284.838</c:v>
                      </c:pt>
                      <c:pt idx="6789">
                        <c:v>1284.838</c:v>
                      </c:pt>
                      <c:pt idx="6790">
                        <c:v>1284.838</c:v>
                      </c:pt>
                      <c:pt idx="6791">
                        <c:v>1284.838</c:v>
                      </c:pt>
                      <c:pt idx="6792">
                        <c:v>1284.838</c:v>
                      </c:pt>
                      <c:pt idx="6793">
                        <c:v>1284.838</c:v>
                      </c:pt>
                      <c:pt idx="6794">
                        <c:v>1284.838</c:v>
                      </c:pt>
                      <c:pt idx="6795">
                        <c:v>1284.838</c:v>
                      </c:pt>
                      <c:pt idx="6796">
                        <c:v>1284.838</c:v>
                      </c:pt>
                      <c:pt idx="6797">
                        <c:v>1284.838</c:v>
                      </c:pt>
                      <c:pt idx="6798">
                        <c:v>1284.838</c:v>
                      </c:pt>
                      <c:pt idx="6799">
                        <c:v>1284.838</c:v>
                      </c:pt>
                      <c:pt idx="6800">
                        <c:v>1284.838</c:v>
                      </c:pt>
                      <c:pt idx="6801">
                        <c:v>1284.838</c:v>
                      </c:pt>
                      <c:pt idx="6802">
                        <c:v>1284.838</c:v>
                      </c:pt>
                      <c:pt idx="6803">
                        <c:v>1284.838</c:v>
                      </c:pt>
                      <c:pt idx="6804">
                        <c:v>1284.838</c:v>
                      </c:pt>
                      <c:pt idx="6805">
                        <c:v>1284.838</c:v>
                      </c:pt>
                      <c:pt idx="6806">
                        <c:v>1284.838</c:v>
                      </c:pt>
                      <c:pt idx="6807">
                        <c:v>1284.838</c:v>
                      </c:pt>
                      <c:pt idx="6808">
                        <c:v>1284.838</c:v>
                      </c:pt>
                      <c:pt idx="6809">
                        <c:v>1284.838</c:v>
                      </c:pt>
                      <c:pt idx="6810">
                        <c:v>1284.838</c:v>
                      </c:pt>
                      <c:pt idx="6811">
                        <c:v>1284.838</c:v>
                      </c:pt>
                      <c:pt idx="6812">
                        <c:v>1284.838</c:v>
                      </c:pt>
                      <c:pt idx="6813">
                        <c:v>1284.838</c:v>
                      </c:pt>
                      <c:pt idx="6814">
                        <c:v>1284.838</c:v>
                      </c:pt>
                      <c:pt idx="6815">
                        <c:v>1284.838</c:v>
                      </c:pt>
                      <c:pt idx="6816">
                        <c:v>1284.838</c:v>
                      </c:pt>
                      <c:pt idx="6817">
                        <c:v>1284.838</c:v>
                      </c:pt>
                      <c:pt idx="6818">
                        <c:v>1284.838</c:v>
                      </c:pt>
                      <c:pt idx="6819">
                        <c:v>1284.838</c:v>
                      </c:pt>
                      <c:pt idx="6820">
                        <c:v>1284.838</c:v>
                      </c:pt>
                      <c:pt idx="6821">
                        <c:v>1284.838</c:v>
                      </c:pt>
                      <c:pt idx="6822">
                        <c:v>1284.838</c:v>
                      </c:pt>
                      <c:pt idx="6823">
                        <c:v>1284.838</c:v>
                      </c:pt>
                      <c:pt idx="6824">
                        <c:v>1284.838</c:v>
                      </c:pt>
                      <c:pt idx="6825">
                        <c:v>1284.838</c:v>
                      </c:pt>
                      <c:pt idx="6826">
                        <c:v>1284.838</c:v>
                      </c:pt>
                      <c:pt idx="6827">
                        <c:v>1284.838</c:v>
                      </c:pt>
                      <c:pt idx="6828">
                        <c:v>1284.838</c:v>
                      </c:pt>
                      <c:pt idx="6829">
                        <c:v>1284.838</c:v>
                      </c:pt>
                      <c:pt idx="6830">
                        <c:v>1284.838</c:v>
                      </c:pt>
                      <c:pt idx="6831">
                        <c:v>1284.838</c:v>
                      </c:pt>
                      <c:pt idx="6832">
                        <c:v>1284.838</c:v>
                      </c:pt>
                      <c:pt idx="6833">
                        <c:v>1284.838</c:v>
                      </c:pt>
                      <c:pt idx="6834">
                        <c:v>1284.838</c:v>
                      </c:pt>
                      <c:pt idx="6835">
                        <c:v>1284.838</c:v>
                      </c:pt>
                      <c:pt idx="6836">
                        <c:v>1284.838</c:v>
                      </c:pt>
                      <c:pt idx="6837">
                        <c:v>1284.838</c:v>
                      </c:pt>
                      <c:pt idx="6838">
                        <c:v>1284.838</c:v>
                      </c:pt>
                      <c:pt idx="6839">
                        <c:v>1284.838</c:v>
                      </c:pt>
                      <c:pt idx="6840">
                        <c:v>1284.838</c:v>
                      </c:pt>
                      <c:pt idx="6841">
                        <c:v>1284.838</c:v>
                      </c:pt>
                      <c:pt idx="6842">
                        <c:v>1284.838</c:v>
                      </c:pt>
                      <c:pt idx="6843">
                        <c:v>1284.838</c:v>
                      </c:pt>
                      <c:pt idx="6844">
                        <c:v>1284.838</c:v>
                      </c:pt>
                      <c:pt idx="6845">
                        <c:v>1284.838</c:v>
                      </c:pt>
                      <c:pt idx="6846">
                        <c:v>1284.838</c:v>
                      </c:pt>
                      <c:pt idx="6847">
                        <c:v>1284.838</c:v>
                      </c:pt>
                      <c:pt idx="6848">
                        <c:v>1284.838</c:v>
                      </c:pt>
                      <c:pt idx="6849">
                        <c:v>1284.838</c:v>
                      </c:pt>
                      <c:pt idx="6850">
                        <c:v>1284.838</c:v>
                      </c:pt>
                      <c:pt idx="6851">
                        <c:v>1284.838</c:v>
                      </c:pt>
                      <c:pt idx="6852">
                        <c:v>1284.838</c:v>
                      </c:pt>
                      <c:pt idx="6853">
                        <c:v>1284.838</c:v>
                      </c:pt>
                      <c:pt idx="6854">
                        <c:v>1284.838</c:v>
                      </c:pt>
                      <c:pt idx="6855">
                        <c:v>1284.838</c:v>
                      </c:pt>
                      <c:pt idx="6856">
                        <c:v>1284.838</c:v>
                      </c:pt>
                      <c:pt idx="6857">
                        <c:v>1284.838</c:v>
                      </c:pt>
                      <c:pt idx="6858">
                        <c:v>1284.838</c:v>
                      </c:pt>
                      <c:pt idx="6859">
                        <c:v>1284.838</c:v>
                      </c:pt>
                      <c:pt idx="6860">
                        <c:v>1284.838</c:v>
                      </c:pt>
                      <c:pt idx="6861">
                        <c:v>1284.838</c:v>
                      </c:pt>
                      <c:pt idx="6862">
                        <c:v>1284.838</c:v>
                      </c:pt>
                      <c:pt idx="6863">
                        <c:v>1284.838</c:v>
                      </c:pt>
                      <c:pt idx="6864">
                        <c:v>1284.838</c:v>
                      </c:pt>
                      <c:pt idx="6865">
                        <c:v>1284.838</c:v>
                      </c:pt>
                      <c:pt idx="6866">
                        <c:v>1284.838</c:v>
                      </c:pt>
                      <c:pt idx="6867">
                        <c:v>1284.838</c:v>
                      </c:pt>
                      <c:pt idx="6868">
                        <c:v>1284.838</c:v>
                      </c:pt>
                      <c:pt idx="6869">
                        <c:v>1284.838</c:v>
                      </c:pt>
                      <c:pt idx="6870">
                        <c:v>1284.838</c:v>
                      </c:pt>
                      <c:pt idx="6871">
                        <c:v>1284.838</c:v>
                      </c:pt>
                      <c:pt idx="6872">
                        <c:v>1284.838</c:v>
                      </c:pt>
                      <c:pt idx="6873">
                        <c:v>1284.838</c:v>
                      </c:pt>
                      <c:pt idx="6874">
                        <c:v>1284.838</c:v>
                      </c:pt>
                      <c:pt idx="6875">
                        <c:v>1284.838</c:v>
                      </c:pt>
                      <c:pt idx="6876">
                        <c:v>1284.838</c:v>
                      </c:pt>
                      <c:pt idx="6877">
                        <c:v>1284.838</c:v>
                      </c:pt>
                      <c:pt idx="6878">
                        <c:v>1284.838</c:v>
                      </c:pt>
                      <c:pt idx="6879">
                        <c:v>1284.838</c:v>
                      </c:pt>
                      <c:pt idx="6880">
                        <c:v>1284.838</c:v>
                      </c:pt>
                      <c:pt idx="6881">
                        <c:v>1284.838</c:v>
                      </c:pt>
                      <c:pt idx="6882">
                        <c:v>1284.838</c:v>
                      </c:pt>
                      <c:pt idx="6883">
                        <c:v>1284.838</c:v>
                      </c:pt>
                      <c:pt idx="6884">
                        <c:v>1284.838</c:v>
                      </c:pt>
                      <c:pt idx="6885">
                        <c:v>1284.838</c:v>
                      </c:pt>
                      <c:pt idx="6886">
                        <c:v>1284.838</c:v>
                      </c:pt>
                      <c:pt idx="6887">
                        <c:v>1284.838</c:v>
                      </c:pt>
                      <c:pt idx="6888">
                        <c:v>1284.838</c:v>
                      </c:pt>
                      <c:pt idx="6889">
                        <c:v>1284.838</c:v>
                      </c:pt>
                      <c:pt idx="6890">
                        <c:v>1284.838</c:v>
                      </c:pt>
                      <c:pt idx="6891">
                        <c:v>1284.838</c:v>
                      </c:pt>
                      <c:pt idx="6892">
                        <c:v>1284.838</c:v>
                      </c:pt>
                      <c:pt idx="6893">
                        <c:v>1284.838</c:v>
                      </c:pt>
                      <c:pt idx="6894">
                        <c:v>1284.838</c:v>
                      </c:pt>
                      <c:pt idx="6895">
                        <c:v>1284.838</c:v>
                      </c:pt>
                      <c:pt idx="6896">
                        <c:v>1284.838</c:v>
                      </c:pt>
                      <c:pt idx="6897">
                        <c:v>1284.838</c:v>
                      </c:pt>
                      <c:pt idx="6898">
                        <c:v>1284.838</c:v>
                      </c:pt>
                      <c:pt idx="6899">
                        <c:v>1284.838</c:v>
                      </c:pt>
                      <c:pt idx="6900">
                        <c:v>1284.838</c:v>
                      </c:pt>
                      <c:pt idx="6901">
                        <c:v>1284.838</c:v>
                      </c:pt>
                      <c:pt idx="6902">
                        <c:v>1284.838</c:v>
                      </c:pt>
                      <c:pt idx="6903">
                        <c:v>1284.838</c:v>
                      </c:pt>
                      <c:pt idx="6904">
                        <c:v>1284.838</c:v>
                      </c:pt>
                      <c:pt idx="6905">
                        <c:v>1284.838</c:v>
                      </c:pt>
                      <c:pt idx="6906">
                        <c:v>1284.838</c:v>
                      </c:pt>
                      <c:pt idx="6907">
                        <c:v>1284.838</c:v>
                      </c:pt>
                      <c:pt idx="6908">
                        <c:v>1284.838</c:v>
                      </c:pt>
                      <c:pt idx="6909">
                        <c:v>1284.838</c:v>
                      </c:pt>
                      <c:pt idx="6910">
                        <c:v>1284.838</c:v>
                      </c:pt>
                      <c:pt idx="6911">
                        <c:v>1284.838</c:v>
                      </c:pt>
                      <c:pt idx="6912">
                        <c:v>1284.838</c:v>
                      </c:pt>
                      <c:pt idx="6913">
                        <c:v>1284.838</c:v>
                      </c:pt>
                      <c:pt idx="6914">
                        <c:v>1284.838</c:v>
                      </c:pt>
                      <c:pt idx="6915">
                        <c:v>1284.838</c:v>
                      </c:pt>
                      <c:pt idx="6916">
                        <c:v>1284.838</c:v>
                      </c:pt>
                      <c:pt idx="6917">
                        <c:v>1284.838</c:v>
                      </c:pt>
                      <c:pt idx="6918">
                        <c:v>1284.838</c:v>
                      </c:pt>
                      <c:pt idx="6919">
                        <c:v>1284.838</c:v>
                      </c:pt>
                      <c:pt idx="6920">
                        <c:v>1284.838</c:v>
                      </c:pt>
                      <c:pt idx="6921">
                        <c:v>1284.838</c:v>
                      </c:pt>
                      <c:pt idx="6922">
                        <c:v>1284.838</c:v>
                      </c:pt>
                      <c:pt idx="6923">
                        <c:v>1284.838</c:v>
                      </c:pt>
                      <c:pt idx="6924">
                        <c:v>1284.838</c:v>
                      </c:pt>
                      <c:pt idx="6925">
                        <c:v>1284.838</c:v>
                      </c:pt>
                      <c:pt idx="6926">
                        <c:v>1284.838</c:v>
                      </c:pt>
                      <c:pt idx="6927">
                        <c:v>1284.838</c:v>
                      </c:pt>
                      <c:pt idx="6928">
                        <c:v>1284.838</c:v>
                      </c:pt>
                      <c:pt idx="6929">
                        <c:v>1284.838</c:v>
                      </c:pt>
                      <c:pt idx="6930">
                        <c:v>1284.838</c:v>
                      </c:pt>
                      <c:pt idx="6931">
                        <c:v>1284.838</c:v>
                      </c:pt>
                      <c:pt idx="6932">
                        <c:v>1284.838</c:v>
                      </c:pt>
                      <c:pt idx="6933">
                        <c:v>1284.838</c:v>
                      </c:pt>
                      <c:pt idx="6934">
                        <c:v>1284.838</c:v>
                      </c:pt>
                      <c:pt idx="6935">
                        <c:v>1284.838</c:v>
                      </c:pt>
                      <c:pt idx="6936">
                        <c:v>1284.838</c:v>
                      </c:pt>
                      <c:pt idx="6937">
                        <c:v>1284.838</c:v>
                      </c:pt>
                      <c:pt idx="6938">
                        <c:v>1284.838</c:v>
                      </c:pt>
                      <c:pt idx="6939">
                        <c:v>1284.838</c:v>
                      </c:pt>
                      <c:pt idx="6940">
                        <c:v>1284.838</c:v>
                      </c:pt>
                      <c:pt idx="6941">
                        <c:v>1284.838</c:v>
                      </c:pt>
                      <c:pt idx="6942">
                        <c:v>1284.838</c:v>
                      </c:pt>
                      <c:pt idx="6943">
                        <c:v>1284.838</c:v>
                      </c:pt>
                      <c:pt idx="6944">
                        <c:v>1284.838</c:v>
                      </c:pt>
                      <c:pt idx="6945">
                        <c:v>1284.838</c:v>
                      </c:pt>
                      <c:pt idx="6946">
                        <c:v>1284.838</c:v>
                      </c:pt>
                      <c:pt idx="6947">
                        <c:v>1284.838</c:v>
                      </c:pt>
                      <c:pt idx="6948">
                        <c:v>1284.838</c:v>
                      </c:pt>
                      <c:pt idx="6949">
                        <c:v>1284.838</c:v>
                      </c:pt>
                      <c:pt idx="6950">
                        <c:v>1284.838</c:v>
                      </c:pt>
                      <c:pt idx="6951">
                        <c:v>1284.838</c:v>
                      </c:pt>
                      <c:pt idx="6952">
                        <c:v>1284.838</c:v>
                      </c:pt>
                      <c:pt idx="6953">
                        <c:v>1284.838</c:v>
                      </c:pt>
                      <c:pt idx="6954">
                        <c:v>1284.838</c:v>
                      </c:pt>
                      <c:pt idx="6955">
                        <c:v>1284.838</c:v>
                      </c:pt>
                      <c:pt idx="6956">
                        <c:v>1284.838</c:v>
                      </c:pt>
                      <c:pt idx="6957">
                        <c:v>1284.838</c:v>
                      </c:pt>
                      <c:pt idx="6958">
                        <c:v>1284.838</c:v>
                      </c:pt>
                      <c:pt idx="6959">
                        <c:v>1284.838</c:v>
                      </c:pt>
                      <c:pt idx="6960">
                        <c:v>1284.838</c:v>
                      </c:pt>
                      <c:pt idx="6961">
                        <c:v>1284.838</c:v>
                      </c:pt>
                      <c:pt idx="6962">
                        <c:v>1284.838</c:v>
                      </c:pt>
                      <c:pt idx="6963">
                        <c:v>1284.838</c:v>
                      </c:pt>
                      <c:pt idx="6964">
                        <c:v>1284.838</c:v>
                      </c:pt>
                      <c:pt idx="6965">
                        <c:v>1284.838</c:v>
                      </c:pt>
                      <c:pt idx="6966">
                        <c:v>1284.838</c:v>
                      </c:pt>
                      <c:pt idx="6967">
                        <c:v>1284.838</c:v>
                      </c:pt>
                      <c:pt idx="6968">
                        <c:v>1284.838</c:v>
                      </c:pt>
                      <c:pt idx="6969">
                        <c:v>1284.838</c:v>
                      </c:pt>
                      <c:pt idx="6970">
                        <c:v>1284.838</c:v>
                      </c:pt>
                      <c:pt idx="6971">
                        <c:v>1284.838</c:v>
                      </c:pt>
                      <c:pt idx="6972">
                        <c:v>1284.838</c:v>
                      </c:pt>
                      <c:pt idx="6973">
                        <c:v>1284.838</c:v>
                      </c:pt>
                      <c:pt idx="6974">
                        <c:v>1284.838</c:v>
                      </c:pt>
                      <c:pt idx="6975">
                        <c:v>1284.838</c:v>
                      </c:pt>
                      <c:pt idx="6976">
                        <c:v>1284.838</c:v>
                      </c:pt>
                      <c:pt idx="6977">
                        <c:v>1284.838</c:v>
                      </c:pt>
                      <c:pt idx="6978">
                        <c:v>1284.838</c:v>
                      </c:pt>
                      <c:pt idx="6979">
                        <c:v>1284.838</c:v>
                      </c:pt>
                      <c:pt idx="6980">
                        <c:v>1284.838</c:v>
                      </c:pt>
                      <c:pt idx="6981">
                        <c:v>1284.838</c:v>
                      </c:pt>
                      <c:pt idx="6982">
                        <c:v>1284.838</c:v>
                      </c:pt>
                      <c:pt idx="6983">
                        <c:v>1284.838</c:v>
                      </c:pt>
                      <c:pt idx="6984">
                        <c:v>1284.838</c:v>
                      </c:pt>
                      <c:pt idx="6985">
                        <c:v>1284.838</c:v>
                      </c:pt>
                      <c:pt idx="6986">
                        <c:v>1284.838</c:v>
                      </c:pt>
                      <c:pt idx="6987">
                        <c:v>1284.838</c:v>
                      </c:pt>
                      <c:pt idx="6988">
                        <c:v>1284.838</c:v>
                      </c:pt>
                      <c:pt idx="6989">
                        <c:v>1284.838</c:v>
                      </c:pt>
                      <c:pt idx="6990">
                        <c:v>1284.838</c:v>
                      </c:pt>
                      <c:pt idx="6991">
                        <c:v>1284.838</c:v>
                      </c:pt>
                      <c:pt idx="6992">
                        <c:v>1284.838</c:v>
                      </c:pt>
                      <c:pt idx="6993">
                        <c:v>1284.838</c:v>
                      </c:pt>
                      <c:pt idx="6994">
                        <c:v>1284.838</c:v>
                      </c:pt>
                      <c:pt idx="6995">
                        <c:v>1284.838</c:v>
                      </c:pt>
                      <c:pt idx="6996">
                        <c:v>1284.838</c:v>
                      </c:pt>
                      <c:pt idx="6997">
                        <c:v>1284.83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2CA-43D1-9B5E-DB9227CD45FB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F$3</c15:sqref>
                        </c15:formulaRef>
                      </c:ext>
                    </c:extLst>
                    <c:strCache>
                      <c:ptCount val="1"/>
                      <c:pt idx="0">
                        <c:v>SURJEK_AMMONIA_FLOW_RATE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F$4:$F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0</c:v>
                      </c:pt>
                      <c:pt idx="1151">
                        <c:v>0</c:v>
                      </c:pt>
                      <c:pt idx="1152">
                        <c:v>0</c:v>
                      </c:pt>
                      <c:pt idx="1153">
                        <c:v>0</c:v>
                      </c:pt>
                      <c:pt idx="1154">
                        <c:v>0</c:v>
                      </c:pt>
                      <c:pt idx="1155">
                        <c:v>0</c:v>
                      </c:pt>
                      <c:pt idx="1156">
                        <c:v>0</c:v>
                      </c:pt>
                      <c:pt idx="1157">
                        <c:v>0</c:v>
                      </c:pt>
                      <c:pt idx="1158">
                        <c:v>0</c:v>
                      </c:pt>
                      <c:pt idx="1159">
                        <c:v>0</c:v>
                      </c:pt>
                      <c:pt idx="1160">
                        <c:v>0</c:v>
                      </c:pt>
                      <c:pt idx="1161">
                        <c:v>0</c:v>
                      </c:pt>
                      <c:pt idx="1162">
                        <c:v>0</c:v>
                      </c:pt>
                      <c:pt idx="1163">
                        <c:v>0</c:v>
                      </c:pt>
                      <c:pt idx="1164">
                        <c:v>0</c:v>
                      </c:pt>
                      <c:pt idx="1165">
                        <c:v>0</c:v>
                      </c:pt>
                      <c:pt idx="1166">
                        <c:v>0</c:v>
                      </c:pt>
                      <c:pt idx="1167">
                        <c:v>0</c:v>
                      </c:pt>
                      <c:pt idx="1168">
                        <c:v>0</c:v>
                      </c:pt>
                      <c:pt idx="1169">
                        <c:v>0</c:v>
                      </c:pt>
                      <c:pt idx="1170">
                        <c:v>0</c:v>
                      </c:pt>
                      <c:pt idx="1171">
                        <c:v>0</c:v>
                      </c:pt>
                      <c:pt idx="1172">
                        <c:v>0</c:v>
                      </c:pt>
                      <c:pt idx="1173">
                        <c:v>0</c:v>
                      </c:pt>
                      <c:pt idx="1174">
                        <c:v>0</c:v>
                      </c:pt>
                      <c:pt idx="1175">
                        <c:v>0</c:v>
                      </c:pt>
                      <c:pt idx="1176">
                        <c:v>0</c:v>
                      </c:pt>
                      <c:pt idx="1177">
                        <c:v>0</c:v>
                      </c:pt>
                      <c:pt idx="1178">
                        <c:v>0</c:v>
                      </c:pt>
                      <c:pt idx="1179">
                        <c:v>0</c:v>
                      </c:pt>
                      <c:pt idx="1180">
                        <c:v>0</c:v>
                      </c:pt>
                      <c:pt idx="1181">
                        <c:v>0</c:v>
                      </c:pt>
                      <c:pt idx="1182">
                        <c:v>0</c:v>
                      </c:pt>
                      <c:pt idx="1183">
                        <c:v>0</c:v>
                      </c:pt>
                      <c:pt idx="1184">
                        <c:v>0</c:v>
                      </c:pt>
                      <c:pt idx="1185">
                        <c:v>0</c:v>
                      </c:pt>
                      <c:pt idx="1186">
                        <c:v>0</c:v>
                      </c:pt>
                      <c:pt idx="1187">
                        <c:v>0</c:v>
                      </c:pt>
                      <c:pt idx="1188">
                        <c:v>0</c:v>
                      </c:pt>
                      <c:pt idx="1189">
                        <c:v>0</c:v>
                      </c:pt>
                      <c:pt idx="1190">
                        <c:v>0</c:v>
                      </c:pt>
                      <c:pt idx="1191">
                        <c:v>0</c:v>
                      </c:pt>
                      <c:pt idx="1192">
                        <c:v>0</c:v>
                      </c:pt>
                      <c:pt idx="1193">
                        <c:v>0</c:v>
                      </c:pt>
                      <c:pt idx="1194">
                        <c:v>0</c:v>
                      </c:pt>
                      <c:pt idx="1195">
                        <c:v>0</c:v>
                      </c:pt>
                      <c:pt idx="1196">
                        <c:v>0</c:v>
                      </c:pt>
                      <c:pt idx="1197">
                        <c:v>0</c:v>
                      </c:pt>
                      <c:pt idx="1198">
                        <c:v>0</c:v>
                      </c:pt>
                      <c:pt idx="1199">
                        <c:v>0</c:v>
                      </c:pt>
                      <c:pt idx="1200">
                        <c:v>0</c:v>
                      </c:pt>
                      <c:pt idx="1201">
                        <c:v>0</c:v>
                      </c:pt>
                      <c:pt idx="1202">
                        <c:v>0</c:v>
                      </c:pt>
                      <c:pt idx="1203">
                        <c:v>0</c:v>
                      </c:pt>
                      <c:pt idx="1204">
                        <c:v>0</c:v>
                      </c:pt>
                      <c:pt idx="1205">
                        <c:v>0</c:v>
                      </c:pt>
                      <c:pt idx="1206">
                        <c:v>0</c:v>
                      </c:pt>
                      <c:pt idx="1207">
                        <c:v>0</c:v>
                      </c:pt>
                      <c:pt idx="1208">
                        <c:v>0</c:v>
                      </c:pt>
                      <c:pt idx="1209">
                        <c:v>0</c:v>
                      </c:pt>
                      <c:pt idx="1210">
                        <c:v>0</c:v>
                      </c:pt>
                      <c:pt idx="1211">
                        <c:v>0</c:v>
                      </c:pt>
                      <c:pt idx="1212">
                        <c:v>0</c:v>
                      </c:pt>
                      <c:pt idx="1213">
                        <c:v>0</c:v>
                      </c:pt>
                      <c:pt idx="1214">
                        <c:v>0</c:v>
                      </c:pt>
                      <c:pt idx="1215">
                        <c:v>0</c:v>
                      </c:pt>
                      <c:pt idx="1216">
                        <c:v>0</c:v>
                      </c:pt>
                      <c:pt idx="1217">
                        <c:v>0</c:v>
                      </c:pt>
                      <c:pt idx="1218">
                        <c:v>0</c:v>
                      </c:pt>
                      <c:pt idx="1219">
                        <c:v>0</c:v>
                      </c:pt>
                      <c:pt idx="1220">
                        <c:v>0</c:v>
                      </c:pt>
                      <c:pt idx="1221">
                        <c:v>0</c:v>
                      </c:pt>
                      <c:pt idx="1222">
                        <c:v>0</c:v>
                      </c:pt>
                      <c:pt idx="1223">
                        <c:v>0</c:v>
                      </c:pt>
                      <c:pt idx="1224">
                        <c:v>0</c:v>
                      </c:pt>
                      <c:pt idx="1225">
                        <c:v>0</c:v>
                      </c:pt>
                      <c:pt idx="1226">
                        <c:v>0</c:v>
                      </c:pt>
                      <c:pt idx="1227">
                        <c:v>0</c:v>
                      </c:pt>
                      <c:pt idx="1228">
                        <c:v>0</c:v>
                      </c:pt>
                      <c:pt idx="1229">
                        <c:v>0</c:v>
                      </c:pt>
                      <c:pt idx="1230">
                        <c:v>0</c:v>
                      </c:pt>
                      <c:pt idx="1231">
                        <c:v>0</c:v>
                      </c:pt>
                      <c:pt idx="1232">
                        <c:v>0</c:v>
                      </c:pt>
                      <c:pt idx="1233">
                        <c:v>0</c:v>
                      </c:pt>
                      <c:pt idx="1234">
                        <c:v>0</c:v>
                      </c:pt>
                      <c:pt idx="1235">
                        <c:v>0</c:v>
                      </c:pt>
                      <c:pt idx="1236">
                        <c:v>0</c:v>
                      </c:pt>
                      <c:pt idx="1237">
                        <c:v>0</c:v>
                      </c:pt>
                      <c:pt idx="1238">
                        <c:v>0</c:v>
                      </c:pt>
                      <c:pt idx="1239">
                        <c:v>0</c:v>
                      </c:pt>
                      <c:pt idx="1240">
                        <c:v>0</c:v>
                      </c:pt>
                      <c:pt idx="1241">
                        <c:v>0</c:v>
                      </c:pt>
                      <c:pt idx="1242">
                        <c:v>0</c:v>
                      </c:pt>
                      <c:pt idx="1243">
                        <c:v>0</c:v>
                      </c:pt>
                      <c:pt idx="1244">
                        <c:v>0</c:v>
                      </c:pt>
                      <c:pt idx="1245">
                        <c:v>0</c:v>
                      </c:pt>
                      <c:pt idx="1246">
                        <c:v>0</c:v>
                      </c:pt>
                      <c:pt idx="1247">
                        <c:v>0</c:v>
                      </c:pt>
                      <c:pt idx="1248">
                        <c:v>0</c:v>
                      </c:pt>
                      <c:pt idx="1249">
                        <c:v>0</c:v>
                      </c:pt>
                      <c:pt idx="1250">
                        <c:v>0</c:v>
                      </c:pt>
                      <c:pt idx="1251">
                        <c:v>0</c:v>
                      </c:pt>
                      <c:pt idx="1252">
                        <c:v>0</c:v>
                      </c:pt>
                      <c:pt idx="1253">
                        <c:v>0</c:v>
                      </c:pt>
                      <c:pt idx="1254">
                        <c:v>0</c:v>
                      </c:pt>
                      <c:pt idx="1255">
                        <c:v>0</c:v>
                      </c:pt>
                      <c:pt idx="1256">
                        <c:v>0</c:v>
                      </c:pt>
                      <c:pt idx="1257">
                        <c:v>0</c:v>
                      </c:pt>
                      <c:pt idx="1258">
                        <c:v>0</c:v>
                      </c:pt>
                      <c:pt idx="1259">
                        <c:v>0</c:v>
                      </c:pt>
                      <c:pt idx="1260">
                        <c:v>0</c:v>
                      </c:pt>
                      <c:pt idx="1261">
                        <c:v>0</c:v>
                      </c:pt>
                      <c:pt idx="1262">
                        <c:v>0</c:v>
                      </c:pt>
                      <c:pt idx="1263">
                        <c:v>0</c:v>
                      </c:pt>
                      <c:pt idx="1264">
                        <c:v>0</c:v>
                      </c:pt>
                      <c:pt idx="1265">
                        <c:v>0</c:v>
                      </c:pt>
                      <c:pt idx="1266">
                        <c:v>0</c:v>
                      </c:pt>
                      <c:pt idx="1267">
                        <c:v>0</c:v>
                      </c:pt>
                      <c:pt idx="1268">
                        <c:v>0</c:v>
                      </c:pt>
                      <c:pt idx="1269">
                        <c:v>0</c:v>
                      </c:pt>
                      <c:pt idx="1270">
                        <c:v>0</c:v>
                      </c:pt>
                      <c:pt idx="1271">
                        <c:v>0</c:v>
                      </c:pt>
                      <c:pt idx="1272">
                        <c:v>0</c:v>
                      </c:pt>
                      <c:pt idx="1273">
                        <c:v>0</c:v>
                      </c:pt>
                      <c:pt idx="1274">
                        <c:v>0</c:v>
                      </c:pt>
                      <c:pt idx="1275">
                        <c:v>0</c:v>
                      </c:pt>
                      <c:pt idx="1276">
                        <c:v>0</c:v>
                      </c:pt>
                      <c:pt idx="1277">
                        <c:v>0</c:v>
                      </c:pt>
                      <c:pt idx="1278">
                        <c:v>0</c:v>
                      </c:pt>
                      <c:pt idx="1279">
                        <c:v>0</c:v>
                      </c:pt>
                      <c:pt idx="1280">
                        <c:v>0</c:v>
                      </c:pt>
                      <c:pt idx="1281">
                        <c:v>0</c:v>
                      </c:pt>
                      <c:pt idx="1282">
                        <c:v>0</c:v>
                      </c:pt>
                      <c:pt idx="1283">
                        <c:v>0</c:v>
                      </c:pt>
                      <c:pt idx="1284">
                        <c:v>0</c:v>
                      </c:pt>
                      <c:pt idx="1285">
                        <c:v>0</c:v>
                      </c:pt>
                      <c:pt idx="1286">
                        <c:v>0</c:v>
                      </c:pt>
                      <c:pt idx="1287">
                        <c:v>0</c:v>
                      </c:pt>
                      <c:pt idx="1288">
                        <c:v>0</c:v>
                      </c:pt>
                      <c:pt idx="1289">
                        <c:v>0</c:v>
                      </c:pt>
                      <c:pt idx="1290">
                        <c:v>0</c:v>
                      </c:pt>
                      <c:pt idx="1291">
                        <c:v>0</c:v>
                      </c:pt>
                      <c:pt idx="1292">
                        <c:v>0</c:v>
                      </c:pt>
                      <c:pt idx="1293">
                        <c:v>0</c:v>
                      </c:pt>
                      <c:pt idx="1294">
                        <c:v>0</c:v>
                      </c:pt>
                      <c:pt idx="1295">
                        <c:v>0</c:v>
                      </c:pt>
                      <c:pt idx="1296">
                        <c:v>0</c:v>
                      </c:pt>
                      <c:pt idx="1297">
                        <c:v>0</c:v>
                      </c:pt>
                      <c:pt idx="1298">
                        <c:v>0</c:v>
                      </c:pt>
                      <c:pt idx="1299">
                        <c:v>0</c:v>
                      </c:pt>
                      <c:pt idx="1300">
                        <c:v>0</c:v>
                      </c:pt>
                      <c:pt idx="1301">
                        <c:v>0</c:v>
                      </c:pt>
                      <c:pt idx="1302">
                        <c:v>0</c:v>
                      </c:pt>
                      <c:pt idx="1303">
                        <c:v>0</c:v>
                      </c:pt>
                      <c:pt idx="1304">
                        <c:v>0</c:v>
                      </c:pt>
                      <c:pt idx="1305">
                        <c:v>0</c:v>
                      </c:pt>
                      <c:pt idx="1306">
                        <c:v>0</c:v>
                      </c:pt>
                      <c:pt idx="1307">
                        <c:v>0</c:v>
                      </c:pt>
                      <c:pt idx="1308">
                        <c:v>0</c:v>
                      </c:pt>
                      <c:pt idx="1309">
                        <c:v>0</c:v>
                      </c:pt>
                      <c:pt idx="1310">
                        <c:v>0</c:v>
                      </c:pt>
                      <c:pt idx="1311">
                        <c:v>0</c:v>
                      </c:pt>
                      <c:pt idx="1312">
                        <c:v>0</c:v>
                      </c:pt>
                      <c:pt idx="1313">
                        <c:v>0</c:v>
                      </c:pt>
                      <c:pt idx="1314">
                        <c:v>0</c:v>
                      </c:pt>
                      <c:pt idx="1315">
                        <c:v>0</c:v>
                      </c:pt>
                      <c:pt idx="1316">
                        <c:v>0</c:v>
                      </c:pt>
                      <c:pt idx="1317">
                        <c:v>0</c:v>
                      </c:pt>
                      <c:pt idx="1318">
                        <c:v>0</c:v>
                      </c:pt>
                      <c:pt idx="1319">
                        <c:v>0</c:v>
                      </c:pt>
                      <c:pt idx="1320">
                        <c:v>0</c:v>
                      </c:pt>
                      <c:pt idx="1321">
                        <c:v>0</c:v>
                      </c:pt>
                      <c:pt idx="1322">
                        <c:v>0</c:v>
                      </c:pt>
                      <c:pt idx="1323">
                        <c:v>0</c:v>
                      </c:pt>
                      <c:pt idx="1324">
                        <c:v>0</c:v>
                      </c:pt>
                      <c:pt idx="1325">
                        <c:v>0</c:v>
                      </c:pt>
                      <c:pt idx="1326">
                        <c:v>0</c:v>
                      </c:pt>
                      <c:pt idx="1327">
                        <c:v>0</c:v>
                      </c:pt>
                      <c:pt idx="1328">
                        <c:v>0</c:v>
                      </c:pt>
                      <c:pt idx="1329">
                        <c:v>0</c:v>
                      </c:pt>
                      <c:pt idx="1330">
                        <c:v>0</c:v>
                      </c:pt>
                      <c:pt idx="1331">
                        <c:v>0</c:v>
                      </c:pt>
                      <c:pt idx="1332">
                        <c:v>0</c:v>
                      </c:pt>
                      <c:pt idx="1333">
                        <c:v>0</c:v>
                      </c:pt>
                      <c:pt idx="1334">
                        <c:v>0</c:v>
                      </c:pt>
                      <c:pt idx="1335">
                        <c:v>0</c:v>
                      </c:pt>
                      <c:pt idx="1336">
                        <c:v>0</c:v>
                      </c:pt>
                      <c:pt idx="1337">
                        <c:v>0</c:v>
                      </c:pt>
                      <c:pt idx="1338">
                        <c:v>0</c:v>
                      </c:pt>
                      <c:pt idx="1339">
                        <c:v>0</c:v>
                      </c:pt>
                      <c:pt idx="1340">
                        <c:v>0</c:v>
                      </c:pt>
                      <c:pt idx="1341">
                        <c:v>0</c:v>
                      </c:pt>
                      <c:pt idx="1342">
                        <c:v>0</c:v>
                      </c:pt>
                      <c:pt idx="1343">
                        <c:v>0</c:v>
                      </c:pt>
                      <c:pt idx="1344">
                        <c:v>0</c:v>
                      </c:pt>
                      <c:pt idx="1345">
                        <c:v>0</c:v>
                      </c:pt>
                      <c:pt idx="1346">
                        <c:v>0</c:v>
                      </c:pt>
                      <c:pt idx="1347">
                        <c:v>0</c:v>
                      </c:pt>
                      <c:pt idx="1348">
                        <c:v>0</c:v>
                      </c:pt>
                      <c:pt idx="1349">
                        <c:v>0</c:v>
                      </c:pt>
                      <c:pt idx="1350">
                        <c:v>0</c:v>
                      </c:pt>
                      <c:pt idx="1351">
                        <c:v>0</c:v>
                      </c:pt>
                      <c:pt idx="1352">
                        <c:v>0</c:v>
                      </c:pt>
                      <c:pt idx="1353">
                        <c:v>0</c:v>
                      </c:pt>
                      <c:pt idx="1354">
                        <c:v>0</c:v>
                      </c:pt>
                      <c:pt idx="1355">
                        <c:v>0</c:v>
                      </c:pt>
                      <c:pt idx="1356">
                        <c:v>0</c:v>
                      </c:pt>
                      <c:pt idx="1357">
                        <c:v>0</c:v>
                      </c:pt>
                      <c:pt idx="1358">
                        <c:v>0</c:v>
                      </c:pt>
                      <c:pt idx="1359">
                        <c:v>0</c:v>
                      </c:pt>
                      <c:pt idx="1360">
                        <c:v>0</c:v>
                      </c:pt>
                      <c:pt idx="1361">
                        <c:v>0</c:v>
                      </c:pt>
                      <c:pt idx="1362">
                        <c:v>0</c:v>
                      </c:pt>
                      <c:pt idx="1363">
                        <c:v>0</c:v>
                      </c:pt>
                      <c:pt idx="1364">
                        <c:v>0</c:v>
                      </c:pt>
                      <c:pt idx="1365">
                        <c:v>0</c:v>
                      </c:pt>
                      <c:pt idx="1366">
                        <c:v>0</c:v>
                      </c:pt>
                      <c:pt idx="1367">
                        <c:v>0</c:v>
                      </c:pt>
                      <c:pt idx="1368">
                        <c:v>0</c:v>
                      </c:pt>
                      <c:pt idx="1369">
                        <c:v>0</c:v>
                      </c:pt>
                      <c:pt idx="1370">
                        <c:v>0</c:v>
                      </c:pt>
                      <c:pt idx="1371">
                        <c:v>0</c:v>
                      </c:pt>
                      <c:pt idx="1372">
                        <c:v>0</c:v>
                      </c:pt>
                      <c:pt idx="1373">
                        <c:v>0</c:v>
                      </c:pt>
                      <c:pt idx="1374">
                        <c:v>0</c:v>
                      </c:pt>
                      <c:pt idx="1375">
                        <c:v>0</c:v>
                      </c:pt>
                      <c:pt idx="1376">
                        <c:v>0</c:v>
                      </c:pt>
                      <c:pt idx="1377">
                        <c:v>0</c:v>
                      </c:pt>
                      <c:pt idx="1378">
                        <c:v>0</c:v>
                      </c:pt>
                      <c:pt idx="1379">
                        <c:v>0</c:v>
                      </c:pt>
                      <c:pt idx="1380">
                        <c:v>0</c:v>
                      </c:pt>
                      <c:pt idx="1381">
                        <c:v>0</c:v>
                      </c:pt>
                      <c:pt idx="1382">
                        <c:v>0</c:v>
                      </c:pt>
                      <c:pt idx="1383">
                        <c:v>0</c:v>
                      </c:pt>
                      <c:pt idx="1384">
                        <c:v>0</c:v>
                      </c:pt>
                      <c:pt idx="1385">
                        <c:v>0</c:v>
                      </c:pt>
                      <c:pt idx="1386">
                        <c:v>0</c:v>
                      </c:pt>
                      <c:pt idx="1387">
                        <c:v>0</c:v>
                      </c:pt>
                      <c:pt idx="1388">
                        <c:v>0</c:v>
                      </c:pt>
                      <c:pt idx="1389">
                        <c:v>0</c:v>
                      </c:pt>
                      <c:pt idx="1390">
                        <c:v>0</c:v>
                      </c:pt>
                      <c:pt idx="1391">
                        <c:v>0</c:v>
                      </c:pt>
                      <c:pt idx="1392">
                        <c:v>0</c:v>
                      </c:pt>
                      <c:pt idx="1393">
                        <c:v>0</c:v>
                      </c:pt>
                      <c:pt idx="1394">
                        <c:v>0</c:v>
                      </c:pt>
                      <c:pt idx="1395">
                        <c:v>0</c:v>
                      </c:pt>
                      <c:pt idx="1396">
                        <c:v>0</c:v>
                      </c:pt>
                      <c:pt idx="1397">
                        <c:v>0</c:v>
                      </c:pt>
                      <c:pt idx="1398">
                        <c:v>0</c:v>
                      </c:pt>
                      <c:pt idx="1399">
                        <c:v>0</c:v>
                      </c:pt>
                      <c:pt idx="1400">
                        <c:v>0</c:v>
                      </c:pt>
                      <c:pt idx="1401">
                        <c:v>0</c:v>
                      </c:pt>
                      <c:pt idx="1402">
                        <c:v>0</c:v>
                      </c:pt>
                      <c:pt idx="1403">
                        <c:v>0</c:v>
                      </c:pt>
                      <c:pt idx="1404">
                        <c:v>0</c:v>
                      </c:pt>
                      <c:pt idx="1405">
                        <c:v>0</c:v>
                      </c:pt>
                      <c:pt idx="1406">
                        <c:v>0</c:v>
                      </c:pt>
                      <c:pt idx="1407">
                        <c:v>0</c:v>
                      </c:pt>
                      <c:pt idx="1408">
                        <c:v>0</c:v>
                      </c:pt>
                      <c:pt idx="1409">
                        <c:v>0</c:v>
                      </c:pt>
                      <c:pt idx="1410">
                        <c:v>0</c:v>
                      </c:pt>
                      <c:pt idx="1411">
                        <c:v>0</c:v>
                      </c:pt>
                      <c:pt idx="1412">
                        <c:v>0</c:v>
                      </c:pt>
                      <c:pt idx="1413">
                        <c:v>0</c:v>
                      </c:pt>
                      <c:pt idx="1414">
                        <c:v>0</c:v>
                      </c:pt>
                      <c:pt idx="1415">
                        <c:v>0</c:v>
                      </c:pt>
                      <c:pt idx="1416">
                        <c:v>0</c:v>
                      </c:pt>
                      <c:pt idx="1417">
                        <c:v>0</c:v>
                      </c:pt>
                      <c:pt idx="1418">
                        <c:v>0</c:v>
                      </c:pt>
                      <c:pt idx="1419">
                        <c:v>0</c:v>
                      </c:pt>
                      <c:pt idx="1420">
                        <c:v>0</c:v>
                      </c:pt>
                      <c:pt idx="1421">
                        <c:v>0</c:v>
                      </c:pt>
                      <c:pt idx="1422">
                        <c:v>0</c:v>
                      </c:pt>
                      <c:pt idx="1423">
                        <c:v>0</c:v>
                      </c:pt>
                      <c:pt idx="1424">
                        <c:v>0</c:v>
                      </c:pt>
                      <c:pt idx="1425">
                        <c:v>0</c:v>
                      </c:pt>
                      <c:pt idx="1426">
                        <c:v>0</c:v>
                      </c:pt>
                      <c:pt idx="1427">
                        <c:v>0</c:v>
                      </c:pt>
                      <c:pt idx="1428">
                        <c:v>0</c:v>
                      </c:pt>
                      <c:pt idx="1429">
                        <c:v>0</c:v>
                      </c:pt>
                      <c:pt idx="1430">
                        <c:v>0</c:v>
                      </c:pt>
                      <c:pt idx="1431">
                        <c:v>0</c:v>
                      </c:pt>
                      <c:pt idx="1432">
                        <c:v>0</c:v>
                      </c:pt>
                      <c:pt idx="1433">
                        <c:v>0</c:v>
                      </c:pt>
                      <c:pt idx="1434">
                        <c:v>0</c:v>
                      </c:pt>
                      <c:pt idx="1435">
                        <c:v>0</c:v>
                      </c:pt>
                      <c:pt idx="1436">
                        <c:v>0</c:v>
                      </c:pt>
                      <c:pt idx="1437">
                        <c:v>0</c:v>
                      </c:pt>
                      <c:pt idx="1438">
                        <c:v>0</c:v>
                      </c:pt>
                      <c:pt idx="1439">
                        <c:v>0</c:v>
                      </c:pt>
                      <c:pt idx="1440">
                        <c:v>0</c:v>
                      </c:pt>
                      <c:pt idx="1441">
                        <c:v>0</c:v>
                      </c:pt>
                      <c:pt idx="1442">
                        <c:v>0</c:v>
                      </c:pt>
                      <c:pt idx="1443">
                        <c:v>0</c:v>
                      </c:pt>
                      <c:pt idx="1444">
                        <c:v>0</c:v>
                      </c:pt>
                      <c:pt idx="1445">
                        <c:v>0</c:v>
                      </c:pt>
                      <c:pt idx="1446">
                        <c:v>0</c:v>
                      </c:pt>
                      <c:pt idx="1447">
                        <c:v>0</c:v>
                      </c:pt>
                      <c:pt idx="1448">
                        <c:v>0</c:v>
                      </c:pt>
                      <c:pt idx="1449">
                        <c:v>0</c:v>
                      </c:pt>
                      <c:pt idx="1450">
                        <c:v>0</c:v>
                      </c:pt>
                      <c:pt idx="1451">
                        <c:v>0</c:v>
                      </c:pt>
                      <c:pt idx="1452">
                        <c:v>0</c:v>
                      </c:pt>
                      <c:pt idx="1453">
                        <c:v>0</c:v>
                      </c:pt>
                      <c:pt idx="1454">
                        <c:v>0</c:v>
                      </c:pt>
                      <c:pt idx="1455">
                        <c:v>0</c:v>
                      </c:pt>
                      <c:pt idx="1456">
                        <c:v>0</c:v>
                      </c:pt>
                      <c:pt idx="1457">
                        <c:v>0</c:v>
                      </c:pt>
                      <c:pt idx="1458">
                        <c:v>0</c:v>
                      </c:pt>
                      <c:pt idx="1459">
                        <c:v>0</c:v>
                      </c:pt>
                      <c:pt idx="1460">
                        <c:v>0</c:v>
                      </c:pt>
                      <c:pt idx="1461">
                        <c:v>0</c:v>
                      </c:pt>
                      <c:pt idx="1462">
                        <c:v>0</c:v>
                      </c:pt>
                      <c:pt idx="1463">
                        <c:v>0</c:v>
                      </c:pt>
                      <c:pt idx="1464">
                        <c:v>0</c:v>
                      </c:pt>
                      <c:pt idx="1465">
                        <c:v>0</c:v>
                      </c:pt>
                      <c:pt idx="1466">
                        <c:v>0</c:v>
                      </c:pt>
                      <c:pt idx="1467">
                        <c:v>0</c:v>
                      </c:pt>
                      <c:pt idx="1468">
                        <c:v>0</c:v>
                      </c:pt>
                      <c:pt idx="1469">
                        <c:v>0</c:v>
                      </c:pt>
                      <c:pt idx="1470">
                        <c:v>0</c:v>
                      </c:pt>
                      <c:pt idx="1471">
                        <c:v>0</c:v>
                      </c:pt>
                      <c:pt idx="1472">
                        <c:v>0</c:v>
                      </c:pt>
                      <c:pt idx="1473">
                        <c:v>0</c:v>
                      </c:pt>
                      <c:pt idx="1474">
                        <c:v>0</c:v>
                      </c:pt>
                      <c:pt idx="1475">
                        <c:v>0</c:v>
                      </c:pt>
                      <c:pt idx="1476">
                        <c:v>0</c:v>
                      </c:pt>
                      <c:pt idx="1477">
                        <c:v>0</c:v>
                      </c:pt>
                      <c:pt idx="1478">
                        <c:v>0</c:v>
                      </c:pt>
                      <c:pt idx="1479">
                        <c:v>0</c:v>
                      </c:pt>
                      <c:pt idx="1480">
                        <c:v>0</c:v>
                      </c:pt>
                      <c:pt idx="1481">
                        <c:v>0</c:v>
                      </c:pt>
                      <c:pt idx="1482">
                        <c:v>0</c:v>
                      </c:pt>
                      <c:pt idx="1483">
                        <c:v>0</c:v>
                      </c:pt>
                      <c:pt idx="1484">
                        <c:v>0</c:v>
                      </c:pt>
                      <c:pt idx="1485">
                        <c:v>0</c:v>
                      </c:pt>
                      <c:pt idx="1486">
                        <c:v>0</c:v>
                      </c:pt>
                      <c:pt idx="1487">
                        <c:v>0</c:v>
                      </c:pt>
                      <c:pt idx="1488">
                        <c:v>0</c:v>
                      </c:pt>
                      <c:pt idx="1489">
                        <c:v>0</c:v>
                      </c:pt>
                      <c:pt idx="1490">
                        <c:v>0</c:v>
                      </c:pt>
                      <c:pt idx="1491">
                        <c:v>0</c:v>
                      </c:pt>
                      <c:pt idx="1492">
                        <c:v>0</c:v>
                      </c:pt>
                      <c:pt idx="1493">
                        <c:v>0</c:v>
                      </c:pt>
                      <c:pt idx="1494">
                        <c:v>0</c:v>
                      </c:pt>
                      <c:pt idx="1495">
                        <c:v>0</c:v>
                      </c:pt>
                      <c:pt idx="1496">
                        <c:v>0</c:v>
                      </c:pt>
                      <c:pt idx="1497">
                        <c:v>0</c:v>
                      </c:pt>
                      <c:pt idx="1498">
                        <c:v>0</c:v>
                      </c:pt>
                      <c:pt idx="1499">
                        <c:v>0</c:v>
                      </c:pt>
                      <c:pt idx="1500">
                        <c:v>0</c:v>
                      </c:pt>
                      <c:pt idx="1501">
                        <c:v>0</c:v>
                      </c:pt>
                      <c:pt idx="1502">
                        <c:v>0</c:v>
                      </c:pt>
                      <c:pt idx="1503">
                        <c:v>0</c:v>
                      </c:pt>
                      <c:pt idx="1504">
                        <c:v>0</c:v>
                      </c:pt>
                      <c:pt idx="1505">
                        <c:v>0</c:v>
                      </c:pt>
                      <c:pt idx="1506">
                        <c:v>0</c:v>
                      </c:pt>
                      <c:pt idx="1507">
                        <c:v>0</c:v>
                      </c:pt>
                      <c:pt idx="1508">
                        <c:v>0</c:v>
                      </c:pt>
                      <c:pt idx="1509">
                        <c:v>0</c:v>
                      </c:pt>
                      <c:pt idx="1510">
                        <c:v>0</c:v>
                      </c:pt>
                      <c:pt idx="1511">
                        <c:v>0</c:v>
                      </c:pt>
                      <c:pt idx="1512">
                        <c:v>0</c:v>
                      </c:pt>
                      <c:pt idx="1513">
                        <c:v>0</c:v>
                      </c:pt>
                      <c:pt idx="1514">
                        <c:v>0</c:v>
                      </c:pt>
                      <c:pt idx="1515">
                        <c:v>0</c:v>
                      </c:pt>
                      <c:pt idx="1516">
                        <c:v>0</c:v>
                      </c:pt>
                      <c:pt idx="1517">
                        <c:v>0</c:v>
                      </c:pt>
                      <c:pt idx="1518">
                        <c:v>0</c:v>
                      </c:pt>
                      <c:pt idx="1519">
                        <c:v>0</c:v>
                      </c:pt>
                      <c:pt idx="1520">
                        <c:v>0</c:v>
                      </c:pt>
                      <c:pt idx="1521">
                        <c:v>0</c:v>
                      </c:pt>
                      <c:pt idx="1522">
                        <c:v>0</c:v>
                      </c:pt>
                      <c:pt idx="1523">
                        <c:v>0</c:v>
                      </c:pt>
                      <c:pt idx="1524">
                        <c:v>0</c:v>
                      </c:pt>
                      <c:pt idx="1525">
                        <c:v>0</c:v>
                      </c:pt>
                      <c:pt idx="1526">
                        <c:v>0</c:v>
                      </c:pt>
                      <c:pt idx="1527">
                        <c:v>0</c:v>
                      </c:pt>
                      <c:pt idx="1528">
                        <c:v>0</c:v>
                      </c:pt>
                      <c:pt idx="1529">
                        <c:v>0</c:v>
                      </c:pt>
                      <c:pt idx="1530">
                        <c:v>0</c:v>
                      </c:pt>
                      <c:pt idx="1531">
                        <c:v>0</c:v>
                      </c:pt>
                      <c:pt idx="1532">
                        <c:v>0</c:v>
                      </c:pt>
                      <c:pt idx="1533">
                        <c:v>0</c:v>
                      </c:pt>
                      <c:pt idx="1534">
                        <c:v>0</c:v>
                      </c:pt>
                      <c:pt idx="1535">
                        <c:v>0</c:v>
                      </c:pt>
                      <c:pt idx="1536">
                        <c:v>0</c:v>
                      </c:pt>
                      <c:pt idx="1537">
                        <c:v>0</c:v>
                      </c:pt>
                      <c:pt idx="1538">
                        <c:v>0</c:v>
                      </c:pt>
                      <c:pt idx="1539">
                        <c:v>0</c:v>
                      </c:pt>
                      <c:pt idx="1540">
                        <c:v>0</c:v>
                      </c:pt>
                      <c:pt idx="1541">
                        <c:v>0</c:v>
                      </c:pt>
                      <c:pt idx="1542">
                        <c:v>0</c:v>
                      </c:pt>
                      <c:pt idx="1543">
                        <c:v>0</c:v>
                      </c:pt>
                      <c:pt idx="1544">
                        <c:v>0</c:v>
                      </c:pt>
                      <c:pt idx="1545">
                        <c:v>0</c:v>
                      </c:pt>
                      <c:pt idx="1546">
                        <c:v>0</c:v>
                      </c:pt>
                      <c:pt idx="1547">
                        <c:v>0</c:v>
                      </c:pt>
                      <c:pt idx="1548">
                        <c:v>0</c:v>
                      </c:pt>
                      <c:pt idx="1549">
                        <c:v>0</c:v>
                      </c:pt>
                      <c:pt idx="1550">
                        <c:v>0</c:v>
                      </c:pt>
                      <c:pt idx="1551">
                        <c:v>0</c:v>
                      </c:pt>
                      <c:pt idx="1552">
                        <c:v>0</c:v>
                      </c:pt>
                      <c:pt idx="1553">
                        <c:v>0</c:v>
                      </c:pt>
                      <c:pt idx="1554">
                        <c:v>0</c:v>
                      </c:pt>
                      <c:pt idx="1555">
                        <c:v>0</c:v>
                      </c:pt>
                      <c:pt idx="1556">
                        <c:v>0</c:v>
                      </c:pt>
                      <c:pt idx="1557">
                        <c:v>0</c:v>
                      </c:pt>
                      <c:pt idx="1558">
                        <c:v>0</c:v>
                      </c:pt>
                      <c:pt idx="1559">
                        <c:v>0</c:v>
                      </c:pt>
                      <c:pt idx="1560">
                        <c:v>0</c:v>
                      </c:pt>
                      <c:pt idx="1561">
                        <c:v>0</c:v>
                      </c:pt>
                      <c:pt idx="1562">
                        <c:v>0</c:v>
                      </c:pt>
                      <c:pt idx="1563">
                        <c:v>0</c:v>
                      </c:pt>
                      <c:pt idx="1564">
                        <c:v>0</c:v>
                      </c:pt>
                      <c:pt idx="1565">
                        <c:v>0</c:v>
                      </c:pt>
                      <c:pt idx="1566">
                        <c:v>0</c:v>
                      </c:pt>
                      <c:pt idx="1567">
                        <c:v>0</c:v>
                      </c:pt>
                      <c:pt idx="1568">
                        <c:v>0</c:v>
                      </c:pt>
                      <c:pt idx="1569">
                        <c:v>0</c:v>
                      </c:pt>
                      <c:pt idx="1570">
                        <c:v>0</c:v>
                      </c:pt>
                      <c:pt idx="1571">
                        <c:v>0</c:v>
                      </c:pt>
                      <c:pt idx="1572">
                        <c:v>0</c:v>
                      </c:pt>
                      <c:pt idx="1573">
                        <c:v>0</c:v>
                      </c:pt>
                      <c:pt idx="1574">
                        <c:v>0</c:v>
                      </c:pt>
                      <c:pt idx="1575">
                        <c:v>0</c:v>
                      </c:pt>
                      <c:pt idx="1576">
                        <c:v>0</c:v>
                      </c:pt>
                      <c:pt idx="1577">
                        <c:v>0</c:v>
                      </c:pt>
                      <c:pt idx="1578">
                        <c:v>0</c:v>
                      </c:pt>
                      <c:pt idx="1579">
                        <c:v>0</c:v>
                      </c:pt>
                      <c:pt idx="1580">
                        <c:v>0</c:v>
                      </c:pt>
                      <c:pt idx="1581">
                        <c:v>0</c:v>
                      </c:pt>
                      <c:pt idx="1582">
                        <c:v>0</c:v>
                      </c:pt>
                      <c:pt idx="1583">
                        <c:v>0</c:v>
                      </c:pt>
                      <c:pt idx="1584">
                        <c:v>0</c:v>
                      </c:pt>
                      <c:pt idx="1585">
                        <c:v>0</c:v>
                      </c:pt>
                      <c:pt idx="1586">
                        <c:v>0</c:v>
                      </c:pt>
                      <c:pt idx="1587">
                        <c:v>0</c:v>
                      </c:pt>
                      <c:pt idx="1588">
                        <c:v>0</c:v>
                      </c:pt>
                      <c:pt idx="1589">
                        <c:v>0</c:v>
                      </c:pt>
                      <c:pt idx="1590">
                        <c:v>0</c:v>
                      </c:pt>
                      <c:pt idx="1591">
                        <c:v>0</c:v>
                      </c:pt>
                      <c:pt idx="1592">
                        <c:v>0</c:v>
                      </c:pt>
                      <c:pt idx="1593">
                        <c:v>0</c:v>
                      </c:pt>
                      <c:pt idx="1594">
                        <c:v>0</c:v>
                      </c:pt>
                      <c:pt idx="1595">
                        <c:v>0</c:v>
                      </c:pt>
                      <c:pt idx="1596">
                        <c:v>0</c:v>
                      </c:pt>
                      <c:pt idx="1597">
                        <c:v>0</c:v>
                      </c:pt>
                      <c:pt idx="1598">
                        <c:v>0</c:v>
                      </c:pt>
                      <c:pt idx="1599">
                        <c:v>0</c:v>
                      </c:pt>
                      <c:pt idx="1600">
                        <c:v>0</c:v>
                      </c:pt>
                      <c:pt idx="1601">
                        <c:v>0</c:v>
                      </c:pt>
                      <c:pt idx="1602">
                        <c:v>0</c:v>
                      </c:pt>
                      <c:pt idx="1603">
                        <c:v>0</c:v>
                      </c:pt>
                      <c:pt idx="1604">
                        <c:v>0</c:v>
                      </c:pt>
                      <c:pt idx="1605">
                        <c:v>0</c:v>
                      </c:pt>
                      <c:pt idx="1606">
                        <c:v>0</c:v>
                      </c:pt>
                      <c:pt idx="1607">
                        <c:v>0</c:v>
                      </c:pt>
                      <c:pt idx="1608">
                        <c:v>0</c:v>
                      </c:pt>
                      <c:pt idx="1609">
                        <c:v>0</c:v>
                      </c:pt>
                      <c:pt idx="1610">
                        <c:v>0</c:v>
                      </c:pt>
                      <c:pt idx="1611">
                        <c:v>0</c:v>
                      </c:pt>
                      <c:pt idx="1612">
                        <c:v>0</c:v>
                      </c:pt>
                      <c:pt idx="1613">
                        <c:v>0</c:v>
                      </c:pt>
                      <c:pt idx="1614">
                        <c:v>0</c:v>
                      </c:pt>
                      <c:pt idx="1615">
                        <c:v>0</c:v>
                      </c:pt>
                      <c:pt idx="1616">
                        <c:v>0</c:v>
                      </c:pt>
                      <c:pt idx="1617">
                        <c:v>0</c:v>
                      </c:pt>
                      <c:pt idx="1618">
                        <c:v>0</c:v>
                      </c:pt>
                      <c:pt idx="1619">
                        <c:v>0</c:v>
                      </c:pt>
                      <c:pt idx="1620">
                        <c:v>0</c:v>
                      </c:pt>
                      <c:pt idx="1621">
                        <c:v>0</c:v>
                      </c:pt>
                      <c:pt idx="1622">
                        <c:v>0</c:v>
                      </c:pt>
                      <c:pt idx="1623">
                        <c:v>0</c:v>
                      </c:pt>
                      <c:pt idx="1624">
                        <c:v>0</c:v>
                      </c:pt>
                      <c:pt idx="1625">
                        <c:v>0</c:v>
                      </c:pt>
                      <c:pt idx="1626">
                        <c:v>0</c:v>
                      </c:pt>
                      <c:pt idx="1627">
                        <c:v>0</c:v>
                      </c:pt>
                      <c:pt idx="1628">
                        <c:v>0</c:v>
                      </c:pt>
                      <c:pt idx="1629">
                        <c:v>0</c:v>
                      </c:pt>
                      <c:pt idx="1630">
                        <c:v>0</c:v>
                      </c:pt>
                      <c:pt idx="1631">
                        <c:v>0</c:v>
                      </c:pt>
                      <c:pt idx="1632">
                        <c:v>0</c:v>
                      </c:pt>
                      <c:pt idx="1633">
                        <c:v>0</c:v>
                      </c:pt>
                      <c:pt idx="1634">
                        <c:v>0</c:v>
                      </c:pt>
                      <c:pt idx="1635">
                        <c:v>0</c:v>
                      </c:pt>
                      <c:pt idx="1636">
                        <c:v>0</c:v>
                      </c:pt>
                      <c:pt idx="1637">
                        <c:v>0</c:v>
                      </c:pt>
                      <c:pt idx="1638">
                        <c:v>0</c:v>
                      </c:pt>
                      <c:pt idx="1639">
                        <c:v>0</c:v>
                      </c:pt>
                      <c:pt idx="1640">
                        <c:v>0</c:v>
                      </c:pt>
                      <c:pt idx="1641">
                        <c:v>0</c:v>
                      </c:pt>
                      <c:pt idx="1642">
                        <c:v>0</c:v>
                      </c:pt>
                      <c:pt idx="1643">
                        <c:v>0</c:v>
                      </c:pt>
                      <c:pt idx="1644">
                        <c:v>0</c:v>
                      </c:pt>
                      <c:pt idx="1645">
                        <c:v>0</c:v>
                      </c:pt>
                      <c:pt idx="1646">
                        <c:v>0</c:v>
                      </c:pt>
                      <c:pt idx="1647">
                        <c:v>0</c:v>
                      </c:pt>
                      <c:pt idx="1648">
                        <c:v>0</c:v>
                      </c:pt>
                      <c:pt idx="1649">
                        <c:v>0</c:v>
                      </c:pt>
                      <c:pt idx="1650">
                        <c:v>0</c:v>
                      </c:pt>
                      <c:pt idx="1651">
                        <c:v>0</c:v>
                      </c:pt>
                      <c:pt idx="1652">
                        <c:v>0</c:v>
                      </c:pt>
                      <c:pt idx="1653">
                        <c:v>0</c:v>
                      </c:pt>
                      <c:pt idx="1654">
                        <c:v>0</c:v>
                      </c:pt>
                      <c:pt idx="1655">
                        <c:v>0</c:v>
                      </c:pt>
                      <c:pt idx="1656">
                        <c:v>0</c:v>
                      </c:pt>
                      <c:pt idx="1657">
                        <c:v>0</c:v>
                      </c:pt>
                      <c:pt idx="1658">
                        <c:v>0</c:v>
                      </c:pt>
                      <c:pt idx="1659">
                        <c:v>0</c:v>
                      </c:pt>
                      <c:pt idx="1660">
                        <c:v>0</c:v>
                      </c:pt>
                      <c:pt idx="1661">
                        <c:v>0</c:v>
                      </c:pt>
                      <c:pt idx="1662">
                        <c:v>0</c:v>
                      </c:pt>
                      <c:pt idx="1663">
                        <c:v>0</c:v>
                      </c:pt>
                      <c:pt idx="1664">
                        <c:v>0</c:v>
                      </c:pt>
                      <c:pt idx="1665">
                        <c:v>0</c:v>
                      </c:pt>
                      <c:pt idx="1666">
                        <c:v>0</c:v>
                      </c:pt>
                      <c:pt idx="1667">
                        <c:v>0</c:v>
                      </c:pt>
                      <c:pt idx="1668">
                        <c:v>0</c:v>
                      </c:pt>
                      <c:pt idx="1669">
                        <c:v>0</c:v>
                      </c:pt>
                      <c:pt idx="1670">
                        <c:v>0</c:v>
                      </c:pt>
                      <c:pt idx="1671">
                        <c:v>0</c:v>
                      </c:pt>
                      <c:pt idx="1672">
                        <c:v>0</c:v>
                      </c:pt>
                      <c:pt idx="1673">
                        <c:v>0</c:v>
                      </c:pt>
                      <c:pt idx="1674">
                        <c:v>0</c:v>
                      </c:pt>
                      <c:pt idx="1675">
                        <c:v>0</c:v>
                      </c:pt>
                      <c:pt idx="1676">
                        <c:v>0</c:v>
                      </c:pt>
                      <c:pt idx="1677">
                        <c:v>0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0</c:v>
                      </c:pt>
                      <c:pt idx="1717">
                        <c:v>0</c:v>
                      </c:pt>
                      <c:pt idx="1718">
                        <c:v>0</c:v>
                      </c:pt>
                      <c:pt idx="1719">
                        <c:v>0</c:v>
                      </c:pt>
                      <c:pt idx="1720">
                        <c:v>0</c:v>
                      </c:pt>
                      <c:pt idx="1721">
                        <c:v>0</c:v>
                      </c:pt>
                      <c:pt idx="1722">
                        <c:v>0</c:v>
                      </c:pt>
                      <c:pt idx="1723">
                        <c:v>0</c:v>
                      </c:pt>
                      <c:pt idx="1724">
                        <c:v>0</c:v>
                      </c:pt>
                      <c:pt idx="1725">
                        <c:v>0</c:v>
                      </c:pt>
                      <c:pt idx="1726">
                        <c:v>0</c:v>
                      </c:pt>
                      <c:pt idx="1727">
                        <c:v>0</c:v>
                      </c:pt>
                      <c:pt idx="1728">
                        <c:v>0</c:v>
                      </c:pt>
                      <c:pt idx="1729">
                        <c:v>0</c:v>
                      </c:pt>
                      <c:pt idx="1730">
                        <c:v>0</c:v>
                      </c:pt>
                      <c:pt idx="1731">
                        <c:v>0</c:v>
                      </c:pt>
                      <c:pt idx="1732">
                        <c:v>0</c:v>
                      </c:pt>
                      <c:pt idx="1733">
                        <c:v>0</c:v>
                      </c:pt>
                      <c:pt idx="1734">
                        <c:v>0</c:v>
                      </c:pt>
                      <c:pt idx="1735">
                        <c:v>0</c:v>
                      </c:pt>
                      <c:pt idx="1736">
                        <c:v>0</c:v>
                      </c:pt>
                      <c:pt idx="1737">
                        <c:v>0</c:v>
                      </c:pt>
                      <c:pt idx="1738">
                        <c:v>0</c:v>
                      </c:pt>
                      <c:pt idx="1739">
                        <c:v>0</c:v>
                      </c:pt>
                      <c:pt idx="1740">
                        <c:v>0</c:v>
                      </c:pt>
                      <c:pt idx="1741">
                        <c:v>0</c:v>
                      </c:pt>
                      <c:pt idx="1742">
                        <c:v>0</c:v>
                      </c:pt>
                      <c:pt idx="1743">
                        <c:v>0</c:v>
                      </c:pt>
                      <c:pt idx="1744">
                        <c:v>0</c:v>
                      </c:pt>
                      <c:pt idx="1745">
                        <c:v>0</c:v>
                      </c:pt>
                      <c:pt idx="1746">
                        <c:v>0</c:v>
                      </c:pt>
                      <c:pt idx="1747">
                        <c:v>0</c:v>
                      </c:pt>
                      <c:pt idx="1748">
                        <c:v>0</c:v>
                      </c:pt>
                      <c:pt idx="1749">
                        <c:v>0</c:v>
                      </c:pt>
                      <c:pt idx="1750">
                        <c:v>0</c:v>
                      </c:pt>
                      <c:pt idx="1751">
                        <c:v>0</c:v>
                      </c:pt>
                      <c:pt idx="1752">
                        <c:v>0</c:v>
                      </c:pt>
                      <c:pt idx="1753">
                        <c:v>0</c:v>
                      </c:pt>
                      <c:pt idx="1754">
                        <c:v>0</c:v>
                      </c:pt>
                      <c:pt idx="1755">
                        <c:v>0</c:v>
                      </c:pt>
                      <c:pt idx="1756">
                        <c:v>0</c:v>
                      </c:pt>
                      <c:pt idx="1757">
                        <c:v>0</c:v>
                      </c:pt>
                      <c:pt idx="1758">
                        <c:v>0</c:v>
                      </c:pt>
                      <c:pt idx="1759">
                        <c:v>0</c:v>
                      </c:pt>
                      <c:pt idx="1760">
                        <c:v>0</c:v>
                      </c:pt>
                      <c:pt idx="1761">
                        <c:v>0</c:v>
                      </c:pt>
                      <c:pt idx="1762">
                        <c:v>0</c:v>
                      </c:pt>
                      <c:pt idx="1763">
                        <c:v>0</c:v>
                      </c:pt>
                      <c:pt idx="1764">
                        <c:v>0</c:v>
                      </c:pt>
                      <c:pt idx="1765">
                        <c:v>0</c:v>
                      </c:pt>
                      <c:pt idx="1766">
                        <c:v>0</c:v>
                      </c:pt>
                      <c:pt idx="1767">
                        <c:v>0</c:v>
                      </c:pt>
                      <c:pt idx="1768">
                        <c:v>0</c:v>
                      </c:pt>
                      <c:pt idx="1769">
                        <c:v>0</c:v>
                      </c:pt>
                      <c:pt idx="1770">
                        <c:v>0</c:v>
                      </c:pt>
                      <c:pt idx="1771">
                        <c:v>0</c:v>
                      </c:pt>
                      <c:pt idx="1772">
                        <c:v>0</c:v>
                      </c:pt>
                      <c:pt idx="1773">
                        <c:v>0</c:v>
                      </c:pt>
                      <c:pt idx="1774">
                        <c:v>0</c:v>
                      </c:pt>
                      <c:pt idx="1775">
                        <c:v>0</c:v>
                      </c:pt>
                      <c:pt idx="1776">
                        <c:v>0</c:v>
                      </c:pt>
                      <c:pt idx="1777">
                        <c:v>0</c:v>
                      </c:pt>
                      <c:pt idx="1778">
                        <c:v>0</c:v>
                      </c:pt>
                      <c:pt idx="1779">
                        <c:v>0</c:v>
                      </c:pt>
                      <c:pt idx="1780">
                        <c:v>0</c:v>
                      </c:pt>
                      <c:pt idx="1781">
                        <c:v>0</c:v>
                      </c:pt>
                      <c:pt idx="1782">
                        <c:v>0</c:v>
                      </c:pt>
                      <c:pt idx="1783">
                        <c:v>0</c:v>
                      </c:pt>
                      <c:pt idx="1784">
                        <c:v>0</c:v>
                      </c:pt>
                      <c:pt idx="1785">
                        <c:v>0</c:v>
                      </c:pt>
                      <c:pt idx="1786">
                        <c:v>0</c:v>
                      </c:pt>
                      <c:pt idx="1787">
                        <c:v>0</c:v>
                      </c:pt>
                      <c:pt idx="1788">
                        <c:v>0</c:v>
                      </c:pt>
                      <c:pt idx="1789">
                        <c:v>0</c:v>
                      </c:pt>
                      <c:pt idx="1790">
                        <c:v>0</c:v>
                      </c:pt>
                      <c:pt idx="1791">
                        <c:v>0</c:v>
                      </c:pt>
                      <c:pt idx="1792">
                        <c:v>0</c:v>
                      </c:pt>
                      <c:pt idx="1793">
                        <c:v>0</c:v>
                      </c:pt>
                      <c:pt idx="1794">
                        <c:v>0</c:v>
                      </c:pt>
                      <c:pt idx="1795">
                        <c:v>0</c:v>
                      </c:pt>
                      <c:pt idx="1796">
                        <c:v>0</c:v>
                      </c:pt>
                      <c:pt idx="1797">
                        <c:v>0</c:v>
                      </c:pt>
                      <c:pt idx="1798">
                        <c:v>0</c:v>
                      </c:pt>
                      <c:pt idx="1799">
                        <c:v>0</c:v>
                      </c:pt>
                      <c:pt idx="1800">
                        <c:v>0</c:v>
                      </c:pt>
                      <c:pt idx="1801">
                        <c:v>0</c:v>
                      </c:pt>
                      <c:pt idx="1802">
                        <c:v>0</c:v>
                      </c:pt>
                      <c:pt idx="1803">
                        <c:v>0</c:v>
                      </c:pt>
                      <c:pt idx="1804">
                        <c:v>0</c:v>
                      </c:pt>
                      <c:pt idx="1805">
                        <c:v>0</c:v>
                      </c:pt>
                      <c:pt idx="1806">
                        <c:v>0</c:v>
                      </c:pt>
                      <c:pt idx="1807">
                        <c:v>0</c:v>
                      </c:pt>
                      <c:pt idx="1808">
                        <c:v>0</c:v>
                      </c:pt>
                      <c:pt idx="1809">
                        <c:v>0</c:v>
                      </c:pt>
                      <c:pt idx="1810">
                        <c:v>0</c:v>
                      </c:pt>
                      <c:pt idx="1811">
                        <c:v>0</c:v>
                      </c:pt>
                      <c:pt idx="1812">
                        <c:v>0</c:v>
                      </c:pt>
                      <c:pt idx="1813">
                        <c:v>0</c:v>
                      </c:pt>
                      <c:pt idx="1814">
                        <c:v>0</c:v>
                      </c:pt>
                      <c:pt idx="1815">
                        <c:v>0</c:v>
                      </c:pt>
                      <c:pt idx="1816">
                        <c:v>0</c:v>
                      </c:pt>
                      <c:pt idx="1817">
                        <c:v>0</c:v>
                      </c:pt>
                      <c:pt idx="1818">
                        <c:v>0</c:v>
                      </c:pt>
                      <c:pt idx="1819">
                        <c:v>0</c:v>
                      </c:pt>
                      <c:pt idx="1820">
                        <c:v>0</c:v>
                      </c:pt>
                      <c:pt idx="1821">
                        <c:v>0</c:v>
                      </c:pt>
                      <c:pt idx="1822">
                        <c:v>0</c:v>
                      </c:pt>
                      <c:pt idx="1823">
                        <c:v>0</c:v>
                      </c:pt>
                      <c:pt idx="1824">
                        <c:v>0</c:v>
                      </c:pt>
                      <c:pt idx="1825">
                        <c:v>0</c:v>
                      </c:pt>
                      <c:pt idx="1826">
                        <c:v>0</c:v>
                      </c:pt>
                      <c:pt idx="1827">
                        <c:v>0</c:v>
                      </c:pt>
                      <c:pt idx="1828">
                        <c:v>0</c:v>
                      </c:pt>
                      <c:pt idx="1829">
                        <c:v>0</c:v>
                      </c:pt>
                      <c:pt idx="1830">
                        <c:v>0</c:v>
                      </c:pt>
                      <c:pt idx="1831">
                        <c:v>0</c:v>
                      </c:pt>
                      <c:pt idx="1832">
                        <c:v>0</c:v>
                      </c:pt>
                      <c:pt idx="1833">
                        <c:v>0</c:v>
                      </c:pt>
                      <c:pt idx="1834">
                        <c:v>0</c:v>
                      </c:pt>
                      <c:pt idx="1835">
                        <c:v>0</c:v>
                      </c:pt>
                      <c:pt idx="1836">
                        <c:v>0</c:v>
                      </c:pt>
                      <c:pt idx="1837">
                        <c:v>0</c:v>
                      </c:pt>
                      <c:pt idx="1838">
                        <c:v>0</c:v>
                      </c:pt>
                      <c:pt idx="1839">
                        <c:v>0</c:v>
                      </c:pt>
                      <c:pt idx="1840">
                        <c:v>0</c:v>
                      </c:pt>
                      <c:pt idx="1841">
                        <c:v>0</c:v>
                      </c:pt>
                      <c:pt idx="1842">
                        <c:v>0</c:v>
                      </c:pt>
                      <c:pt idx="1843">
                        <c:v>0</c:v>
                      </c:pt>
                      <c:pt idx="1844">
                        <c:v>0</c:v>
                      </c:pt>
                      <c:pt idx="1845">
                        <c:v>0</c:v>
                      </c:pt>
                      <c:pt idx="1846">
                        <c:v>0</c:v>
                      </c:pt>
                      <c:pt idx="1847">
                        <c:v>0</c:v>
                      </c:pt>
                      <c:pt idx="1848">
                        <c:v>0</c:v>
                      </c:pt>
                      <c:pt idx="1849">
                        <c:v>0</c:v>
                      </c:pt>
                      <c:pt idx="1850">
                        <c:v>0</c:v>
                      </c:pt>
                      <c:pt idx="1851">
                        <c:v>0</c:v>
                      </c:pt>
                      <c:pt idx="1852">
                        <c:v>0</c:v>
                      </c:pt>
                      <c:pt idx="1853">
                        <c:v>0</c:v>
                      </c:pt>
                      <c:pt idx="1854">
                        <c:v>0</c:v>
                      </c:pt>
                      <c:pt idx="1855">
                        <c:v>0</c:v>
                      </c:pt>
                      <c:pt idx="1856">
                        <c:v>0</c:v>
                      </c:pt>
                      <c:pt idx="1857">
                        <c:v>0</c:v>
                      </c:pt>
                      <c:pt idx="1858">
                        <c:v>0</c:v>
                      </c:pt>
                      <c:pt idx="1859">
                        <c:v>0</c:v>
                      </c:pt>
                      <c:pt idx="1860">
                        <c:v>0</c:v>
                      </c:pt>
                      <c:pt idx="1861">
                        <c:v>0</c:v>
                      </c:pt>
                      <c:pt idx="1862">
                        <c:v>0</c:v>
                      </c:pt>
                      <c:pt idx="1863">
                        <c:v>0</c:v>
                      </c:pt>
                      <c:pt idx="1864">
                        <c:v>0</c:v>
                      </c:pt>
                      <c:pt idx="1865">
                        <c:v>0</c:v>
                      </c:pt>
                      <c:pt idx="1866">
                        <c:v>0</c:v>
                      </c:pt>
                      <c:pt idx="1867">
                        <c:v>0</c:v>
                      </c:pt>
                      <c:pt idx="1868">
                        <c:v>0</c:v>
                      </c:pt>
                      <c:pt idx="1869">
                        <c:v>0</c:v>
                      </c:pt>
                      <c:pt idx="1870">
                        <c:v>0</c:v>
                      </c:pt>
                      <c:pt idx="1871">
                        <c:v>0</c:v>
                      </c:pt>
                      <c:pt idx="1872">
                        <c:v>0</c:v>
                      </c:pt>
                      <c:pt idx="1873">
                        <c:v>0</c:v>
                      </c:pt>
                      <c:pt idx="1874">
                        <c:v>0</c:v>
                      </c:pt>
                      <c:pt idx="1875">
                        <c:v>0</c:v>
                      </c:pt>
                      <c:pt idx="1876">
                        <c:v>0</c:v>
                      </c:pt>
                      <c:pt idx="1877">
                        <c:v>0</c:v>
                      </c:pt>
                      <c:pt idx="1878">
                        <c:v>0</c:v>
                      </c:pt>
                      <c:pt idx="1879">
                        <c:v>0</c:v>
                      </c:pt>
                      <c:pt idx="1880">
                        <c:v>0</c:v>
                      </c:pt>
                      <c:pt idx="1881">
                        <c:v>0</c:v>
                      </c:pt>
                      <c:pt idx="1882">
                        <c:v>0</c:v>
                      </c:pt>
                      <c:pt idx="1883">
                        <c:v>0</c:v>
                      </c:pt>
                      <c:pt idx="1884">
                        <c:v>0</c:v>
                      </c:pt>
                      <c:pt idx="1885">
                        <c:v>0</c:v>
                      </c:pt>
                      <c:pt idx="1886">
                        <c:v>0</c:v>
                      </c:pt>
                      <c:pt idx="1887">
                        <c:v>0</c:v>
                      </c:pt>
                      <c:pt idx="1888">
                        <c:v>0</c:v>
                      </c:pt>
                      <c:pt idx="1889">
                        <c:v>0</c:v>
                      </c:pt>
                      <c:pt idx="1890">
                        <c:v>0</c:v>
                      </c:pt>
                      <c:pt idx="1891">
                        <c:v>0</c:v>
                      </c:pt>
                      <c:pt idx="1892">
                        <c:v>0</c:v>
                      </c:pt>
                      <c:pt idx="1893">
                        <c:v>0</c:v>
                      </c:pt>
                      <c:pt idx="1894">
                        <c:v>0</c:v>
                      </c:pt>
                      <c:pt idx="1895">
                        <c:v>0</c:v>
                      </c:pt>
                      <c:pt idx="1896">
                        <c:v>0</c:v>
                      </c:pt>
                      <c:pt idx="1897">
                        <c:v>0</c:v>
                      </c:pt>
                      <c:pt idx="1898">
                        <c:v>0</c:v>
                      </c:pt>
                      <c:pt idx="1899">
                        <c:v>0</c:v>
                      </c:pt>
                      <c:pt idx="1900">
                        <c:v>0</c:v>
                      </c:pt>
                      <c:pt idx="1901">
                        <c:v>0</c:v>
                      </c:pt>
                      <c:pt idx="1902">
                        <c:v>0</c:v>
                      </c:pt>
                      <c:pt idx="1903">
                        <c:v>0</c:v>
                      </c:pt>
                      <c:pt idx="1904">
                        <c:v>0</c:v>
                      </c:pt>
                      <c:pt idx="1905">
                        <c:v>0</c:v>
                      </c:pt>
                      <c:pt idx="1906">
                        <c:v>0</c:v>
                      </c:pt>
                      <c:pt idx="1907">
                        <c:v>0</c:v>
                      </c:pt>
                      <c:pt idx="1908">
                        <c:v>0</c:v>
                      </c:pt>
                      <c:pt idx="1909">
                        <c:v>0</c:v>
                      </c:pt>
                      <c:pt idx="1910">
                        <c:v>0</c:v>
                      </c:pt>
                      <c:pt idx="1911">
                        <c:v>0</c:v>
                      </c:pt>
                      <c:pt idx="1912">
                        <c:v>0</c:v>
                      </c:pt>
                      <c:pt idx="1913">
                        <c:v>0</c:v>
                      </c:pt>
                      <c:pt idx="1914">
                        <c:v>0</c:v>
                      </c:pt>
                      <c:pt idx="1915">
                        <c:v>0</c:v>
                      </c:pt>
                      <c:pt idx="1916">
                        <c:v>0</c:v>
                      </c:pt>
                      <c:pt idx="1917">
                        <c:v>0</c:v>
                      </c:pt>
                      <c:pt idx="1918">
                        <c:v>0</c:v>
                      </c:pt>
                      <c:pt idx="1919">
                        <c:v>0</c:v>
                      </c:pt>
                      <c:pt idx="1920">
                        <c:v>0</c:v>
                      </c:pt>
                      <c:pt idx="1921">
                        <c:v>0</c:v>
                      </c:pt>
                      <c:pt idx="1922">
                        <c:v>0</c:v>
                      </c:pt>
                      <c:pt idx="1923">
                        <c:v>0</c:v>
                      </c:pt>
                      <c:pt idx="1924">
                        <c:v>0</c:v>
                      </c:pt>
                      <c:pt idx="1925">
                        <c:v>0</c:v>
                      </c:pt>
                      <c:pt idx="1926">
                        <c:v>0</c:v>
                      </c:pt>
                      <c:pt idx="1927">
                        <c:v>0</c:v>
                      </c:pt>
                      <c:pt idx="1928">
                        <c:v>0</c:v>
                      </c:pt>
                      <c:pt idx="1929">
                        <c:v>0</c:v>
                      </c:pt>
                      <c:pt idx="1930">
                        <c:v>0</c:v>
                      </c:pt>
                      <c:pt idx="1931">
                        <c:v>0</c:v>
                      </c:pt>
                      <c:pt idx="1932">
                        <c:v>0</c:v>
                      </c:pt>
                      <c:pt idx="1933">
                        <c:v>0</c:v>
                      </c:pt>
                      <c:pt idx="1934">
                        <c:v>0</c:v>
                      </c:pt>
                      <c:pt idx="1935">
                        <c:v>0</c:v>
                      </c:pt>
                      <c:pt idx="1936">
                        <c:v>0</c:v>
                      </c:pt>
                      <c:pt idx="1937">
                        <c:v>0</c:v>
                      </c:pt>
                      <c:pt idx="1938">
                        <c:v>0</c:v>
                      </c:pt>
                      <c:pt idx="1939">
                        <c:v>0</c:v>
                      </c:pt>
                      <c:pt idx="1940">
                        <c:v>0</c:v>
                      </c:pt>
                      <c:pt idx="1941">
                        <c:v>0</c:v>
                      </c:pt>
                      <c:pt idx="1942">
                        <c:v>0</c:v>
                      </c:pt>
                      <c:pt idx="1943">
                        <c:v>0</c:v>
                      </c:pt>
                      <c:pt idx="1944">
                        <c:v>0</c:v>
                      </c:pt>
                      <c:pt idx="1945">
                        <c:v>0</c:v>
                      </c:pt>
                      <c:pt idx="1946">
                        <c:v>0</c:v>
                      </c:pt>
                      <c:pt idx="1947">
                        <c:v>0</c:v>
                      </c:pt>
                      <c:pt idx="1948">
                        <c:v>0</c:v>
                      </c:pt>
                      <c:pt idx="1949">
                        <c:v>0</c:v>
                      </c:pt>
                      <c:pt idx="1950">
                        <c:v>0</c:v>
                      </c:pt>
                      <c:pt idx="1951">
                        <c:v>0</c:v>
                      </c:pt>
                      <c:pt idx="1952">
                        <c:v>0</c:v>
                      </c:pt>
                      <c:pt idx="1953">
                        <c:v>0</c:v>
                      </c:pt>
                      <c:pt idx="1954">
                        <c:v>0</c:v>
                      </c:pt>
                      <c:pt idx="1955">
                        <c:v>0</c:v>
                      </c:pt>
                      <c:pt idx="1956">
                        <c:v>0</c:v>
                      </c:pt>
                      <c:pt idx="1957">
                        <c:v>0</c:v>
                      </c:pt>
                      <c:pt idx="1958">
                        <c:v>0</c:v>
                      </c:pt>
                      <c:pt idx="1959">
                        <c:v>0</c:v>
                      </c:pt>
                      <c:pt idx="1960">
                        <c:v>0</c:v>
                      </c:pt>
                      <c:pt idx="1961">
                        <c:v>0</c:v>
                      </c:pt>
                      <c:pt idx="1962">
                        <c:v>0</c:v>
                      </c:pt>
                      <c:pt idx="1963">
                        <c:v>0</c:v>
                      </c:pt>
                      <c:pt idx="1964">
                        <c:v>0</c:v>
                      </c:pt>
                      <c:pt idx="1965">
                        <c:v>0</c:v>
                      </c:pt>
                      <c:pt idx="1966">
                        <c:v>0</c:v>
                      </c:pt>
                      <c:pt idx="1967">
                        <c:v>0</c:v>
                      </c:pt>
                      <c:pt idx="1968">
                        <c:v>0</c:v>
                      </c:pt>
                      <c:pt idx="1969">
                        <c:v>0</c:v>
                      </c:pt>
                      <c:pt idx="1970">
                        <c:v>0</c:v>
                      </c:pt>
                      <c:pt idx="1971">
                        <c:v>0</c:v>
                      </c:pt>
                      <c:pt idx="1972">
                        <c:v>0</c:v>
                      </c:pt>
                      <c:pt idx="1973">
                        <c:v>0</c:v>
                      </c:pt>
                      <c:pt idx="1974">
                        <c:v>0</c:v>
                      </c:pt>
                      <c:pt idx="1975">
                        <c:v>0</c:v>
                      </c:pt>
                      <c:pt idx="1976">
                        <c:v>0</c:v>
                      </c:pt>
                      <c:pt idx="1977">
                        <c:v>0</c:v>
                      </c:pt>
                      <c:pt idx="1978">
                        <c:v>0</c:v>
                      </c:pt>
                      <c:pt idx="1979">
                        <c:v>0</c:v>
                      </c:pt>
                      <c:pt idx="1980">
                        <c:v>0</c:v>
                      </c:pt>
                      <c:pt idx="1981">
                        <c:v>0</c:v>
                      </c:pt>
                      <c:pt idx="1982">
                        <c:v>0</c:v>
                      </c:pt>
                      <c:pt idx="1983">
                        <c:v>0</c:v>
                      </c:pt>
                      <c:pt idx="1984">
                        <c:v>0</c:v>
                      </c:pt>
                      <c:pt idx="1985">
                        <c:v>0</c:v>
                      </c:pt>
                      <c:pt idx="1986">
                        <c:v>0</c:v>
                      </c:pt>
                      <c:pt idx="1987">
                        <c:v>0</c:v>
                      </c:pt>
                      <c:pt idx="1988">
                        <c:v>0</c:v>
                      </c:pt>
                      <c:pt idx="1989">
                        <c:v>0</c:v>
                      </c:pt>
                      <c:pt idx="1990">
                        <c:v>0</c:v>
                      </c:pt>
                      <c:pt idx="1991">
                        <c:v>0</c:v>
                      </c:pt>
                      <c:pt idx="1992">
                        <c:v>0</c:v>
                      </c:pt>
                      <c:pt idx="1993">
                        <c:v>0</c:v>
                      </c:pt>
                      <c:pt idx="1994">
                        <c:v>0</c:v>
                      </c:pt>
                      <c:pt idx="1995">
                        <c:v>0</c:v>
                      </c:pt>
                      <c:pt idx="1996">
                        <c:v>0</c:v>
                      </c:pt>
                      <c:pt idx="1997">
                        <c:v>0</c:v>
                      </c:pt>
                      <c:pt idx="1998">
                        <c:v>0</c:v>
                      </c:pt>
                      <c:pt idx="1999">
                        <c:v>0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0</c:v>
                      </c:pt>
                      <c:pt idx="2009">
                        <c:v>0</c:v>
                      </c:pt>
                      <c:pt idx="2010">
                        <c:v>0</c:v>
                      </c:pt>
                      <c:pt idx="2011">
                        <c:v>0</c:v>
                      </c:pt>
                      <c:pt idx="2012">
                        <c:v>0</c:v>
                      </c:pt>
                      <c:pt idx="2013">
                        <c:v>0</c:v>
                      </c:pt>
                      <c:pt idx="2014">
                        <c:v>0</c:v>
                      </c:pt>
                      <c:pt idx="2015">
                        <c:v>0</c:v>
                      </c:pt>
                      <c:pt idx="2016">
                        <c:v>0</c:v>
                      </c:pt>
                      <c:pt idx="2017">
                        <c:v>0</c:v>
                      </c:pt>
                      <c:pt idx="2018">
                        <c:v>0</c:v>
                      </c:pt>
                      <c:pt idx="2019">
                        <c:v>0</c:v>
                      </c:pt>
                      <c:pt idx="2020">
                        <c:v>0</c:v>
                      </c:pt>
                      <c:pt idx="2021">
                        <c:v>0</c:v>
                      </c:pt>
                      <c:pt idx="2022">
                        <c:v>0</c:v>
                      </c:pt>
                      <c:pt idx="2023">
                        <c:v>0</c:v>
                      </c:pt>
                      <c:pt idx="2024">
                        <c:v>0</c:v>
                      </c:pt>
                      <c:pt idx="2025">
                        <c:v>0</c:v>
                      </c:pt>
                      <c:pt idx="2026">
                        <c:v>0</c:v>
                      </c:pt>
                      <c:pt idx="2027">
                        <c:v>0</c:v>
                      </c:pt>
                      <c:pt idx="2028">
                        <c:v>0</c:v>
                      </c:pt>
                      <c:pt idx="2029">
                        <c:v>0</c:v>
                      </c:pt>
                      <c:pt idx="2030">
                        <c:v>0</c:v>
                      </c:pt>
                      <c:pt idx="2031">
                        <c:v>0</c:v>
                      </c:pt>
                      <c:pt idx="2032">
                        <c:v>0</c:v>
                      </c:pt>
                      <c:pt idx="2033">
                        <c:v>0</c:v>
                      </c:pt>
                      <c:pt idx="2034">
                        <c:v>0</c:v>
                      </c:pt>
                      <c:pt idx="2035">
                        <c:v>0</c:v>
                      </c:pt>
                      <c:pt idx="2036">
                        <c:v>0</c:v>
                      </c:pt>
                      <c:pt idx="2037">
                        <c:v>0</c:v>
                      </c:pt>
                      <c:pt idx="2038">
                        <c:v>0</c:v>
                      </c:pt>
                      <c:pt idx="2039">
                        <c:v>0</c:v>
                      </c:pt>
                      <c:pt idx="2040">
                        <c:v>0</c:v>
                      </c:pt>
                      <c:pt idx="2041">
                        <c:v>0</c:v>
                      </c:pt>
                      <c:pt idx="2042">
                        <c:v>0</c:v>
                      </c:pt>
                      <c:pt idx="2043">
                        <c:v>0</c:v>
                      </c:pt>
                      <c:pt idx="2044">
                        <c:v>0</c:v>
                      </c:pt>
                      <c:pt idx="2045">
                        <c:v>0</c:v>
                      </c:pt>
                      <c:pt idx="2046">
                        <c:v>0</c:v>
                      </c:pt>
                      <c:pt idx="2047">
                        <c:v>0</c:v>
                      </c:pt>
                      <c:pt idx="2048">
                        <c:v>0</c:v>
                      </c:pt>
                      <c:pt idx="2049">
                        <c:v>0</c:v>
                      </c:pt>
                      <c:pt idx="2050">
                        <c:v>0</c:v>
                      </c:pt>
                      <c:pt idx="2051">
                        <c:v>0</c:v>
                      </c:pt>
                      <c:pt idx="2052">
                        <c:v>0</c:v>
                      </c:pt>
                      <c:pt idx="2053">
                        <c:v>0</c:v>
                      </c:pt>
                      <c:pt idx="2054">
                        <c:v>0</c:v>
                      </c:pt>
                      <c:pt idx="2055">
                        <c:v>0</c:v>
                      </c:pt>
                      <c:pt idx="2056">
                        <c:v>0</c:v>
                      </c:pt>
                      <c:pt idx="2057">
                        <c:v>0</c:v>
                      </c:pt>
                      <c:pt idx="2058">
                        <c:v>0</c:v>
                      </c:pt>
                      <c:pt idx="2059">
                        <c:v>0</c:v>
                      </c:pt>
                      <c:pt idx="2060">
                        <c:v>0</c:v>
                      </c:pt>
                      <c:pt idx="2061">
                        <c:v>0</c:v>
                      </c:pt>
                      <c:pt idx="2062">
                        <c:v>0</c:v>
                      </c:pt>
                      <c:pt idx="2063">
                        <c:v>0</c:v>
                      </c:pt>
                      <c:pt idx="2064">
                        <c:v>0</c:v>
                      </c:pt>
                      <c:pt idx="2065">
                        <c:v>0</c:v>
                      </c:pt>
                      <c:pt idx="2066">
                        <c:v>0</c:v>
                      </c:pt>
                      <c:pt idx="2067">
                        <c:v>0</c:v>
                      </c:pt>
                      <c:pt idx="2068">
                        <c:v>0</c:v>
                      </c:pt>
                      <c:pt idx="2069">
                        <c:v>0</c:v>
                      </c:pt>
                      <c:pt idx="2070">
                        <c:v>0</c:v>
                      </c:pt>
                      <c:pt idx="2071">
                        <c:v>0</c:v>
                      </c:pt>
                      <c:pt idx="2072">
                        <c:v>0</c:v>
                      </c:pt>
                      <c:pt idx="2073">
                        <c:v>0</c:v>
                      </c:pt>
                      <c:pt idx="2074">
                        <c:v>0</c:v>
                      </c:pt>
                      <c:pt idx="2075">
                        <c:v>0</c:v>
                      </c:pt>
                      <c:pt idx="2076">
                        <c:v>0</c:v>
                      </c:pt>
                      <c:pt idx="2077">
                        <c:v>0</c:v>
                      </c:pt>
                      <c:pt idx="2078">
                        <c:v>0</c:v>
                      </c:pt>
                      <c:pt idx="2079">
                        <c:v>0</c:v>
                      </c:pt>
                      <c:pt idx="2080">
                        <c:v>0</c:v>
                      </c:pt>
                      <c:pt idx="2081">
                        <c:v>0</c:v>
                      </c:pt>
                      <c:pt idx="2082">
                        <c:v>0</c:v>
                      </c:pt>
                      <c:pt idx="2083">
                        <c:v>0</c:v>
                      </c:pt>
                      <c:pt idx="2084">
                        <c:v>0</c:v>
                      </c:pt>
                      <c:pt idx="2085">
                        <c:v>0</c:v>
                      </c:pt>
                      <c:pt idx="2086">
                        <c:v>0</c:v>
                      </c:pt>
                      <c:pt idx="2087">
                        <c:v>0</c:v>
                      </c:pt>
                      <c:pt idx="2088">
                        <c:v>0</c:v>
                      </c:pt>
                      <c:pt idx="2089">
                        <c:v>0</c:v>
                      </c:pt>
                      <c:pt idx="2090">
                        <c:v>0</c:v>
                      </c:pt>
                      <c:pt idx="2091">
                        <c:v>0</c:v>
                      </c:pt>
                      <c:pt idx="2092">
                        <c:v>0</c:v>
                      </c:pt>
                      <c:pt idx="2093">
                        <c:v>0</c:v>
                      </c:pt>
                      <c:pt idx="2094">
                        <c:v>0</c:v>
                      </c:pt>
                      <c:pt idx="2095">
                        <c:v>0</c:v>
                      </c:pt>
                      <c:pt idx="2096">
                        <c:v>0</c:v>
                      </c:pt>
                      <c:pt idx="2097">
                        <c:v>0</c:v>
                      </c:pt>
                      <c:pt idx="2098">
                        <c:v>0</c:v>
                      </c:pt>
                      <c:pt idx="2099">
                        <c:v>0</c:v>
                      </c:pt>
                      <c:pt idx="2100">
                        <c:v>0</c:v>
                      </c:pt>
                      <c:pt idx="2101">
                        <c:v>0</c:v>
                      </c:pt>
                      <c:pt idx="2102">
                        <c:v>0</c:v>
                      </c:pt>
                      <c:pt idx="2103">
                        <c:v>0</c:v>
                      </c:pt>
                      <c:pt idx="2104">
                        <c:v>0</c:v>
                      </c:pt>
                      <c:pt idx="2105">
                        <c:v>0</c:v>
                      </c:pt>
                      <c:pt idx="2106">
                        <c:v>0</c:v>
                      </c:pt>
                      <c:pt idx="2107">
                        <c:v>0</c:v>
                      </c:pt>
                      <c:pt idx="2108">
                        <c:v>0</c:v>
                      </c:pt>
                      <c:pt idx="2109">
                        <c:v>0</c:v>
                      </c:pt>
                      <c:pt idx="2110">
                        <c:v>0</c:v>
                      </c:pt>
                      <c:pt idx="2111">
                        <c:v>0</c:v>
                      </c:pt>
                      <c:pt idx="2112">
                        <c:v>0</c:v>
                      </c:pt>
                      <c:pt idx="2113">
                        <c:v>0</c:v>
                      </c:pt>
                      <c:pt idx="2114">
                        <c:v>0</c:v>
                      </c:pt>
                      <c:pt idx="2115">
                        <c:v>0</c:v>
                      </c:pt>
                      <c:pt idx="2116">
                        <c:v>0</c:v>
                      </c:pt>
                      <c:pt idx="2117">
                        <c:v>0</c:v>
                      </c:pt>
                      <c:pt idx="2118">
                        <c:v>0</c:v>
                      </c:pt>
                      <c:pt idx="2119">
                        <c:v>0</c:v>
                      </c:pt>
                      <c:pt idx="2120">
                        <c:v>0</c:v>
                      </c:pt>
                      <c:pt idx="2121">
                        <c:v>0</c:v>
                      </c:pt>
                      <c:pt idx="2122">
                        <c:v>0</c:v>
                      </c:pt>
                      <c:pt idx="2123">
                        <c:v>0</c:v>
                      </c:pt>
                      <c:pt idx="2124">
                        <c:v>0</c:v>
                      </c:pt>
                      <c:pt idx="2125">
                        <c:v>0</c:v>
                      </c:pt>
                      <c:pt idx="2126">
                        <c:v>0</c:v>
                      </c:pt>
                      <c:pt idx="2127">
                        <c:v>0</c:v>
                      </c:pt>
                      <c:pt idx="2128">
                        <c:v>0</c:v>
                      </c:pt>
                      <c:pt idx="2129">
                        <c:v>0</c:v>
                      </c:pt>
                      <c:pt idx="2130">
                        <c:v>0</c:v>
                      </c:pt>
                      <c:pt idx="2131">
                        <c:v>0</c:v>
                      </c:pt>
                      <c:pt idx="2132">
                        <c:v>0</c:v>
                      </c:pt>
                      <c:pt idx="2133">
                        <c:v>0</c:v>
                      </c:pt>
                      <c:pt idx="2134">
                        <c:v>0</c:v>
                      </c:pt>
                      <c:pt idx="2135">
                        <c:v>0</c:v>
                      </c:pt>
                      <c:pt idx="2136">
                        <c:v>0</c:v>
                      </c:pt>
                      <c:pt idx="2137">
                        <c:v>0</c:v>
                      </c:pt>
                      <c:pt idx="2138">
                        <c:v>0</c:v>
                      </c:pt>
                      <c:pt idx="2139">
                        <c:v>0</c:v>
                      </c:pt>
                      <c:pt idx="2140">
                        <c:v>0</c:v>
                      </c:pt>
                      <c:pt idx="2141">
                        <c:v>0</c:v>
                      </c:pt>
                      <c:pt idx="2142">
                        <c:v>0</c:v>
                      </c:pt>
                      <c:pt idx="2143">
                        <c:v>0</c:v>
                      </c:pt>
                      <c:pt idx="2144">
                        <c:v>0</c:v>
                      </c:pt>
                      <c:pt idx="2145">
                        <c:v>0</c:v>
                      </c:pt>
                      <c:pt idx="2146">
                        <c:v>0</c:v>
                      </c:pt>
                      <c:pt idx="2147">
                        <c:v>0</c:v>
                      </c:pt>
                      <c:pt idx="2148">
                        <c:v>0</c:v>
                      </c:pt>
                      <c:pt idx="2149">
                        <c:v>0</c:v>
                      </c:pt>
                      <c:pt idx="2150">
                        <c:v>0</c:v>
                      </c:pt>
                      <c:pt idx="2151">
                        <c:v>0</c:v>
                      </c:pt>
                      <c:pt idx="2152">
                        <c:v>0</c:v>
                      </c:pt>
                      <c:pt idx="2153">
                        <c:v>0</c:v>
                      </c:pt>
                      <c:pt idx="2154">
                        <c:v>0</c:v>
                      </c:pt>
                      <c:pt idx="2155">
                        <c:v>0</c:v>
                      </c:pt>
                      <c:pt idx="2156">
                        <c:v>0</c:v>
                      </c:pt>
                      <c:pt idx="2157">
                        <c:v>0</c:v>
                      </c:pt>
                      <c:pt idx="2158">
                        <c:v>0</c:v>
                      </c:pt>
                      <c:pt idx="2159">
                        <c:v>0</c:v>
                      </c:pt>
                      <c:pt idx="2160">
                        <c:v>0</c:v>
                      </c:pt>
                      <c:pt idx="2161">
                        <c:v>0</c:v>
                      </c:pt>
                      <c:pt idx="2162">
                        <c:v>0</c:v>
                      </c:pt>
                      <c:pt idx="2163">
                        <c:v>0</c:v>
                      </c:pt>
                      <c:pt idx="2164">
                        <c:v>0</c:v>
                      </c:pt>
                      <c:pt idx="2165">
                        <c:v>0</c:v>
                      </c:pt>
                      <c:pt idx="2166">
                        <c:v>0</c:v>
                      </c:pt>
                      <c:pt idx="2167">
                        <c:v>0</c:v>
                      </c:pt>
                      <c:pt idx="2168">
                        <c:v>0</c:v>
                      </c:pt>
                      <c:pt idx="2169">
                        <c:v>0</c:v>
                      </c:pt>
                      <c:pt idx="2170">
                        <c:v>0</c:v>
                      </c:pt>
                      <c:pt idx="2171">
                        <c:v>0</c:v>
                      </c:pt>
                      <c:pt idx="2172">
                        <c:v>0</c:v>
                      </c:pt>
                      <c:pt idx="2173">
                        <c:v>0</c:v>
                      </c:pt>
                      <c:pt idx="2174">
                        <c:v>0</c:v>
                      </c:pt>
                      <c:pt idx="2175">
                        <c:v>0</c:v>
                      </c:pt>
                      <c:pt idx="2176">
                        <c:v>0</c:v>
                      </c:pt>
                      <c:pt idx="2177">
                        <c:v>0</c:v>
                      </c:pt>
                      <c:pt idx="2178">
                        <c:v>0</c:v>
                      </c:pt>
                      <c:pt idx="2179">
                        <c:v>0</c:v>
                      </c:pt>
                      <c:pt idx="2180">
                        <c:v>0</c:v>
                      </c:pt>
                      <c:pt idx="2181">
                        <c:v>0</c:v>
                      </c:pt>
                      <c:pt idx="2182">
                        <c:v>0</c:v>
                      </c:pt>
                      <c:pt idx="2183">
                        <c:v>0</c:v>
                      </c:pt>
                      <c:pt idx="2184">
                        <c:v>0</c:v>
                      </c:pt>
                      <c:pt idx="2185">
                        <c:v>0</c:v>
                      </c:pt>
                      <c:pt idx="2186">
                        <c:v>0</c:v>
                      </c:pt>
                      <c:pt idx="2187">
                        <c:v>0</c:v>
                      </c:pt>
                      <c:pt idx="2188">
                        <c:v>0</c:v>
                      </c:pt>
                      <c:pt idx="2189">
                        <c:v>0</c:v>
                      </c:pt>
                      <c:pt idx="2190">
                        <c:v>0</c:v>
                      </c:pt>
                      <c:pt idx="2191">
                        <c:v>0</c:v>
                      </c:pt>
                      <c:pt idx="2192">
                        <c:v>0</c:v>
                      </c:pt>
                      <c:pt idx="2193">
                        <c:v>0</c:v>
                      </c:pt>
                      <c:pt idx="2194">
                        <c:v>0</c:v>
                      </c:pt>
                      <c:pt idx="2195">
                        <c:v>0</c:v>
                      </c:pt>
                      <c:pt idx="2196">
                        <c:v>0</c:v>
                      </c:pt>
                      <c:pt idx="2197">
                        <c:v>0</c:v>
                      </c:pt>
                      <c:pt idx="2198">
                        <c:v>0</c:v>
                      </c:pt>
                      <c:pt idx="2199">
                        <c:v>0</c:v>
                      </c:pt>
                      <c:pt idx="2200">
                        <c:v>0</c:v>
                      </c:pt>
                      <c:pt idx="2201">
                        <c:v>0</c:v>
                      </c:pt>
                      <c:pt idx="2202">
                        <c:v>0</c:v>
                      </c:pt>
                      <c:pt idx="2203">
                        <c:v>0</c:v>
                      </c:pt>
                      <c:pt idx="2204">
                        <c:v>0</c:v>
                      </c:pt>
                      <c:pt idx="2205">
                        <c:v>0</c:v>
                      </c:pt>
                      <c:pt idx="2206">
                        <c:v>0</c:v>
                      </c:pt>
                      <c:pt idx="2207">
                        <c:v>0</c:v>
                      </c:pt>
                      <c:pt idx="2208">
                        <c:v>0</c:v>
                      </c:pt>
                      <c:pt idx="2209">
                        <c:v>0</c:v>
                      </c:pt>
                      <c:pt idx="2210">
                        <c:v>0</c:v>
                      </c:pt>
                      <c:pt idx="2211">
                        <c:v>0</c:v>
                      </c:pt>
                      <c:pt idx="2212">
                        <c:v>0</c:v>
                      </c:pt>
                      <c:pt idx="2213">
                        <c:v>0</c:v>
                      </c:pt>
                      <c:pt idx="2214">
                        <c:v>0</c:v>
                      </c:pt>
                      <c:pt idx="2215">
                        <c:v>0</c:v>
                      </c:pt>
                      <c:pt idx="2216">
                        <c:v>0</c:v>
                      </c:pt>
                      <c:pt idx="2217">
                        <c:v>0</c:v>
                      </c:pt>
                      <c:pt idx="2218">
                        <c:v>0</c:v>
                      </c:pt>
                      <c:pt idx="2219">
                        <c:v>0</c:v>
                      </c:pt>
                      <c:pt idx="2220">
                        <c:v>0</c:v>
                      </c:pt>
                      <c:pt idx="2221">
                        <c:v>0</c:v>
                      </c:pt>
                      <c:pt idx="2222">
                        <c:v>0</c:v>
                      </c:pt>
                      <c:pt idx="2223">
                        <c:v>0</c:v>
                      </c:pt>
                      <c:pt idx="2224">
                        <c:v>0</c:v>
                      </c:pt>
                      <c:pt idx="2225">
                        <c:v>0</c:v>
                      </c:pt>
                      <c:pt idx="2226">
                        <c:v>0</c:v>
                      </c:pt>
                      <c:pt idx="2227">
                        <c:v>0</c:v>
                      </c:pt>
                      <c:pt idx="2228">
                        <c:v>0</c:v>
                      </c:pt>
                      <c:pt idx="2229">
                        <c:v>0</c:v>
                      </c:pt>
                      <c:pt idx="2230">
                        <c:v>0</c:v>
                      </c:pt>
                      <c:pt idx="2231">
                        <c:v>0</c:v>
                      </c:pt>
                      <c:pt idx="2232">
                        <c:v>0</c:v>
                      </c:pt>
                      <c:pt idx="2233">
                        <c:v>0</c:v>
                      </c:pt>
                      <c:pt idx="2234">
                        <c:v>0</c:v>
                      </c:pt>
                      <c:pt idx="2235">
                        <c:v>0</c:v>
                      </c:pt>
                      <c:pt idx="2236">
                        <c:v>0</c:v>
                      </c:pt>
                      <c:pt idx="2237">
                        <c:v>0</c:v>
                      </c:pt>
                      <c:pt idx="2238">
                        <c:v>0</c:v>
                      </c:pt>
                      <c:pt idx="2239">
                        <c:v>0</c:v>
                      </c:pt>
                      <c:pt idx="2240">
                        <c:v>0</c:v>
                      </c:pt>
                      <c:pt idx="2241">
                        <c:v>0</c:v>
                      </c:pt>
                      <c:pt idx="2242">
                        <c:v>0</c:v>
                      </c:pt>
                      <c:pt idx="2243">
                        <c:v>0</c:v>
                      </c:pt>
                      <c:pt idx="2244">
                        <c:v>0</c:v>
                      </c:pt>
                      <c:pt idx="2245">
                        <c:v>0</c:v>
                      </c:pt>
                      <c:pt idx="2246">
                        <c:v>0</c:v>
                      </c:pt>
                      <c:pt idx="2247">
                        <c:v>0</c:v>
                      </c:pt>
                      <c:pt idx="2248">
                        <c:v>0</c:v>
                      </c:pt>
                      <c:pt idx="2249">
                        <c:v>0</c:v>
                      </c:pt>
                      <c:pt idx="2250">
                        <c:v>0</c:v>
                      </c:pt>
                      <c:pt idx="2251">
                        <c:v>0</c:v>
                      </c:pt>
                      <c:pt idx="2252">
                        <c:v>0</c:v>
                      </c:pt>
                      <c:pt idx="2253">
                        <c:v>0</c:v>
                      </c:pt>
                      <c:pt idx="2254">
                        <c:v>0</c:v>
                      </c:pt>
                      <c:pt idx="2255">
                        <c:v>0</c:v>
                      </c:pt>
                      <c:pt idx="2256">
                        <c:v>0</c:v>
                      </c:pt>
                      <c:pt idx="2257">
                        <c:v>0</c:v>
                      </c:pt>
                      <c:pt idx="2258">
                        <c:v>0</c:v>
                      </c:pt>
                      <c:pt idx="2259">
                        <c:v>0</c:v>
                      </c:pt>
                      <c:pt idx="2260">
                        <c:v>0</c:v>
                      </c:pt>
                      <c:pt idx="2261">
                        <c:v>0</c:v>
                      </c:pt>
                      <c:pt idx="2262">
                        <c:v>0</c:v>
                      </c:pt>
                      <c:pt idx="2263">
                        <c:v>0</c:v>
                      </c:pt>
                      <c:pt idx="2264">
                        <c:v>0</c:v>
                      </c:pt>
                      <c:pt idx="2265">
                        <c:v>0</c:v>
                      </c:pt>
                      <c:pt idx="2266">
                        <c:v>0</c:v>
                      </c:pt>
                      <c:pt idx="2267">
                        <c:v>0</c:v>
                      </c:pt>
                      <c:pt idx="2268">
                        <c:v>0</c:v>
                      </c:pt>
                      <c:pt idx="2269">
                        <c:v>0</c:v>
                      </c:pt>
                      <c:pt idx="2270">
                        <c:v>0</c:v>
                      </c:pt>
                      <c:pt idx="2271">
                        <c:v>0</c:v>
                      </c:pt>
                      <c:pt idx="2272">
                        <c:v>0</c:v>
                      </c:pt>
                      <c:pt idx="2273">
                        <c:v>0</c:v>
                      </c:pt>
                      <c:pt idx="2274">
                        <c:v>0</c:v>
                      </c:pt>
                      <c:pt idx="2275">
                        <c:v>0</c:v>
                      </c:pt>
                      <c:pt idx="2276">
                        <c:v>0</c:v>
                      </c:pt>
                      <c:pt idx="2277">
                        <c:v>0</c:v>
                      </c:pt>
                      <c:pt idx="2278">
                        <c:v>0</c:v>
                      </c:pt>
                      <c:pt idx="2279">
                        <c:v>0</c:v>
                      </c:pt>
                      <c:pt idx="2280">
                        <c:v>0</c:v>
                      </c:pt>
                      <c:pt idx="2281">
                        <c:v>0</c:v>
                      </c:pt>
                      <c:pt idx="2282">
                        <c:v>0</c:v>
                      </c:pt>
                      <c:pt idx="2283">
                        <c:v>0</c:v>
                      </c:pt>
                      <c:pt idx="2284">
                        <c:v>0</c:v>
                      </c:pt>
                      <c:pt idx="2285">
                        <c:v>0</c:v>
                      </c:pt>
                      <c:pt idx="2286">
                        <c:v>0</c:v>
                      </c:pt>
                      <c:pt idx="2287">
                        <c:v>0</c:v>
                      </c:pt>
                      <c:pt idx="2288">
                        <c:v>0</c:v>
                      </c:pt>
                      <c:pt idx="2289">
                        <c:v>0</c:v>
                      </c:pt>
                      <c:pt idx="2290">
                        <c:v>0</c:v>
                      </c:pt>
                      <c:pt idx="2291">
                        <c:v>0</c:v>
                      </c:pt>
                      <c:pt idx="2292">
                        <c:v>0</c:v>
                      </c:pt>
                      <c:pt idx="2293">
                        <c:v>0</c:v>
                      </c:pt>
                      <c:pt idx="2294">
                        <c:v>0</c:v>
                      </c:pt>
                      <c:pt idx="2295">
                        <c:v>0</c:v>
                      </c:pt>
                      <c:pt idx="2296">
                        <c:v>0</c:v>
                      </c:pt>
                      <c:pt idx="2297">
                        <c:v>0</c:v>
                      </c:pt>
                      <c:pt idx="2298">
                        <c:v>0</c:v>
                      </c:pt>
                      <c:pt idx="2299">
                        <c:v>0</c:v>
                      </c:pt>
                      <c:pt idx="2300">
                        <c:v>0</c:v>
                      </c:pt>
                      <c:pt idx="2301">
                        <c:v>0</c:v>
                      </c:pt>
                      <c:pt idx="2302">
                        <c:v>0</c:v>
                      </c:pt>
                      <c:pt idx="2303">
                        <c:v>0</c:v>
                      </c:pt>
                      <c:pt idx="2304">
                        <c:v>0</c:v>
                      </c:pt>
                      <c:pt idx="2305">
                        <c:v>0</c:v>
                      </c:pt>
                      <c:pt idx="2306">
                        <c:v>0</c:v>
                      </c:pt>
                      <c:pt idx="2307">
                        <c:v>0</c:v>
                      </c:pt>
                      <c:pt idx="2308">
                        <c:v>0</c:v>
                      </c:pt>
                      <c:pt idx="2309">
                        <c:v>0</c:v>
                      </c:pt>
                      <c:pt idx="2310">
                        <c:v>0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0</c:v>
                      </c:pt>
                      <c:pt idx="2337">
                        <c:v>0</c:v>
                      </c:pt>
                      <c:pt idx="2338">
                        <c:v>0</c:v>
                      </c:pt>
                      <c:pt idx="2339">
                        <c:v>0</c:v>
                      </c:pt>
                      <c:pt idx="2340">
                        <c:v>0</c:v>
                      </c:pt>
                      <c:pt idx="2341">
                        <c:v>0</c:v>
                      </c:pt>
                      <c:pt idx="2342">
                        <c:v>0</c:v>
                      </c:pt>
                      <c:pt idx="2343">
                        <c:v>0</c:v>
                      </c:pt>
                      <c:pt idx="2344">
                        <c:v>0</c:v>
                      </c:pt>
                      <c:pt idx="2345">
                        <c:v>0</c:v>
                      </c:pt>
                      <c:pt idx="2346">
                        <c:v>0</c:v>
                      </c:pt>
                      <c:pt idx="2347">
                        <c:v>0</c:v>
                      </c:pt>
                      <c:pt idx="2348">
                        <c:v>0</c:v>
                      </c:pt>
                      <c:pt idx="2349">
                        <c:v>0</c:v>
                      </c:pt>
                      <c:pt idx="2350">
                        <c:v>0</c:v>
                      </c:pt>
                      <c:pt idx="2351">
                        <c:v>0</c:v>
                      </c:pt>
                      <c:pt idx="2352">
                        <c:v>0</c:v>
                      </c:pt>
                      <c:pt idx="2353">
                        <c:v>0</c:v>
                      </c:pt>
                      <c:pt idx="2354">
                        <c:v>0</c:v>
                      </c:pt>
                      <c:pt idx="2355">
                        <c:v>0</c:v>
                      </c:pt>
                      <c:pt idx="2356">
                        <c:v>0</c:v>
                      </c:pt>
                      <c:pt idx="2357">
                        <c:v>0</c:v>
                      </c:pt>
                      <c:pt idx="2358">
                        <c:v>0</c:v>
                      </c:pt>
                      <c:pt idx="2359">
                        <c:v>0</c:v>
                      </c:pt>
                      <c:pt idx="2360">
                        <c:v>0</c:v>
                      </c:pt>
                      <c:pt idx="2361">
                        <c:v>0</c:v>
                      </c:pt>
                      <c:pt idx="2362">
                        <c:v>0</c:v>
                      </c:pt>
                      <c:pt idx="2363">
                        <c:v>0</c:v>
                      </c:pt>
                      <c:pt idx="2364">
                        <c:v>0</c:v>
                      </c:pt>
                      <c:pt idx="2365">
                        <c:v>0</c:v>
                      </c:pt>
                      <c:pt idx="2366">
                        <c:v>0</c:v>
                      </c:pt>
                      <c:pt idx="2367">
                        <c:v>0</c:v>
                      </c:pt>
                      <c:pt idx="2368">
                        <c:v>0</c:v>
                      </c:pt>
                      <c:pt idx="2369">
                        <c:v>0</c:v>
                      </c:pt>
                      <c:pt idx="2370">
                        <c:v>0</c:v>
                      </c:pt>
                      <c:pt idx="2371">
                        <c:v>0</c:v>
                      </c:pt>
                      <c:pt idx="2372">
                        <c:v>0</c:v>
                      </c:pt>
                      <c:pt idx="2373">
                        <c:v>0</c:v>
                      </c:pt>
                      <c:pt idx="2374">
                        <c:v>0</c:v>
                      </c:pt>
                      <c:pt idx="2375">
                        <c:v>0</c:v>
                      </c:pt>
                      <c:pt idx="2376">
                        <c:v>0</c:v>
                      </c:pt>
                      <c:pt idx="2377">
                        <c:v>0</c:v>
                      </c:pt>
                      <c:pt idx="2378">
                        <c:v>0</c:v>
                      </c:pt>
                      <c:pt idx="2379">
                        <c:v>0</c:v>
                      </c:pt>
                      <c:pt idx="2380">
                        <c:v>0</c:v>
                      </c:pt>
                      <c:pt idx="2381">
                        <c:v>0</c:v>
                      </c:pt>
                      <c:pt idx="2382">
                        <c:v>0</c:v>
                      </c:pt>
                      <c:pt idx="2383">
                        <c:v>0</c:v>
                      </c:pt>
                      <c:pt idx="2384">
                        <c:v>0</c:v>
                      </c:pt>
                      <c:pt idx="2385">
                        <c:v>0</c:v>
                      </c:pt>
                      <c:pt idx="2386">
                        <c:v>0</c:v>
                      </c:pt>
                      <c:pt idx="2387">
                        <c:v>0</c:v>
                      </c:pt>
                      <c:pt idx="2388">
                        <c:v>0</c:v>
                      </c:pt>
                      <c:pt idx="2389">
                        <c:v>0</c:v>
                      </c:pt>
                      <c:pt idx="2390">
                        <c:v>0</c:v>
                      </c:pt>
                      <c:pt idx="2391">
                        <c:v>0</c:v>
                      </c:pt>
                      <c:pt idx="2392">
                        <c:v>0</c:v>
                      </c:pt>
                      <c:pt idx="2393">
                        <c:v>0</c:v>
                      </c:pt>
                      <c:pt idx="2394">
                        <c:v>0</c:v>
                      </c:pt>
                      <c:pt idx="2395">
                        <c:v>0</c:v>
                      </c:pt>
                      <c:pt idx="2396">
                        <c:v>0</c:v>
                      </c:pt>
                      <c:pt idx="2397">
                        <c:v>0</c:v>
                      </c:pt>
                      <c:pt idx="2398">
                        <c:v>0</c:v>
                      </c:pt>
                      <c:pt idx="2399">
                        <c:v>0</c:v>
                      </c:pt>
                      <c:pt idx="2400">
                        <c:v>0</c:v>
                      </c:pt>
                      <c:pt idx="2401">
                        <c:v>0</c:v>
                      </c:pt>
                      <c:pt idx="2402">
                        <c:v>0</c:v>
                      </c:pt>
                      <c:pt idx="2403">
                        <c:v>0</c:v>
                      </c:pt>
                      <c:pt idx="2404">
                        <c:v>0</c:v>
                      </c:pt>
                      <c:pt idx="2405">
                        <c:v>0</c:v>
                      </c:pt>
                      <c:pt idx="2406">
                        <c:v>0</c:v>
                      </c:pt>
                      <c:pt idx="2407">
                        <c:v>0</c:v>
                      </c:pt>
                      <c:pt idx="2408">
                        <c:v>0</c:v>
                      </c:pt>
                      <c:pt idx="2409">
                        <c:v>0</c:v>
                      </c:pt>
                      <c:pt idx="2410">
                        <c:v>0</c:v>
                      </c:pt>
                      <c:pt idx="2411">
                        <c:v>0</c:v>
                      </c:pt>
                      <c:pt idx="2412">
                        <c:v>0</c:v>
                      </c:pt>
                      <c:pt idx="2413">
                        <c:v>0</c:v>
                      </c:pt>
                      <c:pt idx="2414">
                        <c:v>0</c:v>
                      </c:pt>
                      <c:pt idx="2415">
                        <c:v>0</c:v>
                      </c:pt>
                      <c:pt idx="2416">
                        <c:v>0</c:v>
                      </c:pt>
                      <c:pt idx="2417">
                        <c:v>0</c:v>
                      </c:pt>
                      <c:pt idx="2418">
                        <c:v>0</c:v>
                      </c:pt>
                      <c:pt idx="2419">
                        <c:v>0</c:v>
                      </c:pt>
                      <c:pt idx="2420">
                        <c:v>0</c:v>
                      </c:pt>
                      <c:pt idx="2421">
                        <c:v>0</c:v>
                      </c:pt>
                      <c:pt idx="2422">
                        <c:v>0</c:v>
                      </c:pt>
                      <c:pt idx="2423">
                        <c:v>0</c:v>
                      </c:pt>
                      <c:pt idx="2424">
                        <c:v>0</c:v>
                      </c:pt>
                      <c:pt idx="2425">
                        <c:v>0</c:v>
                      </c:pt>
                      <c:pt idx="2426">
                        <c:v>0</c:v>
                      </c:pt>
                      <c:pt idx="2427">
                        <c:v>0</c:v>
                      </c:pt>
                      <c:pt idx="2428">
                        <c:v>0</c:v>
                      </c:pt>
                      <c:pt idx="2429">
                        <c:v>0</c:v>
                      </c:pt>
                      <c:pt idx="2430">
                        <c:v>0</c:v>
                      </c:pt>
                      <c:pt idx="2431">
                        <c:v>0</c:v>
                      </c:pt>
                      <c:pt idx="2432">
                        <c:v>0</c:v>
                      </c:pt>
                      <c:pt idx="2433">
                        <c:v>0</c:v>
                      </c:pt>
                      <c:pt idx="2434">
                        <c:v>0</c:v>
                      </c:pt>
                      <c:pt idx="2435">
                        <c:v>0</c:v>
                      </c:pt>
                      <c:pt idx="2436">
                        <c:v>0</c:v>
                      </c:pt>
                      <c:pt idx="2437">
                        <c:v>0</c:v>
                      </c:pt>
                      <c:pt idx="2438">
                        <c:v>0</c:v>
                      </c:pt>
                      <c:pt idx="2439">
                        <c:v>0</c:v>
                      </c:pt>
                      <c:pt idx="2440">
                        <c:v>0</c:v>
                      </c:pt>
                      <c:pt idx="2441">
                        <c:v>0</c:v>
                      </c:pt>
                      <c:pt idx="2442">
                        <c:v>0</c:v>
                      </c:pt>
                      <c:pt idx="2443">
                        <c:v>0</c:v>
                      </c:pt>
                      <c:pt idx="2444">
                        <c:v>0</c:v>
                      </c:pt>
                      <c:pt idx="2445">
                        <c:v>0</c:v>
                      </c:pt>
                      <c:pt idx="2446">
                        <c:v>0</c:v>
                      </c:pt>
                      <c:pt idx="2447">
                        <c:v>0</c:v>
                      </c:pt>
                      <c:pt idx="2448">
                        <c:v>0</c:v>
                      </c:pt>
                      <c:pt idx="2449">
                        <c:v>0</c:v>
                      </c:pt>
                      <c:pt idx="2450">
                        <c:v>0</c:v>
                      </c:pt>
                      <c:pt idx="2451">
                        <c:v>0</c:v>
                      </c:pt>
                      <c:pt idx="2452">
                        <c:v>0</c:v>
                      </c:pt>
                      <c:pt idx="2453">
                        <c:v>0</c:v>
                      </c:pt>
                      <c:pt idx="2454">
                        <c:v>0</c:v>
                      </c:pt>
                      <c:pt idx="2455">
                        <c:v>0</c:v>
                      </c:pt>
                      <c:pt idx="2456">
                        <c:v>0</c:v>
                      </c:pt>
                      <c:pt idx="2457">
                        <c:v>0</c:v>
                      </c:pt>
                      <c:pt idx="2458">
                        <c:v>0</c:v>
                      </c:pt>
                      <c:pt idx="2459">
                        <c:v>0</c:v>
                      </c:pt>
                      <c:pt idx="2460">
                        <c:v>0</c:v>
                      </c:pt>
                      <c:pt idx="2461">
                        <c:v>0</c:v>
                      </c:pt>
                      <c:pt idx="2462">
                        <c:v>0</c:v>
                      </c:pt>
                      <c:pt idx="2463">
                        <c:v>0</c:v>
                      </c:pt>
                      <c:pt idx="2464">
                        <c:v>0</c:v>
                      </c:pt>
                      <c:pt idx="2465">
                        <c:v>0</c:v>
                      </c:pt>
                      <c:pt idx="2466">
                        <c:v>0</c:v>
                      </c:pt>
                      <c:pt idx="2467">
                        <c:v>0</c:v>
                      </c:pt>
                      <c:pt idx="2468">
                        <c:v>0</c:v>
                      </c:pt>
                      <c:pt idx="2469">
                        <c:v>0</c:v>
                      </c:pt>
                      <c:pt idx="2470">
                        <c:v>0</c:v>
                      </c:pt>
                      <c:pt idx="2471">
                        <c:v>0</c:v>
                      </c:pt>
                      <c:pt idx="2472">
                        <c:v>0</c:v>
                      </c:pt>
                      <c:pt idx="2473">
                        <c:v>0</c:v>
                      </c:pt>
                      <c:pt idx="2474">
                        <c:v>0</c:v>
                      </c:pt>
                      <c:pt idx="2475">
                        <c:v>0</c:v>
                      </c:pt>
                      <c:pt idx="2476">
                        <c:v>0</c:v>
                      </c:pt>
                      <c:pt idx="2477">
                        <c:v>0</c:v>
                      </c:pt>
                      <c:pt idx="2478">
                        <c:v>0</c:v>
                      </c:pt>
                      <c:pt idx="2479">
                        <c:v>0</c:v>
                      </c:pt>
                      <c:pt idx="2480">
                        <c:v>0</c:v>
                      </c:pt>
                      <c:pt idx="2481">
                        <c:v>0</c:v>
                      </c:pt>
                      <c:pt idx="2482">
                        <c:v>0</c:v>
                      </c:pt>
                      <c:pt idx="2483">
                        <c:v>0</c:v>
                      </c:pt>
                      <c:pt idx="2484">
                        <c:v>0</c:v>
                      </c:pt>
                      <c:pt idx="2485">
                        <c:v>0</c:v>
                      </c:pt>
                      <c:pt idx="2486">
                        <c:v>0</c:v>
                      </c:pt>
                      <c:pt idx="2487">
                        <c:v>0</c:v>
                      </c:pt>
                      <c:pt idx="2488">
                        <c:v>0</c:v>
                      </c:pt>
                      <c:pt idx="2489">
                        <c:v>0</c:v>
                      </c:pt>
                      <c:pt idx="2490">
                        <c:v>0</c:v>
                      </c:pt>
                      <c:pt idx="2491">
                        <c:v>0</c:v>
                      </c:pt>
                      <c:pt idx="2492">
                        <c:v>0</c:v>
                      </c:pt>
                      <c:pt idx="2493">
                        <c:v>0</c:v>
                      </c:pt>
                      <c:pt idx="2494">
                        <c:v>0</c:v>
                      </c:pt>
                      <c:pt idx="2495">
                        <c:v>0</c:v>
                      </c:pt>
                      <c:pt idx="2496">
                        <c:v>0</c:v>
                      </c:pt>
                      <c:pt idx="2497">
                        <c:v>0</c:v>
                      </c:pt>
                      <c:pt idx="2498">
                        <c:v>0</c:v>
                      </c:pt>
                      <c:pt idx="2499">
                        <c:v>0</c:v>
                      </c:pt>
                      <c:pt idx="2500">
                        <c:v>0</c:v>
                      </c:pt>
                      <c:pt idx="2501">
                        <c:v>0</c:v>
                      </c:pt>
                      <c:pt idx="2502">
                        <c:v>0</c:v>
                      </c:pt>
                      <c:pt idx="2503">
                        <c:v>0</c:v>
                      </c:pt>
                      <c:pt idx="2504">
                        <c:v>0</c:v>
                      </c:pt>
                      <c:pt idx="2505">
                        <c:v>0</c:v>
                      </c:pt>
                      <c:pt idx="2506">
                        <c:v>0</c:v>
                      </c:pt>
                      <c:pt idx="2507">
                        <c:v>0</c:v>
                      </c:pt>
                      <c:pt idx="2508">
                        <c:v>0</c:v>
                      </c:pt>
                      <c:pt idx="2509">
                        <c:v>0</c:v>
                      </c:pt>
                      <c:pt idx="2510">
                        <c:v>0</c:v>
                      </c:pt>
                      <c:pt idx="2511">
                        <c:v>0</c:v>
                      </c:pt>
                      <c:pt idx="2512">
                        <c:v>0</c:v>
                      </c:pt>
                      <c:pt idx="2513">
                        <c:v>0</c:v>
                      </c:pt>
                      <c:pt idx="2514">
                        <c:v>0</c:v>
                      </c:pt>
                      <c:pt idx="2515">
                        <c:v>0</c:v>
                      </c:pt>
                      <c:pt idx="2516">
                        <c:v>0</c:v>
                      </c:pt>
                      <c:pt idx="2517">
                        <c:v>0</c:v>
                      </c:pt>
                      <c:pt idx="2518">
                        <c:v>0</c:v>
                      </c:pt>
                      <c:pt idx="2519">
                        <c:v>0</c:v>
                      </c:pt>
                      <c:pt idx="2520">
                        <c:v>0</c:v>
                      </c:pt>
                      <c:pt idx="2521">
                        <c:v>0</c:v>
                      </c:pt>
                      <c:pt idx="2522">
                        <c:v>0</c:v>
                      </c:pt>
                      <c:pt idx="2523">
                        <c:v>0</c:v>
                      </c:pt>
                      <c:pt idx="2524">
                        <c:v>0</c:v>
                      </c:pt>
                      <c:pt idx="2525">
                        <c:v>0</c:v>
                      </c:pt>
                      <c:pt idx="2526">
                        <c:v>0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0</c:v>
                      </c:pt>
                      <c:pt idx="2535">
                        <c:v>0</c:v>
                      </c:pt>
                      <c:pt idx="2536">
                        <c:v>0</c:v>
                      </c:pt>
                      <c:pt idx="2537">
                        <c:v>0</c:v>
                      </c:pt>
                      <c:pt idx="2538">
                        <c:v>0</c:v>
                      </c:pt>
                      <c:pt idx="2539">
                        <c:v>0</c:v>
                      </c:pt>
                      <c:pt idx="2540">
                        <c:v>0</c:v>
                      </c:pt>
                      <c:pt idx="2541">
                        <c:v>0</c:v>
                      </c:pt>
                      <c:pt idx="2542">
                        <c:v>0</c:v>
                      </c:pt>
                      <c:pt idx="2543">
                        <c:v>0</c:v>
                      </c:pt>
                      <c:pt idx="2544">
                        <c:v>0</c:v>
                      </c:pt>
                      <c:pt idx="2545">
                        <c:v>0</c:v>
                      </c:pt>
                      <c:pt idx="2546">
                        <c:v>0</c:v>
                      </c:pt>
                      <c:pt idx="2547">
                        <c:v>0</c:v>
                      </c:pt>
                      <c:pt idx="2548">
                        <c:v>0</c:v>
                      </c:pt>
                      <c:pt idx="2549">
                        <c:v>0</c:v>
                      </c:pt>
                      <c:pt idx="2550">
                        <c:v>0</c:v>
                      </c:pt>
                      <c:pt idx="2551">
                        <c:v>0</c:v>
                      </c:pt>
                      <c:pt idx="2552">
                        <c:v>0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0</c:v>
                      </c:pt>
                      <c:pt idx="2559">
                        <c:v>0</c:v>
                      </c:pt>
                      <c:pt idx="2560">
                        <c:v>0</c:v>
                      </c:pt>
                      <c:pt idx="2561">
                        <c:v>0</c:v>
                      </c:pt>
                      <c:pt idx="2562">
                        <c:v>0</c:v>
                      </c:pt>
                      <c:pt idx="2563">
                        <c:v>0</c:v>
                      </c:pt>
                      <c:pt idx="2564">
                        <c:v>0</c:v>
                      </c:pt>
                      <c:pt idx="2565">
                        <c:v>0</c:v>
                      </c:pt>
                      <c:pt idx="2566">
                        <c:v>0</c:v>
                      </c:pt>
                      <c:pt idx="2567">
                        <c:v>0</c:v>
                      </c:pt>
                      <c:pt idx="2568">
                        <c:v>0</c:v>
                      </c:pt>
                      <c:pt idx="2569">
                        <c:v>0</c:v>
                      </c:pt>
                      <c:pt idx="2570">
                        <c:v>0</c:v>
                      </c:pt>
                      <c:pt idx="2571">
                        <c:v>0</c:v>
                      </c:pt>
                      <c:pt idx="2572">
                        <c:v>0</c:v>
                      </c:pt>
                      <c:pt idx="2573">
                        <c:v>0</c:v>
                      </c:pt>
                      <c:pt idx="2574">
                        <c:v>0</c:v>
                      </c:pt>
                      <c:pt idx="2575">
                        <c:v>0</c:v>
                      </c:pt>
                      <c:pt idx="2576">
                        <c:v>0</c:v>
                      </c:pt>
                      <c:pt idx="2577">
                        <c:v>0</c:v>
                      </c:pt>
                      <c:pt idx="2578">
                        <c:v>0</c:v>
                      </c:pt>
                      <c:pt idx="2579">
                        <c:v>0</c:v>
                      </c:pt>
                      <c:pt idx="2580">
                        <c:v>0</c:v>
                      </c:pt>
                      <c:pt idx="2581">
                        <c:v>0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0</c:v>
                      </c:pt>
                      <c:pt idx="2591">
                        <c:v>0</c:v>
                      </c:pt>
                      <c:pt idx="2592">
                        <c:v>0</c:v>
                      </c:pt>
                      <c:pt idx="2593">
                        <c:v>0</c:v>
                      </c:pt>
                      <c:pt idx="2594">
                        <c:v>0</c:v>
                      </c:pt>
                      <c:pt idx="2595">
                        <c:v>0</c:v>
                      </c:pt>
                      <c:pt idx="2596">
                        <c:v>0</c:v>
                      </c:pt>
                      <c:pt idx="2597">
                        <c:v>0</c:v>
                      </c:pt>
                      <c:pt idx="2598">
                        <c:v>0</c:v>
                      </c:pt>
                      <c:pt idx="2599">
                        <c:v>0</c:v>
                      </c:pt>
                      <c:pt idx="2600">
                        <c:v>0</c:v>
                      </c:pt>
                      <c:pt idx="2601">
                        <c:v>0</c:v>
                      </c:pt>
                      <c:pt idx="2602">
                        <c:v>0</c:v>
                      </c:pt>
                      <c:pt idx="2603">
                        <c:v>0</c:v>
                      </c:pt>
                      <c:pt idx="2604">
                        <c:v>0</c:v>
                      </c:pt>
                      <c:pt idx="2605">
                        <c:v>0</c:v>
                      </c:pt>
                      <c:pt idx="2606">
                        <c:v>0</c:v>
                      </c:pt>
                      <c:pt idx="2607">
                        <c:v>0</c:v>
                      </c:pt>
                      <c:pt idx="2608">
                        <c:v>0</c:v>
                      </c:pt>
                      <c:pt idx="2609">
                        <c:v>0</c:v>
                      </c:pt>
                      <c:pt idx="2610">
                        <c:v>0</c:v>
                      </c:pt>
                      <c:pt idx="2611">
                        <c:v>0</c:v>
                      </c:pt>
                      <c:pt idx="2612">
                        <c:v>0</c:v>
                      </c:pt>
                      <c:pt idx="2613">
                        <c:v>0</c:v>
                      </c:pt>
                      <c:pt idx="2614">
                        <c:v>0</c:v>
                      </c:pt>
                      <c:pt idx="2615">
                        <c:v>0</c:v>
                      </c:pt>
                      <c:pt idx="2616">
                        <c:v>0</c:v>
                      </c:pt>
                      <c:pt idx="2617">
                        <c:v>0</c:v>
                      </c:pt>
                      <c:pt idx="2618">
                        <c:v>0</c:v>
                      </c:pt>
                      <c:pt idx="2619">
                        <c:v>0</c:v>
                      </c:pt>
                      <c:pt idx="2620">
                        <c:v>0</c:v>
                      </c:pt>
                      <c:pt idx="2621">
                        <c:v>0</c:v>
                      </c:pt>
                      <c:pt idx="2622">
                        <c:v>0</c:v>
                      </c:pt>
                      <c:pt idx="2623">
                        <c:v>0</c:v>
                      </c:pt>
                      <c:pt idx="2624">
                        <c:v>0</c:v>
                      </c:pt>
                      <c:pt idx="2625">
                        <c:v>0</c:v>
                      </c:pt>
                      <c:pt idx="2626">
                        <c:v>0</c:v>
                      </c:pt>
                      <c:pt idx="2627">
                        <c:v>0</c:v>
                      </c:pt>
                      <c:pt idx="2628">
                        <c:v>0</c:v>
                      </c:pt>
                      <c:pt idx="2629">
                        <c:v>0</c:v>
                      </c:pt>
                      <c:pt idx="2630">
                        <c:v>0</c:v>
                      </c:pt>
                      <c:pt idx="2631">
                        <c:v>0</c:v>
                      </c:pt>
                      <c:pt idx="2632">
                        <c:v>0</c:v>
                      </c:pt>
                      <c:pt idx="2633">
                        <c:v>0</c:v>
                      </c:pt>
                      <c:pt idx="2634">
                        <c:v>0</c:v>
                      </c:pt>
                      <c:pt idx="2635">
                        <c:v>0</c:v>
                      </c:pt>
                      <c:pt idx="2636">
                        <c:v>0</c:v>
                      </c:pt>
                      <c:pt idx="2637">
                        <c:v>0</c:v>
                      </c:pt>
                      <c:pt idx="2638">
                        <c:v>0</c:v>
                      </c:pt>
                      <c:pt idx="2639">
                        <c:v>0</c:v>
                      </c:pt>
                      <c:pt idx="2640">
                        <c:v>0</c:v>
                      </c:pt>
                      <c:pt idx="2641">
                        <c:v>0</c:v>
                      </c:pt>
                      <c:pt idx="2642">
                        <c:v>0</c:v>
                      </c:pt>
                      <c:pt idx="2643">
                        <c:v>0</c:v>
                      </c:pt>
                      <c:pt idx="2644">
                        <c:v>0</c:v>
                      </c:pt>
                      <c:pt idx="2645">
                        <c:v>0</c:v>
                      </c:pt>
                      <c:pt idx="2646">
                        <c:v>0</c:v>
                      </c:pt>
                      <c:pt idx="2647">
                        <c:v>0</c:v>
                      </c:pt>
                      <c:pt idx="2648">
                        <c:v>0</c:v>
                      </c:pt>
                      <c:pt idx="2649">
                        <c:v>0</c:v>
                      </c:pt>
                      <c:pt idx="2650">
                        <c:v>0</c:v>
                      </c:pt>
                      <c:pt idx="2651">
                        <c:v>0</c:v>
                      </c:pt>
                      <c:pt idx="2652">
                        <c:v>0</c:v>
                      </c:pt>
                      <c:pt idx="2653">
                        <c:v>0</c:v>
                      </c:pt>
                      <c:pt idx="2654">
                        <c:v>0</c:v>
                      </c:pt>
                      <c:pt idx="2655">
                        <c:v>0</c:v>
                      </c:pt>
                      <c:pt idx="2656">
                        <c:v>0</c:v>
                      </c:pt>
                      <c:pt idx="2657">
                        <c:v>0</c:v>
                      </c:pt>
                      <c:pt idx="2658">
                        <c:v>0</c:v>
                      </c:pt>
                      <c:pt idx="2659">
                        <c:v>0</c:v>
                      </c:pt>
                      <c:pt idx="2660">
                        <c:v>0</c:v>
                      </c:pt>
                      <c:pt idx="2661">
                        <c:v>0</c:v>
                      </c:pt>
                      <c:pt idx="2662">
                        <c:v>0</c:v>
                      </c:pt>
                      <c:pt idx="2663">
                        <c:v>0</c:v>
                      </c:pt>
                      <c:pt idx="2664">
                        <c:v>0</c:v>
                      </c:pt>
                      <c:pt idx="2665">
                        <c:v>0</c:v>
                      </c:pt>
                      <c:pt idx="2666">
                        <c:v>0</c:v>
                      </c:pt>
                      <c:pt idx="2667">
                        <c:v>0</c:v>
                      </c:pt>
                      <c:pt idx="2668">
                        <c:v>0</c:v>
                      </c:pt>
                      <c:pt idx="2669">
                        <c:v>0</c:v>
                      </c:pt>
                      <c:pt idx="2670">
                        <c:v>0</c:v>
                      </c:pt>
                      <c:pt idx="2671">
                        <c:v>0</c:v>
                      </c:pt>
                      <c:pt idx="2672">
                        <c:v>0</c:v>
                      </c:pt>
                      <c:pt idx="2673">
                        <c:v>0</c:v>
                      </c:pt>
                      <c:pt idx="2674">
                        <c:v>0</c:v>
                      </c:pt>
                      <c:pt idx="2675">
                        <c:v>0</c:v>
                      </c:pt>
                      <c:pt idx="2676">
                        <c:v>0</c:v>
                      </c:pt>
                      <c:pt idx="2677">
                        <c:v>0</c:v>
                      </c:pt>
                      <c:pt idx="2678">
                        <c:v>0</c:v>
                      </c:pt>
                      <c:pt idx="2679">
                        <c:v>0</c:v>
                      </c:pt>
                      <c:pt idx="2680">
                        <c:v>0</c:v>
                      </c:pt>
                      <c:pt idx="2681">
                        <c:v>0</c:v>
                      </c:pt>
                      <c:pt idx="2682">
                        <c:v>0</c:v>
                      </c:pt>
                      <c:pt idx="2683">
                        <c:v>0</c:v>
                      </c:pt>
                      <c:pt idx="2684">
                        <c:v>0</c:v>
                      </c:pt>
                      <c:pt idx="2685">
                        <c:v>0</c:v>
                      </c:pt>
                      <c:pt idx="2686">
                        <c:v>0</c:v>
                      </c:pt>
                      <c:pt idx="2687">
                        <c:v>0</c:v>
                      </c:pt>
                      <c:pt idx="2688">
                        <c:v>0</c:v>
                      </c:pt>
                      <c:pt idx="2689">
                        <c:v>0</c:v>
                      </c:pt>
                      <c:pt idx="2690">
                        <c:v>0</c:v>
                      </c:pt>
                      <c:pt idx="2691">
                        <c:v>0</c:v>
                      </c:pt>
                      <c:pt idx="2692">
                        <c:v>0</c:v>
                      </c:pt>
                      <c:pt idx="2693">
                        <c:v>0</c:v>
                      </c:pt>
                      <c:pt idx="2694">
                        <c:v>0</c:v>
                      </c:pt>
                      <c:pt idx="2695">
                        <c:v>0</c:v>
                      </c:pt>
                      <c:pt idx="2696">
                        <c:v>0</c:v>
                      </c:pt>
                      <c:pt idx="2697">
                        <c:v>0</c:v>
                      </c:pt>
                      <c:pt idx="2698">
                        <c:v>0</c:v>
                      </c:pt>
                      <c:pt idx="2699">
                        <c:v>0</c:v>
                      </c:pt>
                      <c:pt idx="2700">
                        <c:v>0</c:v>
                      </c:pt>
                      <c:pt idx="2701">
                        <c:v>0</c:v>
                      </c:pt>
                      <c:pt idx="2702">
                        <c:v>0</c:v>
                      </c:pt>
                      <c:pt idx="2703">
                        <c:v>0</c:v>
                      </c:pt>
                      <c:pt idx="2704">
                        <c:v>0</c:v>
                      </c:pt>
                      <c:pt idx="2705">
                        <c:v>0</c:v>
                      </c:pt>
                      <c:pt idx="2706">
                        <c:v>0</c:v>
                      </c:pt>
                      <c:pt idx="2707">
                        <c:v>0</c:v>
                      </c:pt>
                      <c:pt idx="2708">
                        <c:v>0</c:v>
                      </c:pt>
                      <c:pt idx="2709">
                        <c:v>0</c:v>
                      </c:pt>
                      <c:pt idx="2710">
                        <c:v>0</c:v>
                      </c:pt>
                      <c:pt idx="2711">
                        <c:v>0</c:v>
                      </c:pt>
                      <c:pt idx="2712">
                        <c:v>0</c:v>
                      </c:pt>
                      <c:pt idx="2713">
                        <c:v>0</c:v>
                      </c:pt>
                      <c:pt idx="2714">
                        <c:v>0</c:v>
                      </c:pt>
                      <c:pt idx="2715">
                        <c:v>0</c:v>
                      </c:pt>
                      <c:pt idx="2716">
                        <c:v>0</c:v>
                      </c:pt>
                      <c:pt idx="2717">
                        <c:v>0</c:v>
                      </c:pt>
                      <c:pt idx="2718">
                        <c:v>0</c:v>
                      </c:pt>
                      <c:pt idx="2719">
                        <c:v>0</c:v>
                      </c:pt>
                      <c:pt idx="2720">
                        <c:v>0</c:v>
                      </c:pt>
                      <c:pt idx="2721">
                        <c:v>0</c:v>
                      </c:pt>
                      <c:pt idx="2722">
                        <c:v>0</c:v>
                      </c:pt>
                      <c:pt idx="2723">
                        <c:v>0</c:v>
                      </c:pt>
                      <c:pt idx="2724">
                        <c:v>0</c:v>
                      </c:pt>
                      <c:pt idx="2725">
                        <c:v>0</c:v>
                      </c:pt>
                      <c:pt idx="2726">
                        <c:v>0</c:v>
                      </c:pt>
                      <c:pt idx="2727">
                        <c:v>0</c:v>
                      </c:pt>
                      <c:pt idx="2728">
                        <c:v>0</c:v>
                      </c:pt>
                      <c:pt idx="2729">
                        <c:v>0</c:v>
                      </c:pt>
                      <c:pt idx="2730">
                        <c:v>0</c:v>
                      </c:pt>
                      <c:pt idx="2731">
                        <c:v>0</c:v>
                      </c:pt>
                      <c:pt idx="2732">
                        <c:v>0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</c:v>
                      </c:pt>
                      <c:pt idx="2743">
                        <c:v>0</c:v>
                      </c:pt>
                      <c:pt idx="2744">
                        <c:v>0</c:v>
                      </c:pt>
                      <c:pt idx="2745">
                        <c:v>0</c:v>
                      </c:pt>
                      <c:pt idx="2746">
                        <c:v>0</c:v>
                      </c:pt>
                      <c:pt idx="2747">
                        <c:v>0</c:v>
                      </c:pt>
                      <c:pt idx="2748">
                        <c:v>0</c:v>
                      </c:pt>
                      <c:pt idx="2749">
                        <c:v>0</c:v>
                      </c:pt>
                      <c:pt idx="2750">
                        <c:v>0</c:v>
                      </c:pt>
                      <c:pt idx="2751">
                        <c:v>0</c:v>
                      </c:pt>
                      <c:pt idx="2752">
                        <c:v>0</c:v>
                      </c:pt>
                      <c:pt idx="2753">
                        <c:v>0</c:v>
                      </c:pt>
                      <c:pt idx="2754">
                        <c:v>0</c:v>
                      </c:pt>
                      <c:pt idx="2755">
                        <c:v>0</c:v>
                      </c:pt>
                      <c:pt idx="2756">
                        <c:v>0</c:v>
                      </c:pt>
                      <c:pt idx="2757">
                        <c:v>0</c:v>
                      </c:pt>
                      <c:pt idx="2758">
                        <c:v>0</c:v>
                      </c:pt>
                      <c:pt idx="2759">
                        <c:v>0</c:v>
                      </c:pt>
                      <c:pt idx="2760">
                        <c:v>0</c:v>
                      </c:pt>
                      <c:pt idx="2761">
                        <c:v>0</c:v>
                      </c:pt>
                      <c:pt idx="2762">
                        <c:v>0</c:v>
                      </c:pt>
                      <c:pt idx="2763">
                        <c:v>0</c:v>
                      </c:pt>
                      <c:pt idx="2764">
                        <c:v>0</c:v>
                      </c:pt>
                      <c:pt idx="2765">
                        <c:v>0</c:v>
                      </c:pt>
                      <c:pt idx="2766">
                        <c:v>0</c:v>
                      </c:pt>
                      <c:pt idx="2767">
                        <c:v>0</c:v>
                      </c:pt>
                      <c:pt idx="2768">
                        <c:v>0</c:v>
                      </c:pt>
                      <c:pt idx="2769">
                        <c:v>0</c:v>
                      </c:pt>
                      <c:pt idx="2770">
                        <c:v>0</c:v>
                      </c:pt>
                      <c:pt idx="2771">
                        <c:v>0</c:v>
                      </c:pt>
                      <c:pt idx="2772">
                        <c:v>0</c:v>
                      </c:pt>
                      <c:pt idx="2773">
                        <c:v>0</c:v>
                      </c:pt>
                      <c:pt idx="2774">
                        <c:v>0</c:v>
                      </c:pt>
                      <c:pt idx="2775">
                        <c:v>0</c:v>
                      </c:pt>
                      <c:pt idx="2776">
                        <c:v>0</c:v>
                      </c:pt>
                      <c:pt idx="2777">
                        <c:v>0</c:v>
                      </c:pt>
                      <c:pt idx="2778">
                        <c:v>0</c:v>
                      </c:pt>
                      <c:pt idx="2779">
                        <c:v>0</c:v>
                      </c:pt>
                      <c:pt idx="2780">
                        <c:v>0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0</c:v>
                      </c:pt>
                      <c:pt idx="2791">
                        <c:v>0</c:v>
                      </c:pt>
                      <c:pt idx="2792">
                        <c:v>0</c:v>
                      </c:pt>
                      <c:pt idx="2793">
                        <c:v>0</c:v>
                      </c:pt>
                      <c:pt idx="2794">
                        <c:v>0</c:v>
                      </c:pt>
                      <c:pt idx="2795">
                        <c:v>0</c:v>
                      </c:pt>
                      <c:pt idx="2796">
                        <c:v>0</c:v>
                      </c:pt>
                      <c:pt idx="2797">
                        <c:v>0</c:v>
                      </c:pt>
                      <c:pt idx="2798">
                        <c:v>0</c:v>
                      </c:pt>
                      <c:pt idx="2799">
                        <c:v>0</c:v>
                      </c:pt>
                      <c:pt idx="2800">
                        <c:v>0</c:v>
                      </c:pt>
                      <c:pt idx="2801">
                        <c:v>0</c:v>
                      </c:pt>
                      <c:pt idx="2802">
                        <c:v>0</c:v>
                      </c:pt>
                      <c:pt idx="2803">
                        <c:v>0</c:v>
                      </c:pt>
                      <c:pt idx="2804">
                        <c:v>0</c:v>
                      </c:pt>
                      <c:pt idx="2805">
                        <c:v>0</c:v>
                      </c:pt>
                      <c:pt idx="2806">
                        <c:v>0</c:v>
                      </c:pt>
                      <c:pt idx="2807">
                        <c:v>0</c:v>
                      </c:pt>
                      <c:pt idx="2808">
                        <c:v>0</c:v>
                      </c:pt>
                      <c:pt idx="2809">
                        <c:v>0</c:v>
                      </c:pt>
                      <c:pt idx="2810">
                        <c:v>0</c:v>
                      </c:pt>
                      <c:pt idx="2811">
                        <c:v>0</c:v>
                      </c:pt>
                      <c:pt idx="2812">
                        <c:v>0</c:v>
                      </c:pt>
                      <c:pt idx="2813">
                        <c:v>0</c:v>
                      </c:pt>
                      <c:pt idx="2814">
                        <c:v>0</c:v>
                      </c:pt>
                      <c:pt idx="2815">
                        <c:v>0</c:v>
                      </c:pt>
                      <c:pt idx="2816">
                        <c:v>0</c:v>
                      </c:pt>
                      <c:pt idx="2817">
                        <c:v>0</c:v>
                      </c:pt>
                      <c:pt idx="2818">
                        <c:v>0</c:v>
                      </c:pt>
                      <c:pt idx="2819">
                        <c:v>0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</c:v>
                      </c:pt>
                      <c:pt idx="2826">
                        <c:v>0</c:v>
                      </c:pt>
                      <c:pt idx="2827">
                        <c:v>0</c:v>
                      </c:pt>
                      <c:pt idx="2828">
                        <c:v>0</c:v>
                      </c:pt>
                      <c:pt idx="2829">
                        <c:v>0</c:v>
                      </c:pt>
                      <c:pt idx="2830">
                        <c:v>0</c:v>
                      </c:pt>
                      <c:pt idx="2831">
                        <c:v>0</c:v>
                      </c:pt>
                      <c:pt idx="2832">
                        <c:v>0</c:v>
                      </c:pt>
                      <c:pt idx="2833">
                        <c:v>0</c:v>
                      </c:pt>
                      <c:pt idx="2834">
                        <c:v>0</c:v>
                      </c:pt>
                      <c:pt idx="2835">
                        <c:v>0</c:v>
                      </c:pt>
                      <c:pt idx="2836">
                        <c:v>0</c:v>
                      </c:pt>
                      <c:pt idx="2837">
                        <c:v>0</c:v>
                      </c:pt>
                      <c:pt idx="2838">
                        <c:v>0</c:v>
                      </c:pt>
                      <c:pt idx="2839">
                        <c:v>0</c:v>
                      </c:pt>
                      <c:pt idx="2840">
                        <c:v>0</c:v>
                      </c:pt>
                      <c:pt idx="2841">
                        <c:v>0</c:v>
                      </c:pt>
                      <c:pt idx="2842">
                        <c:v>0</c:v>
                      </c:pt>
                      <c:pt idx="2843">
                        <c:v>0</c:v>
                      </c:pt>
                      <c:pt idx="2844">
                        <c:v>0</c:v>
                      </c:pt>
                      <c:pt idx="2845">
                        <c:v>0</c:v>
                      </c:pt>
                      <c:pt idx="2846">
                        <c:v>0</c:v>
                      </c:pt>
                      <c:pt idx="2847">
                        <c:v>0</c:v>
                      </c:pt>
                      <c:pt idx="2848">
                        <c:v>0</c:v>
                      </c:pt>
                      <c:pt idx="2849">
                        <c:v>0</c:v>
                      </c:pt>
                      <c:pt idx="2850">
                        <c:v>0</c:v>
                      </c:pt>
                      <c:pt idx="2851">
                        <c:v>0</c:v>
                      </c:pt>
                      <c:pt idx="2852">
                        <c:v>0</c:v>
                      </c:pt>
                      <c:pt idx="2853">
                        <c:v>0</c:v>
                      </c:pt>
                      <c:pt idx="2854">
                        <c:v>0</c:v>
                      </c:pt>
                      <c:pt idx="2855">
                        <c:v>0</c:v>
                      </c:pt>
                      <c:pt idx="2856">
                        <c:v>0</c:v>
                      </c:pt>
                      <c:pt idx="2857">
                        <c:v>0</c:v>
                      </c:pt>
                      <c:pt idx="2858">
                        <c:v>0</c:v>
                      </c:pt>
                      <c:pt idx="2859">
                        <c:v>0</c:v>
                      </c:pt>
                      <c:pt idx="2860">
                        <c:v>0</c:v>
                      </c:pt>
                      <c:pt idx="2861">
                        <c:v>0</c:v>
                      </c:pt>
                      <c:pt idx="2862">
                        <c:v>0</c:v>
                      </c:pt>
                      <c:pt idx="2863">
                        <c:v>0</c:v>
                      </c:pt>
                      <c:pt idx="2864">
                        <c:v>0</c:v>
                      </c:pt>
                      <c:pt idx="2865">
                        <c:v>0</c:v>
                      </c:pt>
                      <c:pt idx="2866">
                        <c:v>0</c:v>
                      </c:pt>
                      <c:pt idx="2867">
                        <c:v>0</c:v>
                      </c:pt>
                      <c:pt idx="2868">
                        <c:v>0</c:v>
                      </c:pt>
                      <c:pt idx="2869">
                        <c:v>0</c:v>
                      </c:pt>
                      <c:pt idx="2870">
                        <c:v>0</c:v>
                      </c:pt>
                      <c:pt idx="2871">
                        <c:v>0</c:v>
                      </c:pt>
                      <c:pt idx="2872">
                        <c:v>0</c:v>
                      </c:pt>
                      <c:pt idx="2873">
                        <c:v>0</c:v>
                      </c:pt>
                      <c:pt idx="2874">
                        <c:v>0</c:v>
                      </c:pt>
                      <c:pt idx="2875">
                        <c:v>0</c:v>
                      </c:pt>
                      <c:pt idx="2876">
                        <c:v>0</c:v>
                      </c:pt>
                      <c:pt idx="2877">
                        <c:v>0</c:v>
                      </c:pt>
                      <c:pt idx="2878">
                        <c:v>0</c:v>
                      </c:pt>
                      <c:pt idx="2879">
                        <c:v>0</c:v>
                      </c:pt>
                      <c:pt idx="2880">
                        <c:v>0</c:v>
                      </c:pt>
                      <c:pt idx="2881">
                        <c:v>0</c:v>
                      </c:pt>
                      <c:pt idx="2882">
                        <c:v>0</c:v>
                      </c:pt>
                      <c:pt idx="2883">
                        <c:v>0</c:v>
                      </c:pt>
                      <c:pt idx="2884">
                        <c:v>0</c:v>
                      </c:pt>
                      <c:pt idx="2885">
                        <c:v>0</c:v>
                      </c:pt>
                      <c:pt idx="2886">
                        <c:v>0</c:v>
                      </c:pt>
                      <c:pt idx="2887">
                        <c:v>0</c:v>
                      </c:pt>
                      <c:pt idx="2888">
                        <c:v>0</c:v>
                      </c:pt>
                      <c:pt idx="2889">
                        <c:v>0</c:v>
                      </c:pt>
                      <c:pt idx="2890">
                        <c:v>0</c:v>
                      </c:pt>
                      <c:pt idx="2891">
                        <c:v>0</c:v>
                      </c:pt>
                      <c:pt idx="2892">
                        <c:v>0</c:v>
                      </c:pt>
                      <c:pt idx="2893">
                        <c:v>0</c:v>
                      </c:pt>
                      <c:pt idx="2894">
                        <c:v>0</c:v>
                      </c:pt>
                      <c:pt idx="2895">
                        <c:v>0</c:v>
                      </c:pt>
                      <c:pt idx="2896">
                        <c:v>0</c:v>
                      </c:pt>
                      <c:pt idx="2897">
                        <c:v>0</c:v>
                      </c:pt>
                      <c:pt idx="2898">
                        <c:v>0</c:v>
                      </c:pt>
                      <c:pt idx="2899">
                        <c:v>0</c:v>
                      </c:pt>
                      <c:pt idx="2900">
                        <c:v>0</c:v>
                      </c:pt>
                      <c:pt idx="2901">
                        <c:v>0</c:v>
                      </c:pt>
                      <c:pt idx="2902">
                        <c:v>0</c:v>
                      </c:pt>
                      <c:pt idx="2903">
                        <c:v>0</c:v>
                      </c:pt>
                      <c:pt idx="2904">
                        <c:v>0</c:v>
                      </c:pt>
                      <c:pt idx="2905">
                        <c:v>0</c:v>
                      </c:pt>
                      <c:pt idx="2906">
                        <c:v>0</c:v>
                      </c:pt>
                      <c:pt idx="2907">
                        <c:v>0</c:v>
                      </c:pt>
                      <c:pt idx="2908">
                        <c:v>0</c:v>
                      </c:pt>
                      <c:pt idx="2909">
                        <c:v>0</c:v>
                      </c:pt>
                      <c:pt idx="2910">
                        <c:v>0</c:v>
                      </c:pt>
                      <c:pt idx="2911">
                        <c:v>0</c:v>
                      </c:pt>
                      <c:pt idx="2912">
                        <c:v>0</c:v>
                      </c:pt>
                      <c:pt idx="2913">
                        <c:v>0</c:v>
                      </c:pt>
                      <c:pt idx="2914">
                        <c:v>0</c:v>
                      </c:pt>
                      <c:pt idx="2915">
                        <c:v>0</c:v>
                      </c:pt>
                      <c:pt idx="2916">
                        <c:v>0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</c:v>
                      </c:pt>
                      <c:pt idx="2927">
                        <c:v>0</c:v>
                      </c:pt>
                      <c:pt idx="2928">
                        <c:v>0</c:v>
                      </c:pt>
                      <c:pt idx="2929">
                        <c:v>0</c:v>
                      </c:pt>
                      <c:pt idx="2930">
                        <c:v>0</c:v>
                      </c:pt>
                      <c:pt idx="2931">
                        <c:v>0</c:v>
                      </c:pt>
                      <c:pt idx="2932">
                        <c:v>0</c:v>
                      </c:pt>
                      <c:pt idx="2933">
                        <c:v>0</c:v>
                      </c:pt>
                      <c:pt idx="2934">
                        <c:v>0</c:v>
                      </c:pt>
                      <c:pt idx="2935">
                        <c:v>0</c:v>
                      </c:pt>
                      <c:pt idx="2936">
                        <c:v>0</c:v>
                      </c:pt>
                      <c:pt idx="2937">
                        <c:v>0</c:v>
                      </c:pt>
                      <c:pt idx="2938">
                        <c:v>0</c:v>
                      </c:pt>
                      <c:pt idx="2939">
                        <c:v>0</c:v>
                      </c:pt>
                      <c:pt idx="2940">
                        <c:v>0</c:v>
                      </c:pt>
                      <c:pt idx="2941">
                        <c:v>0</c:v>
                      </c:pt>
                      <c:pt idx="2942">
                        <c:v>0</c:v>
                      </c:pt>
                      <c:pt idx="2943">
                        <c:v>0</c:v>
                      </c:pt>
                      <c:pt idx="2944">
                        <c:v>0</c:v>
                      </c:pt>
                      <c:pt idx="2945">
                        <c:v>0</c:v>
                      </c:pt>
                      <c:pt idx="2946">
                        <c:v>0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</c:v>
                      </c:pt>
                      <c:pt idx="2952">
                        <c:v>0</c:v>
                      </c:pt>
                      <c:pt idx="2953">
                        <c:v>0</c:v>
                      </c:pt>
                      <c:pt idx="2954">
                        <c:v>0</c:v>
                      </c:pt>
                      <c:pt idx="2955">
                        <c:v>0</c:v>
                      </c:pt>
                      <c:pt idx="2956">
                        <c:v>0</c:v>
                      </c:pt>
                      <c:pt idx="2957">
                        <c:v>0</c:v>
                      </c:pt>
                      <c:pt idx="2958">
                        <c:v>0</c:v>
                      </c:pt>
                      <c:pt idx="2959">
                        <c:v>0</c:v>
                      </c:pt>
                      <c:pt idx="2960">
                        <c:v>0</c:v>
                      </c:pt>
                      <c:pt idx="2961">
                        <c:v>0</c:v>
                      </c:pt>
                      <c:pt idx="2962">
                        <c:v>0</c:v>
                      </c:pt>
                      <c:pt idx="2963">
                        <c:v>0</c:v>
                      </c:pt>
                      <c:pt idx="2964">
                        <c:v>0</c:v>
                      </c:pt>
                      <c:pt idx="2965">
                        <c:v>0</c:v>
                      </c:pt>
                      <c:pt idx="2966">
                        <c:v>0</c:v>
                      </c:pt>
                      <c:pt idx="2967">
                        <c:v>0</c:v>
                      </c:pt>
                      <c:pt idx="2968">
                        <c:v>0</c:v>
                      </c:pt>
                      <c:pt idx="2969">
                        <c:v>0</c:v>
                      </c:pt>
                      <c:pt idx="2970">
                        <c:v>0</c:v>
                      </c:pt>
                      <c:pt idx="2971">
                        <c:v>0</c:v>
                      </c:pt>
                      <c:pt idx="2972">
                        <c:v>0</c:v>
                      </c:pt>
                      <c:pt idx="2973">
                        <c:v>0</c:v>
                      </c:pt>
                      <c:pt idx="2974">
                        <c:v>0</c:v>
                      </c:pt>
                      <c:pt idx="2975">
                        <c:v>0</c:v>
                      </c:pt>
                      <c:pt idx="2976">
                        <c:v>0</c:v>
                      </c:pt>
                      <c:pt idx="2977">
                        <c:v>0</c:v>
                      </c:pt>
                      <c:pt idx="2978">
                        <c:v>0</c:v>
                      </c:pt>
                      <c:pt idx="2979">
                        <c:v>0</c:v>
                      </c:pt>
                      <c:pt idx="2980">
                        <c:v>0</c:v>
                      </c:pt>
                      <c:pt idx="2981">
                        <c:v>0</c:v>
                      </c:pt>
                      <c:pt idx="2982">
                        <c:v>0</c:v>
                      </c:pt>
                      <c:pt idx="2983">
                        <c:v>0</c:v>
                      </c:pt>
                      <c:pt idx="2984">
                        <c:v>0</c:v>
                      </c:pt>
                      <c:pt idx="2985">
                        <c:v>0</c:v>
                      </c:pt>
                      <c:pt idx="2986">
                        <c:v>0</c:v>
                      </c:pt>
                      <c:pt idx="2987">
                        <c:v>0</c:v>
                      </c:pt>
                      <c:pt idx="2988">
                        <c:v>0</c:v>
                      </c:pt>
                      <c:pt idx="2989">
                        <c:v>0</c:v>
                      </c:pt>
                      <c:pt idx="2990">
                        <c:v>0</c:v>
                      </c:pt>
                      <c:pt idx="2991">
                        <c:v>0</c:v>
                      </c:pt>
                      <c:pt idx="2992">
                        <c:v>0</c:v>
                      </c:pt>
                      <c:pt idx="2993">
                        <c:v>0</c:v>
                      </c:pt>
                      <c:pt idx="2994">
                        <c:v>0</c:v>
                      </c:pt>
                      <c:pt idx="2995">
                        <c:v>0</c:v>
                      </c:pt>
                      <c:pt idx="2996">
                        <c:v>0</c:v>
                      </c:pt>
                      <c:pt idx="2997">
                        <c:v>0</c:v>
                      </c:pt>
                      <c:pt idx="2998">
                        <c:v>0</c:v>
                      </c:pt>
                      <c:pt idx="2999">
                        <c:v>0</c:v>
                      </c:pt>
                      <c:pt idx="3000">
                        <c:v>0</c:v>
                      </c:pt>
                      <c:pt idx="3001">
                        <c:v>0</c:v>
                      </c:pt>
                      <c:pt idx="3002">
                        <c:v>0</c:v>
                      </c:pt>
                      <c:pt idx="3003">
                        <c:v>0</c:v>
                      </c:pt>
                      <c:pt idx="3004">
                        <c:v>0</c:v>
                      </c:pt>
                      <c:pt idx="3005">
                        <c:v>0</c:v>
                      </c:pt>
                      <c:pt idx="3006">
                        <c:v>0</c:v>
                      </c:pt>
                      <c:pt idx="3007">
                        <c:v>0</c:v>
                      </c:pt>
                      <c:pt idx="3008">
                        <c:v>0</c:v>
                      </c:pt>
                      <c:pt idx="3009">
                        <c:v>0</c:v>
                      </c:pt>
                      <c:pt idx="3010">
                        <c:v>0</c:v>
                      </c:pt>
                      <c:pt idx="3011">
                        <c:v>0</c:v>
                      </c:pt>
                      <c:pt idx="3012">
                        <c:v>0</c:v>
                      </c:pt>
                      <c:pt idx="3013">
                        <c:v>0</c:v>
                      </c:pt>
                      <c:pt idx="3014">
                        <c:v>0</c:v>
                      </c:pt>
                      <c:pt idx="3015">
                        <c:v>0</c:v>
                      </c:pt>
                      <c:pt idx="3016">
                        <c:v>0</c:v>
                      </c:pt>
                      <c:pt idx="3017">
                        <c:v>0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0</c:v>
                      </c:pt>
                      <c:pt idx="3026">
                        <c:v>0</c:v>
                      </c:pt>
                      <c:pt idx="3027">
                        <c:v>0</c:v>
                      </c:pt>
                      <c:pt idx="3028">
                        <c:v>0</c:v>
                      </c:pt>
                      <c:pt idx="3029">
                        <c:v>0</c:v>
                      </c:pt>
                      <c:pt idx="3030">
                        <c:v>0</c:v>
                      </c:pt>
                      <c:pt idx="3031">
                        <c:v>0</c:v>
                      </c:pt>
                      <c:pt idx="3032">
                        <c:v>0</c:v>
                      </c:pt>
                      <c:pt idx="3033">
                        <c:v>0</c:v>
                      </c:pt>
                      <c:pt idx="3034">
                        <c:v>0</c:v>
                      </c:pt>
                      <c:pt idx="3035">
                        <c:v>0</c:v>
                      </c:pt>
                      <c:pt idx="3036">
                        <c:v>0</c:v>
                      </c:pt>
                      <c:pt idx="3037">
                        <c:v>0</c:v>
                      </c:pt>
                      <c:pt idx="3038">
                        <c:v>0</c:v>
                      </c:pt>
                      <c:pt idx="3039">
                        <c:v>0</c:v>
                      </c:pt>
                      <c:pt idx="3040">
                        <c:v>0</c:v>
                      </c:pt>
                      <c:pt idx="3041">
                        <c:v>0</c:v>
                      </c:pt>
                      <c:pt idx="3042">
                        <c:v>0</c:v>
                      </c:pt>
                      <c:pt idx="3043">
                        <c:v>0</c:v>
                      </c:pt>
                      <c:pt idx="3044">
                        <c:v>0</c:v>
                      </c:pt>
                      <c:pt idx="3045">
                        <c:v>0</c:v>
                      </c:pt>
                      <c:pt idx="3046">
                        <c:v>0</c:v>
                      </c:pt>
                      <c:pt idx="3047">
                        <c:v>0</c:v>
                      </c:pt>
                      <c:pt idx="3048">
                        <c:v>0</c:v>
                      </c:pt>
                      <c:pt idx="3049">
                        <c:v>0</c:v>
                      </c:pt>
                      <c:pt idx="3050">
                        <c:v>0</c:v>
                      </c:pt>
                      <c:pt idx="3051">
                        <c:v>0</c:v>
                      </c:pt>
                      <c:pt idx="3052">
                        <c:v>0</c:v>
                      </c:pt>
                      <c:pt idx="3053">
                        <c:v>0</c:v>
                      </c:pt>
                      <c:pt idx="3054">
                        <c:v>0</c:v>
                      </c:pt>
                      <c:pt idx="3055">
                        <c:v>0</c:v>
                      </c:pt>
                      <c:pt idx="3056">
                        <c:v>0</c:v>
                      </c:pt>
                      <c:pt idx="3057">
                        <c:v>0</c:v>
                      </c:pt>
                      <c:pt idx="3058">
                        <c:v>0</c:v>
                      </c:pt>
                      <c:pt idx="3059">
                        <c:v>0</c:v>
                      </c:pt>
                      <c:pt idx="3060">
                        <c:v>0</c:v>
                      </c:pt>
                      <c:pt idx="3061">
                        <c:v>0</c:v>
                      </c:pt>
                      <c:pt idx="3062">
                        <c:v>0</c:v>
                      </c:pt>
                      <c:pt idx="3063">
                        <c:v>0</c:v>
                      </c:pt>
                      <c:pt idx="3064">
                        <c:v>0</c:v>
                      </c:pt>
                      <c:pt idx="3065">
                        <c:v>0</c:v>
                      </c:pt>
                      <c:pt idx="3066">
                        <c:v>0</c:v>
                      </c:pt>
                      <c:pt idx="3067">
                        <c:v>0</c:v>
                      </c:pt>
                      <c:pt idx="3068">
                        <c:v>0</c:v>
                      </c:pt>
                      <c:pt idx="3069">
                        <c:v>0</c:v>
                      </c:pt>
                      <c:pt idx="3070">
                        <c:v>0</c:v>
                      </c:pt>
                      <c:pt idx="3071">
                        <c:v>0</c:v>
                      </c:pt>
                      <c:pt idx="3072">
                        <c:v>0</c:v>
                      </c:pt>
                      <c:pt idx="3073">
                        <c:v>0</c:v>
                      </c:pt>
                      <c:pt idx="3074">
                        <c:v>0</c:v>
                      </c:pt>
                      <c:pt idx="3075">
                        <c:v>0</c:v>
                      </c:pt>
                      <c:pt idx="3076">
                        <c:v>0</c:v>
                      </c:pt>
                      <c:pt idx="3077">
                        <c:v>0</c:v>
                      </c:pt>
                      <c:pt idx="3078">
                        <c:v>0</c:v>
                      </c:pt>
                      <c:pt idx="3079">
                        <c:v>0</c:v>
                      </c:pt>
                      <c:pt idx="3080">
                        <c:v>0</c:v>
                      </c:pt>
                      <c:pt idx="3081">
                        <c:v>0</c:v>
                      </c:pt>
                      <c:pt idx="3082">
                        <c:v>0</c:v>
                      </c:pt>
                      <c:pt idx="3083">
                        <c:v>0</c:v>
                      </c:pt>
                      <c:pt idx="3084">
                        <c:v>0</c:v>
                      </c:pt>
                      <c:pt idx="3085">
                        <c:v>0</c:v>
                      </c:pt>
                      <c:pt idx="3086">
                        <c:v>0</c:v>
                      </c:pt>
                      <c:pt idx="3087">
                        <c:v>0</c:v>
                      </c:pt>
                      <c:pt idx="3088">
                        <c:v>0</c:v>
                      </c:pt>
                      <c:pt idx="3089">
                        <c:v>0</c:v>
                      </c:pt>
                      <c:pt idx="3090">
                        <c:v>0</c:v>
                      </c:pt>
                      <c:pt idx="3091">
                        <c:v>0</c:v>
                      </c:pt>
                      <c:pt idx="3092">
                        <c:v>0</c:v>
                      </c:pt>
                      <c:pt idx="3093">
                        <c:v>0</c:v>
                      </c:pt>
                      <c:pt idx="3094">
                        <c:v>0</c:v>
                      </c:pt>
                      <c:pt idx="3095">
                        <c:v>0</c:v>
                      </c:pt>
                      <c:pt idx="3096">
                        <c:v>0</c:v>
                      </c:pt>
                      <c:pt idx="3097">
                        <c:v>0</c:v>
                      </c:pt>
                      <c:pt idx="3098">
                        <c:v>0</c:v>
                      </c:pt>
                      <c:pt idx="3099">
                        <c:v>0</c:v>
                      </c:pt>
                      <c:pt idx="3100">
                        <c:v>0</c:v>
                      </c:pt>
                      <c:pt idx="3101">
                        <c:v>0</c:v>
                      </c:pt>
                      <c:pt idx="3102">
                        <c:v>0</c:v>
                      </c:pt>
                      <c:pt idx="3103">
                        <c:v>0</c:v>
                      </c:pt>
                      <c:pt idx="3104">
                        <c:v>0</c:v>
                      </c:pt>
                      <c:pt idx="3105">
                        <c:v>0</c:v>
                      </c:pt>
                      <c:pt idx="3106">
                        <c:v>0</c:v>
                      </c:pt>
                      <c:pt idx="3107">
                        <c:v>0</c:v>
                      </c:pt>
                      <c:pt idx="3108">
                        <c:v>0</c:v>
                      </c:pt>
                      <c:pt idx="3109">
                        <c:v>0</c:v>
                      </c:pt>
                      <c:pt idx="3110">
                        <c:v>0</c:v>
                      </c:pt>
                      <c:pt idx="3111">
                        <c:v>0</c:v>
                      </c:pt>
                      <c:pt idx="3112">
                        <c:v>0</c:v>
                      </c:pt>
                      <c:pt idx="3113">
                        <c:v>0</c:v>
                      </c:pt>
                      <c:pt idx="3114">
                        <c:v>0</c:v>
                      </c:pt>
                      <c:pt idx="3115">
                        <c:v>0</c:v>
                      </c:pt>
                      <c:pt idx="3116">
                        <c:v>0</c:v>
                      </c:pt>
                      <c:pt idx="3117">
                        <c:v>0</c:v>
                      </c:pt>
                      <c:pt idx="3118">
                        <c:v>0</c:v>
                      </c:pt>
                      <c:pt idx="3119">
                        <c:v>0</c:v>
                      </c:pt>
                      <c:pt idx="3120">
                        <c:v>0</c:v>
                      </c:pt>
                      <c:pt idx="3121">
                        <c:v>0</c:v>
                      </c:pt>
                      <c:pt idx="3122">
                        <c:v>0</c:v>
                      </c:pt>
                      <c:pt idx="3123">
                        <c:v>0</c:v>
                      </c:pt>
                      <c:pt idx="3124">
                        <c:v>0</c:v>
                      </c:pt>
                      <c:pt idx="3125">
                        <c:v>0</c:v>
                      </c:pt>
                      <c:pt idx="3126">
                        <c:v>0</c:v>
                      </c:pt>
                      <c:pt idx="3127">
                        <c:v>0</c:v>
                      </c:pt>
                      <c:pt idx="3128">
                        <c:v>0</c:v>
                      </c:pt>
                      <c:pt idx="3129">
                        <c:v>0</c:v>
                      </c:pt>
                      <c:pt idx="3130">
                        <c:v>0</c:v>
                      </c:pt>
                      <c:pt idx="3131">
                        <c:v>0</c:v>
                      </c:pt>
                      <c:pt idx="3132">
                        <c:v>0</c:v>
                      </c:pt>
                      <c:pt idx="3133">
                        <c:v>0</c:v>
                      </c:pt>
                      <c:pt idx="3134">
                        <c:v>0</c:v>
                      </c:pt>
                      <c:pt idx="3135">
                        <c:v>0</c:v>
                      </c:pt>
                      <c:pt idx="3136">
                        <c:v>0</c:v>
                      </c:pt>
                      <c:pt idx="3137">
                        <c:v>0</c:v>
                      </c:pt>
                      <c:pt idx="3138">
                        <c:v>0</c:v>
                      </c:pt>
                      <c:pt idx="3139">
                        <c:v>0</c:v>
                      </c:pt>
                      <c:pt idx="3140">
                        <c:v>0</c:v>
                      </c:pt>
                      <c:pt idx="3141">
                        <c:v>0</c:v>
                      </c:pt>
                      <c:pt idx="3142">
                        <c:v>0</c:v>
                      </c:pt>
                      <c:pt idx="3143">
                        <c:v>0</c:v>
                      </c:pt>
                      <c:pt idx="3144">
                        <c:v>0</c:v>
                      </c:pt>
                      <c:pt idx="3145">
                        <c:v>0</c:v>
                      </c:pt>
                      <c:pt idx="3146">
                        <c:v>0</c:v>
                      </c:pt>
                      <c:pt idx="3147">
                        <c:v>0</c:v>
                      </c:pt>
                      <c:pt idx="3148">
                        <c:v>0</c:v>
                      </c:pt>
                      <c:pt idx="3149">
                        <c:v>0</c:v>
                      </c:pt>
                      <c:pt idx="3150">
                        <c:v>0</c:v>
                      </c:pt>
                      <c:pt idx="3151">
                        <c:v>0</c:v>
                      </c:pt>
                      <c:pt idx="3152">
                        <c:v>0</c:v>
                      </c:pt>
                      <c:pt idx="3153">
                        <c:v>0</c:v>
                      </c:pt>
                      <c:pt idx="3154">
                        <c:v>0</c:v>
                      </c:pt>
                      <c:pt idx="3155">
                        <c:v>0</c:v>
                      </c:pt>
                      <c:pt idx="3156">
                        <c:v>0</c:v>
                      </c:pt>
                      <c:pt idx="3157">
                        <c:v>0</c:v>
                      </c:pt>
                      <c:pt idx="3158">
                        <c:v>0</c:v>
                      </c:pt>
                      <c:pt idx="3159">
                        <c:v>0</c:v>
                      </c:pt>
                      <c:pt idx="3160">
                        <c:v>0</c:v>
                      </c:pt>
                      <c:pt idx="3161">
                        <c:v>0</c:v>
                      </c:pt>
                      <c:pt idx="3162">
                        <c:v>0</c:v>
                      </c:pt>
                      <c:pt idx="3163">
                        <c:v>0</c:v>
                      </c:pt>
                      <c:pt idx="3164">
                        <c:v>0</c:v>
                      </c:pt>
                      <c:pt idx="3165">
                        <c:v>0</c:v>
                      </c:pt>
                      <c:pt idx="3166">
                        <c:v>0</c:v>
                      </c:pt>
                      <c:pt idx="3167">
                        <c:v>0</c:v>
                      </c:pt>
                      <c:pt idx="3168">
                        <c:v>0</c:v>
                      </c:pt>
                      <c:pt idx="3169">
                        <c:v>0</c:v>
                      </c:pt>
                      <c:pt idx="3170">
                        <c:v>0</c:v>
                      </c:pt>
                      <c:pt idx="3171">
                        <c:v>0</c:v>
                      </c:pt>
                      <c:pt idx="3172">
                        <c:v>0</c:v>
                      </c:pt>
                      <c:pt idx="3173">
                        <c:v>0</c:v>
                      </c:pt>
                      <c:pt idx="3174">
                        <c:v>0</c:v>
                      </c:pt>
                      <c:pt idx="3175">
                        <c:v>0</c:v>
                      </c:pt>
                      <c:pt idx="3176">
                        <c:v>0</c:v>
                      </c:pt>
                      <c:pt idx="3177">
                        <c:v>0</c:v>
                      </c:pt>
                      <c:pt idx="3178">
                        <c:v>0</c:v>
                      </c:pt>
                      <c:pt idx="3179">
                        <c:v>0</c:v>
                      </c:pt>
                      <c:pt idx="3180">
                        <c:v>0</c:v>
                      </c:pt>
                      <c:pt idx="3181">
                        <c:v>0</c:v>
                      </c:pt>
                      <c:pt idx="3182">
                        <c:v>0</c:v>
                      </c:pt>
                      <c:pt idx="3183">
                        <c:v>0</c:v>
                      </c:pt>
                      <c:pt idx="3184">
                        <c:v>0</c:v>
                      </c:pt>
                      <c:pt idx="3185">
                        <c:v>0</c:v>
                      </c:pt>
                      <c:pt idx="3186">
                        <c:v>0</c:v>
                      </c:pt>
                      <c:pt idx="3187">
                        <c:v>0</c:v>
                      </c:pt>
                      <c:pt idx="3188">
                        <c:v>0</c:v>
                      </c:pt>
                      <c:pt idx="3189">
                        <c:v>0</c:v>
                      </c:pt>
                      <c:pt idx="3190">
                        <c:v>0</c:v>
                      </c:pt>
                      <c:pt idx="3191">
                        <c:v>0</c:v>
                      </c:pt>
                      <c:pt idx="3192">
                        <c:v>0</c:v>
                      </c:pt>
                      <c:pt idx="3193">
                        <c:v>0</c:v>
                      </c:pt>
                      <c:pt idx="3194">
                        <c:v>0</c:v>
                      </c:pt>
                      <c:pt idx="3195">
                        <c:v>0</c:v>
                      </c:pt>
                      <c:pt idx="3196">
                        <c:v>0</c:v>
                      </c:pt>
                      <c:pt idx="3197">
                        <c:v>0</c:v>
                      </c:pt>
                      <c:pt idx="3198">
                        <c:v>0</c:v>
                      </c:pt>
                      <c:pt idx="3199">
                        <c:v>0</c:v>
                      </c:pt>
                      <c:pt idx="3200">
                        <c:v>0</c:v>
                      </c:pt>
                      <c:pt idx="3201">
                        <c:v>0</c:v>
                      </c:pt>
                      <c:pt idx="3202">
                        <c:v>0</c:v>
                      </c:pt>
                      <c:pt idx="3203">
                        <c:v>0</c:v>
                      </c:pt>
                      <c:pt idx="3204">
                        <c:v>0</c:v>
                      </c:pt>
                      <c:pt idx="3205">
                        <c:v>0</c:v>
                      </c:pt>
                      <c:pt idx="3206">
                        <c:v>0</c:v>
                      </c:pt>
                      <c:pt idx="3207">
                        <c:v>0</c:v>
                      </c:pt>
                      <c:pt idx="3208">
                        <c:v>0</c:v>
                      </c:pt>
                      <c:pt idx="3209">
                        <c:v>0</c:v>
                      </c:pt>
                      <c:pt idx="3210">
                        <c:v>0</c:v>
                      </c:pt>
                      <c:pt idx="3211">
                        <c:v>0</c:v>
                      </c:pt>
                      <c:pt idx="3212">
                        <c:v>0</c:v>
                      </c:pt>
                      <c:pt idx="3213">
                        <c:v>0</c:v>
                      </c:pt>
                      <c:pt idx="3214">
                        <c:v>0</c:v>
                      </c:pt>
                      <c:pt idx="3215">
                        <c:v>0</c:v>
                      </c:pt>
                      <c:pt idx="3216">
                        <c:v>0</c:v>
                      </c:pt>
                      <c:pt idx="3217">
                        <c:v>0</c:v>
                      </c:pt>
                      <c:pt idx="3218">
                        <c:v>0</c:v>
                      </c:pt>
                      <c:pt idx="3219">
                        <c:v>0</c:v>
                      </c:pt>
                      <c:pt idx="3220">
                        <c:v>0</c:v>
                      </c:pt>
                      <c:pt idx="3221">
                        <c:v>0</c:v>
                      </c:pt>
                      <c:pt idx="3222">
                        <c:v>0</c:v>
                      </c:pt>
                      <c:pt idx="3223">
                        <c:v>0</c:v>
                      </c:pt>
                      <c:pt idx="3224">
                        <c:v>0</c:v>
                      </c:pt>
                      <c:pt idx="3225">
                        <c:v>0</c:v>
                      </c:pt>
                      <c:pt idx="3226">
                        <c:v>0</c:v>
                      </c:pt>
                      <c:pt idx="3227">
                        <c:v>0</c:v>
                      </c:pt>
                      <c:pt idx="3228">
                        <c:v>0</c:v>
                      </c:pt>
                      <c:pt idx="3229">
                        <c:v>0</c:v>
                      </c:pt>
                      <c:pt idx="3230">
                        <c:v>0</c:v>
                      </c:pt>
                      <c:pt idx="3231">
                        <c:v>0</c:v>
                      </c:pt>
                      <c:pt idx="3232">
                        <c:v>0</c:v>
                      </c:pt>
                      <c:pt idx="3233">
                        <c:v>0</c:v>
                      </c:pt>
                      <c:pt idx="3234">
                        <c:v>0</c:v>
                      </c:pt>
                      <c:pt idx="3235">
                        <c:v>0</c:v>
                      </c:pt>
                      <c:pt idx="3236">
                        <c:v>0</c:v>
                      </c:pt>
                      <c:pt idx="3237">
                        <c:v>0</c:v>
                      </c:pt>
                      <c:pt idx="3238">
                        <c:v>0</c:v>
                      </c:pt>
                      <c:pt idx="3239">
                        <c:v>0</c:v>
                      </c:pt>
                      <c:pt idx="3240">
                        <c:v>0</c:v>
                      </c:pt>
                      <c:pt idx="3241">
                        <c:v>0</c:v>
                      </c:pt>
                      <c:pt idx="3242">
                        <c:v>0</c:v>
                      </c:pt>
                      <c:pt idx="3243">
                        <c:v>0</c:v>
                      </c:pt>
                      <c:pt idx="3244">
                        <c:v>0</c:v>
                      </c:pt>
                      <c:pt idx="3245">
                        <c:v>0</c:v>
                      </c:pt>
                      <c:pt idx="3246">
                        <c:v>0</c:v>
                      </c:pt>
                      <c:pt idx="3247">
                        <c:v>0</c:v>
                      </c:pt>
                      <c:pt idx="3248">
                        <c:v>0</c:v>
                      </c:pt>
                      <c:pt idx="3249">
                        <c:v>0</c:v>
                      </c:pt>
                      <c:pt idx="3250">
                        <c:v>0</c:v>
                      </c:pt>
                      <c:pt idx="3251">
                        <c:v>0</c:v>
                      </c:pt>
                      <c:pt idx="3252">
                        <c:v>0</c:v>
                      </c:pt>
                      <c:pt idx="3253">
                        <c:v>0</c:v>
                      </c:pt>
                      <c:pt idx="3254">
                        <c:v>0</c:v>
                      </c:pt>
                      <c:pt idx="3255">
                        <c:v>0</c:v>
                      </c:pt>
                      <c:pt idx="3256">
                        <c:v>0</c:v>
                      </c:pt>
                      <c:pt idx="3257">
                        <c:v>0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</c:v>
                      </c:pt>
                      <c:pt idx="3265">
                        <c:v>0</c:v>
                      </c:pt>
                      <c:pt idx="3266">
                        <c:v>0</c:v>
                      </c:pt>
                      <c:pt idx="3267">
                        <c:v>0</c:v>
                      </c:pt>
                      <c:pt idx="3268">
                        <c:v>0</c:v>
                      </c:pt>
                      <c:pt idx="3269">
                        <c:v>0</c:v>
                      </c:pt>
                      <c:pt idx="3270">
                        <c:v>0</c:v>
                      </c:pt>
                      <c:pt idx="3271">
                        <c:v>0</c:v>
                      </c:pt>
                      <c:pt idx="3272">
                        <c:v>0</c:v>
                      </c:pt>
                      <c:pt idx="3273">
                        <c:v>0</c:v>
                      </c:pt>
                      <c:pt idx="3274">
                        <c:v>0</c:v>
                      </c:pt>
                      <c:pt idx="3275">
                        <c:v>0</c:v>
                      </c:pt>
                      <c:pt idx="3276">
                        <c:v>0</c:v>
                      </c:pt>
                      <c:pt idx="3277">
                        <c:v>0</c:v>
                      </c:pt>
                      <c:pt idx="3278">
                        <c:v>0</c:v>
                      </c:pt>
                      <c:pt idx="3279">
                        <c:v>0</c:v>
                      </c:pt>
                      <c:pt idx="3280">
                        <c:v>0</c:v>
                      </c:pt>
                      <c:pt idx="3281">
                        <c:v>0</c:v>
                      </c:pt>
                      <c:pt idx="3282">
                        <c:v>0</c:v>
                      </c:pt>
                      <c:pt idx="3283">
                        <c:v>0</c:v>
                      </c:pt>
                      <c:pt idx="3284">
                        <c:v>0</c:v>
                      </c:pt>
                      <c:pt idx="3285">
                        <c:v>0</c:v>
                      </c:pt>
                      <c:pt idx="3286">
                        <c:v>0</c:v>
                      </c:pt>
                      <c:pt idx="3287">
                        <c:v>0</c:v>
                      </c:pt>
                      <c:pt idx="3288">
                        <c:v>0</c:v>
                      </c:pt>
                      <c:pt idx="3289">
                        <c:v>0</c:v>
                      </c:pt>
                      <c:pt idx="3290">
                        <c:v>0</c:v>
                      </c:pt>
                      <c:pt idx="3291">
                        <c:v>0</c:v>
                      </c:pt>
                      <c:pt idx="3292">
                        <c:v>0</c:v>
                      </c:pt>
                      <c:pt idx="3293">
                        <c:v>0</c:v>
                      </c:pt>
                      <c:pt idx="3294">
                        <c:v>0</c:v>
                      </c:pt>
                      <c:pt idx="3295">
                        <c:v>0</c:v>
                      </c:pt>
                      <c:pt idx="3296">
                        <c:v>0</c:v>
                      </c:pt>
                      <c:pt idx="3297">
                        <c:v>0</c:v>
                      </c:pt>
                      <c:pt idx="3298">
                        <c:v>0</c:v>
                      </c:pt>
                      <c:pt idx="3299">
                        <c:v>0</c:v>
                      </c:pt>
                      <c:pt idx="3300">
                        <c:v>0</c:v>
                      </c:pt>
                      <c:pt idx="3301">
                        <c:v>0</c:v>
                      </c:pt>
                      <c:pt idx="3302">
                        <c:v>0</c:v>
                      </c:pt>
                      <c:pt idx="3303">
                        <c:v>0</c:v>
                      </c:pt>
                      <c:pt idx="3304">
                        <c:v>0</c:v>
                      </c:pt>
                      <c:pt idx="3305">
                        <c:v>0</c:v>
                      </c:pt>
                      <c:pt idx="3306">
                        <c:v>0</c:v>
                      </c:pt>
                      <c:pt idx="3307">
                        <c:v>0</c:v>
                      </c:pt>
                      <c:pt idx="3308">
                        <c:v>0</c:v>
                      </c:pt>
                      <c:pt idx="3309">
                        <c:v>0</c:v>
                      </c:pt>
                      <c:pt idx="3310">
                        <c:v>0</c:v>
                      </c:pt>
                      <c:pt idx="3311">
                        <c:v>0</c:v>
                      </c:pt>
                      <c:pt idx="3312">
                        <c:v>0</c:v>
                      </c:pt>
                      <c:pt idx="3313">
                        <c:v>0</c:v>
                      </c:pt>
                      <c:pt idx="3314">
                        <c:v>0</c:v>
                      </c:pt>
                      <c:pt idx="3315">
                        <c:v>0</c:v>
                      </c:pt>
                      <c:pt idx="3316">
                        <c:v>0</c:v>
                      </c:pt>
                      <c:pt idx="3317">
                        <c:v>0</c:v>
                      </c:pt>
                      <c:pt idx="3318">
                        <c:v>0</c:v>
                      </c:pt>
                      <c:pt idx="3319">
                        <c:v>0</c:v>
                      </c:pt>
                      <c:pt idx="3320">
                        <c:v>0</c:v>
                      </c:pt>
                      <c:pt idx="3321">
                        <c:v>0</c:v>
                      </c:pt>
                      <c:pt idx="3322">
                        <c:v>0</c:v>
                      </c:pt>
                      <c:pt idx="3323">
                        <c:v>0</c:v>
                      </c:pt>
                      <c:pt idx="3324">
                        <c:v>0</c:v>
                      </c:pt>
                      <c:pt idx="3325">
                        <c:v>0</c:v>
                      </c:pt>
                      <c:pt idx="3326">
                        <c:v>0</c:v>
                      </c:pt>
                      <c:pt idx="3327">
                        <c:v>0</c:v>
                      </c:pt>
                      <c:pt idx="3328">
                        <c:v>0</c:v>
                      </c:pt>
                      <c:pt idx="3329">
                        <c:v>0</c:v>
                      </c:pt>
                      <c:pt idx="3330">
                        <c:v>0</c:v>
                      </c:pt>
                      <c:pt idx="3331">
                        <c:v>0</c:v>
                      </c:pt>
                      <c:pt idx="3332">
                        <c:v>0</c:v>
                      </c:pt>
                      <c:pt idx="3333">
                        <c:v>0</c:v>
                      </c:pt>
                      <c:pt idx="3334">
                        <c:v>0</c:v>
                      </c:pt>
                      <c:pt idx="3335">
                        <c:v>0</c:v>
                      </c:pt>
                      <c:pt idx="3336">
                        <c:v>0</c:v>
                      </c:pt>
                      <c:pt idx="3337">
                        <c:v>0</c:v>
                      </c:pt>
                      <c:pt idx="3338">
                        <c:v>0</c:v>
                      </c:pt>
                      <c:pt idx="3339">
                        <c:v>0</c:v>
                      </c:pt>
                      <c:pt idx="3340">
                        <c:v>0</c:v>
                      </c:pt>
                      <c:pt idx="3341">
                        <c:v>0</c:v>
                      </c:pt>
                      <c:pt idx="3342">
                        <c:v>0</c:v>
                      </c:pt>
                      <c:pt idx="3343">
                        <c:v>0</c:v>
                      </c:pt>
                      <c:pt idx="3344">
                        <c:v>0</c:v>
                      </c:pt>
                      <c:pt idx="3345">
                        <c:v>0</c:v>
                      </c:pt>
                      <c:pt idx="3346">
                        <c:v>0</c:v>
                      </c:pt>
                      <c:pt idx="3347">
                        <c:v>0</c:v>
                      </c:pt>
                      <c:pt idx="3348">
                        <c:v>0</c:v>
                      </c:pt>
                      <c:pt idx="3349">
                        <c:v>0</c:v>
                      </c:pt>
                      <c:pt idx="3350">
                        <c:v>0</c:v>
                      </c:pt>
                      <c:pt idx="3351">
                        <c:v>0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</c:v>
                      </c:pt>
                      <c:pt idx="3357">
                        <c:v>0</c:v>
                      </c:pt>
                      <c:pt idx="3358">
                        <c:v>0</c:v>
                      </c:pt>
                      <c:pt idx="3359">
                        <c:v>0</c:v>
                      </c:pt>
                      <c:pt idx="3360">
                        <c:v>0</c:v>
                      </c:pt>
                      <c:pt idx="3361">
                        <c:v>0</c:v>
                      </c:pt>
                      <c:pt idx="3362">
                        <c:v>0</c:v>
                      </c:pt>
                      <c:pt idx="3363">
                        <c:v>0</c:v>
                      </c:pt>
                      <c:pt idx="3364">
                        <c:v>0</c:v>
                      </c:pt>
                      <c:pt idx="3365">
                        <c:v>0</c:v>
                      </c:pt>
                      <c:pt idx="3366">
                        <c:v>0</c:v>
                      </c:pt>
                      <c:pt idx="3367">
                        <c:v>0</c:v>
                      </c:pt>
                      <c:pt idx="3368">
                        <c:v>0</c:v>
                      </c:pt>
                      <c:pt idx="3369">
                        <c:v>0</c:v>
                      </c:pt>
                      <c:pt idx="3370">
                        <c:v>0</c:v>
                      </c:pt>
                      <c:pt idx="3371">
                        <c:v>0</c:v>
                      </c:pt>
                      <c:pt idx="3372">
                        <c:v>0</c:v>
                      </c:pt>
                      <c:pt idx="3373">
                        <c:v>0</c:v>
                      </c:pt>
                      <c:pt idx="3374">
                        <c:v>0</c:v>
                      </c:pt>
                      <c:pt idx="3375">
                        <c:v>0</c:v>
                      </c:pt>
                      <c:pt idx="3376">
                        <c:v>0</c:v>
                      </c:pt>
                      <c:pt idx="3377">
                        <c:v>0</c:v>
                      </c:pt>
                      <c:pt idx="3378">
                        <c:v>0</c:v>
                      </c:pt>
                      <c:pt idx="3379">
                        <c:v>0</c:v>
                      </c:pt>
                      <c:pt idx="3380">
                        <c:v>0</c:v>
                      </c:pt>
                      <c:pt idx="3381">
                        <c:v>0</c:v>
                      </c:pt>
                      <c:pt idx="3382">
                        <c:v>0</c:v>
                      </c:pt>
                      <c:pt idx="3383">
                        <c:v>0</c:v>
                      </c:pt>
                      <c:pt idx="3384">
                        <c:v>0</c:v>
                      </c:pt>
                      <c:pt idx="3385">
                        <c:v>0</c:v>
                      </c:pt>
                      <c:pt idx="3386">
                        <c:v>0</c:v>
                      </c:pt>
                      <c:pt idx="3387">
                        <c:v>0</c:v>
                      </c:pt>
                      <c:pt idx="3388">
                        <c:v>0</c:v>
                      </c:pt>
                      <c:pt idx="3389">
                        <c:v>0</c:v>
                      </c:pt>
                      <c:pt idx="3390">
                        <c:v>0</c:v>
                      </c:pt>
                      <c:pt idx="3391">
                        <c:v>0</c:v>
                      </c:pt>
                      <c:pt idx="3392">
                        <c:v>0</c:v>
                      </c:pt>
                      <c:pt idx="3393">
                        <c:v>0</c:v>
                      </c:pt>
                      <c:pt idx="3394">
                        <c:v>0</c:v>
                      </c:pt>
                      <c:pt idx="3395">
                        <c:v>0</c:v>
                      </c:pt>
                      <c:pt idx="3396">
                        <c:v>0</c:v>
                      </c:pt>
                      <c:pt idx="3397">
                        <c:v>0</c:v>
                      </c:pt>
                      <c:pt idx="3398">
                        <c:v>0</c:v>
                      </c:pt>
                      <c:pt idx="3399">
                        <c:v>0</c:v>
                      </c:pt>
                      <c:pt idx="3400">
                        <c:v>0</c:v>
                      </c:pt>
                      <c:pt idx="3401">
                        <c:v>0</c:v>
                      </c:pt>
                      <c:pt idx="3402">
                        <c:v>0</c:v>
                      </c:pt>
                      <c:pt idx="3403">
                        <c:v>0</c:v>
                      </c:pt>
                      <c:pt idx="3404">
                        <c:v>0</c:v>
                      </c:pt>
                      <c:pt idx="3405">
                        <c:v>0</c:v>
                      </c:pt>
                      <c:pt idx="3406">
                        <c:v>0</c:v>
                      </c:pt>
                      <c:pt idx="3407">
                        <c:v>0</c:v>
                      </c:pt>
                      <c:pt idx="3408">
                        <c:v>0</c:v>
                      </c:pt>
                      <c:pt idx="3409">
                        <c:v>0</c:v>
                      </c:pt>
                      <c:pt idx="3410">
                        <c:v>0</c:v>
                      </c:pt>
                      <c:pt idx="3411">
                        <c:v>0</c:v>
                      </c:pt>
                      <c:pt idx="3412">
                        <c:v>0</c:v>
                      </c:pt>
                      <c:pt idx="3413">
                        <c:v>0</c:v>
                      </c:pt>
                      <c:pt idx="3414">
                        <c:v>0</c:v>
                      </c:pt>
                      <c:pt idx="3415">
                        <c:v>0</c:v>
                      </c:pt>
                      <c:pt idx="3416">
                        <c:v>0</c:v>
                      </c:pt>
                      <c:pt idx="3417">
                        <c:v>0</c:v>
                      </c:pt>
                      <c:pt idx="3418">
                        <c:v>0</c:v>
                      </c:pt>
                      <c:pt idx="3419">
                        <c:v>0</c:v>
                      </c:pt>
                      <c:pt idx="3420">
                        <c:v>0</c:v>
                      </c:pt>
                      <c:pt idx="3421">
                        <c:v>0</c:v>
                      </c:pt>
                      <c:pt idx="3422">
                        <c:v>0</c:v>
                      </c:pt>
                      <c:pt idx="3423">
                        <c:v>0</c:v>
                      </c:pt>
                      <c:pt idx="3424">
                        <c:v>0</c:v>
                      </c:pt>
                      <c:pt idx="3425">
                        <c:v>0</c:v>
                      </c:pt>
                      <c:pt idx="3426">
                        <c:v>0</c:v>
                      </c:pt>
                      <c:pt idx="3427">
                        <c:v>0</c:v>
                      </c:pt>
                      <c:pt idx="3428">
                        <c:v>0</c:v>
                      </c:pt>
                      <c:pt idx="3429">
                        <c:v>0</c:v>
                      </c:pt>
                      <c:pt idx="3430">
                        <c:v>0</c:v>
                      </c:pt>
                      <c:pt idx="3431">
                        <c:v>0</c:v>
                      </c:pt>
                      <c:pt idx="3432">
                        <c:v>0</c:v>
                      </c:pt>
                      <c:pt idx="3433">
                        <c:v>0</c:v>
                      </c:pt>
                      <c:pt idx="3434">
                        <c:v>0</c:v>
                      </c:pt>
                      <c:pt idx="3435">
                        <c:v>0</c:v>
                      </c:pt>
                      <c:pt idx="3436">
                        <c:v>0</c:v>
                      </c:pt>
                      <c:pt idx="3437">
                        <c:v>0</c:v>
                      </c:pt>
                      <c:pt idx="3438">
                        <c:v>0</c:v>
                      </c:pt>
                      <c:pt idx="3439">
                        <c:v>0</c:v>
                      </c:pt>
                      <c:pt idx="3440">
                        <c:v>0</c:v>
                      </c:pt>
                      <c:pt idx="3441">
                        <c:v>0</c:v>
                      </c:pt>
                      <c:pt idx="3442">
                        <c:v>0</c:v>
                      </c:pt>
                      <c:pt idx="3443">
                        <c:v>0</c:v>
                      </c:pt>
                      <c:pt idx="3444">
                        <c:v>0</c:v>
                      </c:pt>
                      <c:pt idx="3445">
                        <c:v>0</c:v>
                      </c:pt>
                      <c:pt idx="3446">
                        <c:v>0</c:v>
                      </c:pt>
                      <c:pt idx="3447">
                        <c:v>0</c:v>
                      </c:pt>
                      <c:pt idx="3448">
                        <c:v>0</c:v>
                      </c:pt>
                      <c:pt idx="3449">
                        <c:v>0</c:v>
                      </c:pt>
                      <c:pt idx="3450">
                        <c:v>0</c:v>
                      </c:pt>
                      <c:pt idx="3451">
                        <c:v>0</c:v>
                      </c:pt>
                      <c:pt idx="3452">
                        <c:v>0</c:v>
                      </c:pt>
                      <c:pt idx="3453">
                        <c:v>0</c:v>
                      </c:pt>
                      <c:pt idx="3454">
                        <c:v>0</c:v>
                      </c:pt>
                      <c:pt idx="3455">
                        <c:v>0</c:v>
                      </c:pt>
                      <c:pt idx="3456">
                        <c:v>0</c:v>
                      </c:pt>
                      <c:pt idx="3457">
                        <c:v>0</c:v>
                      </c:pt>
                      <c:pt idx="3458">
                        <c:v>0</c:v>
                      </c:pt>
                      <c:pt idx="3459">
                        <c:v>0</c:v>
                      </c:pt>
                      <c:pt idx="3460">
                        <c:v>0</c:v>
                      </c:pt>
                      <c:pt idx="3461">
                        <c:v>0</c:v>
                      </c:pt>
                      <c:pt idx="3462">
                        <c:v>0</c:v>
                      </c:pt>
                      <c:pt idx="3463">
                        <c:v>0</c:v>
                      </c:pt>
                      <c:pt idx="3464">
                        <c:v>0</c:v>
                      </c:pt>
                      <c:pt idx="3465">
                        <c:v>0</c:v>
                      </c:pt>
                      <c:pt idx="3466">
                        <c:v>0</c:v>
                      </c:pt>
                      <c:pt idx="3467">
                        <c:v>0</c:v>
                      </c:pt>
                      <c:pt idx="3468">
                        <c:v>0</c:v>
                      </c:pt>
                      <c:pt idx="3469">
                        <c:v>0</c:v>
                      </c:pt>
                      <c:pt idx="3470">
                        <c:v>0</c:v>
                      </c:pt>
                      <c:pt idx="3471">
                        <c:v>0</c:v>
                      </c:pt>
                      <c:pt idx="3472">
                        <c:v>0</c:v>
                      </c:pt>
                      <c:pt idx="3473">
                        <c:v>0</c:v>
                      </c:pt>
                      <c:pt idx="3474">
                        <c:v>0</c:v>
                      </c:pt>
                      <c:pt idx="3475">
                        <c:v>0</c:v>
                      </c:pt>
                      <c:pt idx="3476">
                        <c:v>0</c:v>
                      </c:pt>
                      <c:pt idx="3477">
                        <c:v>0</c:v>
                      </c:pt>
                      <c:pt idx="3478">
                        <c:v>0</c:v>
                      </c:pt>
                      <c:pt idx="3479">
                        <c:v>0</c:v>
                      </c:pt>
                      <c:pt idx="3480">
                        <c:v>0</c:v>
                      </c:pt>
                      <c:pt idx="3481">
                        <c:v>0</c:v>
                      </c:pt>
                      <c:pt idx="3482">
                        <c:v>0</c:v>
                      </c:pt>
                      <c:pt idx="3483">
                        <c:v>0</c:v>
                      </c:pt>
                      <c:pt idx="3484">
                        <c:v>0</c:v>
                      </c:pt>
                      <c:pt idx="3485">
                        <c:v>0</c:v>
                      </c:pt>
                      <c:pt idx="3486">
                        <c:v>0</c:v>
                      </c:pt>
                      <c:pt idx="3487">
                        <c:v>0</c:v>
                      </c:pt>
                      <c:pt idx="3488">
                        <c:v>0</c:v>
                      </c:pt>
                      <c:pt idx="3489">
                        <c:v>0</c:v>
                      </c:pt>
                      <c:pt idx="3490">
                        <c:v>0</c:v>
                      </c:pt>
                      <c:pt idx="3491">
                        <c:v>0</c:v>
                      </c:pt>
                      <c:pt idx="3492">
                        <c:v>0</c:v>
                      </c:pt>
                      <c:pt idx="3493">
                        <c:v>0</c:v>
                      </c:pt>
                      <c:pt idx="3494">
                        <c:v>0</c:v>
                      </c:pt>
                      <c:pt idx="3495">
                        <c:v>0</c:v>
                      </c:pt>
                      <c:pt idx="3496">
                        <c:v>0</c:v>
                      </c:pt>
                      <c:pt idx="3497">
                        <c:v>0</c:v>
                      </c:pt>
                      <c:pt idx="3498">
                        <c:v>0</c:v>
                      </c:pt>
                      <c:pt idx="3499">
                        <c:v>0</c:v>
                      </c:pt>
                      <c:pt idx="3500">
                        <c:v>0</c:v>
                      </c:pt>
                      <c:pt idx="3501">
                        <c:v>0</c:v>
                      </c:pt>
                      <c:pt idx="3502">
                        <c:v>0</c:v>
                      </c:pt>
                      <c:pt idx="3503">
                        <c:v>0</c:v>
                      </c:pt>
                      <c:pt idx="3504">
                        <c:v>0</c:v>
                      </c:pt>
                      <c:pt idx="3505">
                        <c:v>0</c:v>
                      </c:pt>
                      <c:pt idx="3506">
                        <c:v>0</c:v>
                      </c:pt>
                      <c:pt idx="3507">
                        <c:v>0</c:v>
                      </c:pt>
                      <c:pt idx="3508">
                        <c:v>0</c:v>
                      </c:pt>
                      <c:pt idx="3509">
                        <c:v>0</c:v>
                      </c:pt>
                      <c:pt idx="3510">
                        <c:v>0</c:v>
                      </c:pt>
                      <c:pt idx="3511">
                        <c:v>0</c:v>
                      </c:pt>
                      <c:pt idx="3512">
                        <c:v>0</c:v>
                      </c:pt>
                      <c:pt idx="3513">
                        <c:v>0</c:v>
                      </c:pt>
                      <c:pt idx="3514">
                        <c:v>0</c:v>
                      </c:pt>
                      <c:pt idx="3515">
                        <c:v>0</c:v>
                      </c:pt>
                      <c:pt idx="3516">
                        <c:v>0</c:v>
                      </c:pt>
                      <c:pt idx="3517">
                        <c:v>0</c:v>
                      </c:pt>
                      <c:pt idx="3518">
                        <c:v>0</c:v>
                      </c:pt>
                      <c:pt idx="3519">
                        <c:v>0</c:v>
                      </c:pt>
                      <c:pt idx="3520">
                        <c:v>0</c:v>
                      </c:pt>
                      <c:pt idx="3521">
                        <c:v>0</c:v>
                      </c:pt>
                      <c:pt idx="3522">
                        <c:v>0</c:v>
                      </c:pt>
                      <c:pt idx="3523">
                        <c:v>0</c:v>
                      </c:pt>
                      <c:pt idx="3524">
                        <c:v>0</c:v>
                      </c:pt>
                      <c:pt idx="3525">
                        <c:v>0</c:v>
                      </c:pt>
                      <c:pt idx="3526">
                        <c:v>0</c:v>
                      </c:pt>
                      <c:pt idx="3527">
                        <c:v>0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0</c:v>
                      </c:pt>
                      <c:pt idx="3533">
                        <c:v>0</c:v>
                      </c:pt>
                      <c:pt idx="3534">
                        <c:v>0</c:v>
                      </c:pt>
                      <c:pt idx="3535">
                        <c:v>0</c:v>
                      </c:pt>
                      <c:pt idx="3536">
                        <c:v>0</c:v>
                      </c:pt>
                      <c:pt idx="3537">
                        <c:v>0</c:v>
                      </c:pt>
                      <c:pt idx="3538">
                        <c:v>0</c:v>
                      </c:pt>
                      <c:pt idx="3539">
                        <c:v>0</c:v>
                      </c:pt>
                      <c:pt idx="3540">
                        <c:v>0</c:v>
                      </c:pt>
                      <c:pt idx="3541">
                        <c:v>0</c:v>
                      </c:pt>
                      <c:pt idx="3542">
                        <c:v>0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</c:v>
                      </c:pt>
                      <c:pt idx="3550">
                        <c:v>0</c:v>
                      </c:pt>
                      <c:pt idx="3551">
                        <c:v>0</c:v>
                      </c:pt>
                      <c:pt idx="3552">
                        <c:v>0</c:v>
                      </c:pt>
                      <c:pt idx="3553">
                        <c:v>0</c:v>
                      </c:pt>
                      <c:pt idx="3554">
                        <c:v>0</c:v>
                      </c:pt>
                      <c:pt idx="3555">
                        <c:v>0</c:v>
                      </c:pt>
                      <c:pt idx="3556">
                        <c:v>0</c:v>
                      </c:pt>
                      <c:pt idx="3557">
                        <c:v>0</c:v>
                      </c:pt>
                      <c:pt idx="3558">
                        <c:v>0</c:v>
                      </c:pt>
                      <c:pt idx="3559">
                        <c:v>0</c:v>
                      </c:pt>
                      <c:pt idx="3560">
                        <c:v>0</c:v>
                      </c:pt>
                      <c:pt idx="3561">
                        <c:v>0</c:v>
                      </c:pt>
                      <c:pt idx="3562">
                        <c:v>0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0</c:v>
                      </c:pt>
                      <c:pt idx="3568">
                        <c:v>0</c:v>
                      </c:pt>
                      <c:pt idx="3569">
                        <c:v>0</c:v>
                      </c:pt>
                      <c:pt idx="3570">
                        <c:v>0</c:v>
                      </c:pt>
                      <c:pt idx="3571">
                        <c:v>0</c:v>
                      </c:pt>
                      <c:pt idx="3572">
                        <c:v>0</c:v>
                      </c:pt>
                      <c:pt idx="3573">
                        <c:v>0</c:v>
                      </c:pt>
                      <c:pt idx="3574">
                        <c:v>0</c:v>
                      </c:pt>
                      <c:pt idx="3575">
                        <c:v>0</c:v>
                      </c:pt>
                      <c:pt idx="3576">
                        <c:v>0</c:v>
                      </c:pt>
                      <c:pt idx="3577">
                        <c:v>0</c:v>
                      </c:pt>
                      <c:pt idx="3578">
                        <c:v>0</c:v>
                      </c:pt>
                      <c:pt idx="3579">
                        <c:v>0</c:v>
                      </c:pt>
                      <c:pt idx="3580">
                        <c:v>0</c:v>
                      </c:pt>
                      <c:pt idx="3581">
                        <c:v>0</c:v>
                      </c:pt>
                      <c:pt idx="3582">
                        <c:v>0</c:v>
                      </c:pt>
                      <c:pt idx="3583">
                        <c:v>0</c:v>
                      </c:pt>
                      <c:pt idx="3584">
                        <c:v>0</c:v>
                      </c:pt>
                      <c:pt idx="3585">
                        <c:v>0</c:v>
                      </c:pt>
                      <c:pt idx="3586">
                        <c:v>0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</c:v>
                      </c:pt>
                      <c:pt idx="3594">
                        <c:v>0</c:v>
                      </c:pt>
                      <c:pt idx="3595">
                        <c:v>0</c:v>
                      </c:pt>
                      <c:pt idx="3596">
                        <c:v>0</c:v>
                      </c:pt>
                      <c:pt idx="3597">
                        <c:v>0</c:v>
                      </c:pt>
                      <c:pt idx="3598">
                        <c:v>0</c:v>
                      </c:pt>
                      <c:pt idx="3599">
                        <c:v>0</c:v>
                      </c:pt>
                      <c:pt idx="3600">
                        <c:v>0</c:v>
                      </c:pt>
                      <c:pt idx="3601">
                        <c:v>0</c:v>
                      </c:pt>
                      <c:pt idx="3602">
                        <c:v>0</c:v>
                      </c:pt>
                      <c:pt idx="3603">
                        <c:v>0</c:v>
                      </c:pt>
                      <c:pt idx="3604">
                        <c:v>0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</c:v>
                      </c:pt>
                      <c:pt idx="3619">
                        <c:v>0</c:v>
                      </c:pt>
                      <c:pt idx="3620">
                        <c:v>0</c:v>
                      </c:pt>
                      <c:pt idx="3621">
                        <c:v>0</c:v>
                      </c:pt>
                      <c:pt idx="3622">
                        <c:v>0</c:v>
                      </c:pt>
                      <c:pt idx="3623">
                        <c:v>0</c:v>
                      </c:pt>
                      <c:pt idx="3624">
                        <c:v>0</c:v>
                      </c:pt>
                      <c:pt idx="3625">
                        <c:v>0</c:v>
                      </c:pt>
                      <c:pt idx="3626">
                        <c:v>0</c:v>
                      </c:pt>
                      <c:pt idx="3627">
                        <c:v>0</c:v>
                      </c:pt>
                      <c:pt idx="3628">
                        <c:v>0</c:v>
                      </c:pt>
                      <c:pt idx="3629">
                        <c:v>0</c:v>
                      </c:pt>
                      <c:pt idx="3630">
                        <c:v>0</c:v>
                      </c:pt>
                      <c:pt idx="3631">
                        <c:v>0</c:v>
                      </c:pt>
                      <c:pt idx="3632">
                        <c:v>0</c:v>
                      </c:pt>
                      <c:pt idx="3633">
                        <c:v>0</c:v>
                      </c:pt>
                      <c:pt idx="3634">
                        <c:v>0</c:v>
                      </c:pt>
                      <c:pt idx="3635">
                        <c:v>0</c:v>
                      </c:pt>
                      <c:pt idx="3636">
                        <c:v>0</c:v>
                      </c:pt>
                      <c:pt idx="3637">
                        <c:v>0</c:v>
                      </c:pt>
                      <c:pt idx="3638">
                        <c:v>0</c:v>
                      </c:pt>
                      <c:pt idx="3639">
                        <c:v>0</c:v>
                      </c:pt>
                      <c:pt idx="3640">
                        <c:v>0</c:v>
                      </c:pt>
                      <c:pt idx="3641">
                        <c:v>0</c:v>
                      </c:pt>
                      <c:pt idx="3642">
                        <c:v>0</c:v>
                      </c:pt>
                      <c:pt idx="3643">
                        <c:v>0</c:v>
                      </c:pt>
                      <c:pt idx="3644">
                        <c:v>0</c:v>
                      </c:pt>
                      <c:pt idx="3645">
                        <c:v>0</c:v>
                      </c:pt>
                      <c:pt idx="3646">
                        <c:v>0</c:v>
                      </c:pt>
                      <c:pt idx="3647">
                        <c:v>0</c:v>
                      </c:pt>
                      <c:pt idx="3648">
                        <c:v>0</c:v>
                      </c:pt>
                      <c:pt idx="3649">
                        <c:v>0</c:v>
                      </c:pt>
                      <c:pt idx="3650">
                        <c:v>0</c:v>
                      </c:pt>
                      <c:pt idx="3651">
                        <c:v>0</c:v>
                      </c:pt>
                      <c:pt idx="3652">
                        <c:v>0</c:v>
                      </c:pt>
                      <c:pt idx="3653">
                        <c:v>0</c:v>
                      </c:pt>
                      <c:pt idx="3654">
                        <c:v>0</c:v>
                      </c:pt>
                      <c:pt idx="3655">
                        <c:v>0</c:v>
                      </c:pt>
                      <c:pt idx="3656">
                        <c:v>0</c:v>
                      </c:pt>
                      <c:pt idx="3657">
                        <c:v>0</c:v>
                      </c:pt>
                      <c:pt idx="3658">
                        <c:v>0</c:v>
                      </c:pt>
                      <c:pt idx="3659">
                        <c:v>0</c:v>
                      </c:pt>
                      <c:pt idx="3660">
                        <c:v>0</c:v>
                      </c:pt>
                      <c:pt idx="3661">
                        <c:v>0</c:v>
                      </c:pt>
                      <c:pt idx="3662">
                        <c:v>0</c:v>
                      </c:pt>
                      <c:pt idx="3663">
                        <c:v>0</c:v>
                      </c:pt>
                      <c:pt idx="3664">
                        <c:v>0</c:v>
                      </c:pt>
                      <c:pt idx="3665">
                        <c:v>0</c:v>
                      </c:pt>
                      <c:pt idx="3666">
                        <c:v>0</c:v>
                      </c:pt>
                      <c:pt idx="3667">
                        <c:v>0</c:v>
                      </c:pt>
                      <c:pt idx="3668">
                        <c:v>0</c:v>
                      </c:pt>
                      <c:pt idx="3669">
                        <c:v>0</c:v>
                      </c:pt>
                      <c:pt idx="3670">
                        <c:v>0</c:v>
                      </c:pt>
                      <c:pt idx="3671">
                        <c:v>0</c:v>
                      </c:pt>
                      <c:pt idx="3672">
                        <c:v>0</c:v>
                      </c:pt>
                      <c:pt idx="3673">
                        <c:v>0</c:v>
                      </c:pt>
                      <c:pt idx="3674">
                        <c:v>0</c:v>
                      </c:pt>
                      <c:pt idx="3675">
                        <c:v>0</c:v>
                      </c:pt>
                      <c:pt idx="3676">
                        <c:v>0</c:v>
                      </c:pt>
                      <c:pt idx="3677">
                        <c:v>0</c:v>
                      </c:pt>
                      <c:pt idx="3678">
                        <c:v>0</c:v>
                      </c:pt>
                      <c:pt idx="3679">
                        <c:v>0</c:v>
                      </c:pt>
                      <c:pt idx="3680">
                        <c:v>0</c:v>
                      </c:pt>
                      <c:pt idx="3681">
                        <c:v>0</c:v>
                      </c:pt>
                      <c:pt idx="3682">
                        <c:v>0</c:v>
                      </c:pt>
                      <c:pt idx="3683">
                        <c:v>0</c:v>
                      </c:pt>
                      <c:pt idx="3684">
                        <c:v>0</c:v>
                      </c:pt>
                      <c:pt idx="3685">
                        <c:v>0</c:v>
                      </c:pt>
                      <c:pt idx="3686">
                        <c:v>0</c:v>
                      </c:pt>
                      <c:pt idx="3687">
                        <c:v>0</c:v>
                      </c:pt>
                      <c:pt idx="3688">
                        <c:v>0</c:v>
                      </c:pt>
                      <c:pt idx="3689">
                        <c:v>0</c:v>
                      </c:pt>
                      <c:pt idx="3690">
                        <c:v>0</c:v>
                      </c:pt>
                      <c:pt idx="3691">
                        <c:v>0</c:v>
                      </c:pt>
                      <c:pt idx="3692">
                        <c:v>0</c:v>
                      </c:pt>
                      <c:pt idx="3693">
                        <c:v>0</c:v>
                      </c:pt>
                      <c:pt idx="3694">
                        <c:v>0</c:v>
                      </c:pt>
                      <c:pt idx="3695">
                        <c:v>0</c:v>
                      </c:pt>
                      <c:pt idx="3696">
                        <c:v>0</c:v>
                      </c:pt>
                      <c:pt idx="3697">
                        <c:v>0</c:v>
                      </c:pt>
                      <c:pt idx="3698">
                        <c:v>0</c:v>
                      </c:pt>
                      <c:pt idx="3699">
                        <c:v>0</c:v>
                      </c:pt>
                      <c:pt idx="3700">
                        <c:v>0</c:v>
                      </c:pt>
                      <c:pt idx="3701">
                        <c:v>0</c:v>
                      </c:pt>
                      <c:pt idx="3702">
                        <c:v>0</c:v>
                      </c:pt>
                      <c:pt idx="3703">
                        <c:v>0</c:v>
                      </c:pt>
                      <c:pt idx="3704">
                        <c:v>0</c:v>
                      </c:pt>
                      <c:pt idx="3705">
                        <c:v>0</c:v>
                      </c:pt>
                      <c:pt idx="3706">
                        <c:v>0</c:v>
                      </c:pt>
                      <c:pt idx="3707">
                        <c:v>0</c:v>
                      </c:pt>
                      <c:pt idx="3708">
                        <c:v>0</c:v>
                      </c:pt>
                      <c:pt idx="3709">
                        <c:v>0</c:v>
                      </c:pt>
                      <c:pt idx="3710">
                        <c:v>0</c:v>
                      </c:pt>
                      <c:pt idx="3711">
                        <c:v>0</c:v>
                      </c:pt>
                      <c:pt idx="3712">
                        <c:v>0</c:v>
                      </c:pt>
                      <c:pt idx="3713">
                        <c:v>0</c:v>
                      </c:pt>
                      <c:pt idx="3714">
                        <c:v>0</c:v>
                      </c:pt>
                      <c:pt idx="3715">
                        <c:v>0</c:v>
                      </c:pt>
                      <c:pt idx="3716">
                        <c:v>0</c:v>
                      </c:pt>
                      <c:pt idx="3717">
                        <c:v>0</c:v>
                      </c:pt>
                      <c:pt idx="3718">
                        <c:v>0</c:v>
                      </c:pt>
                      <c:pt idx="3719">
                        <c:v>0</c:v>
                      </c:pt>
                      <c:pt idx="3720">
                        <c:v>0</c:v>
                      </c:pt>
                      <c:pt idx="3721">
                        <c:v>0</c:v>
                      </c:pt>
                      <c:pt idx="3722">
                        <c:v>0</c:v>
                      </c:pt>
                      <c:pt idx="3723">
                        <c:v>0</c:v>
                      </c:pt>
                      <c:pt idx="3724">
                        <c:v>0</c:v>
                      </c:pt>
                      <c:pt idx="3725">
                        <c:v>0</c:v>
                      </c:pt>
                      <c:pt idx="3726">
                        <c:v>0</c:v>
                      </c:pt>
                      <c:pt idx="3727">
                        <c:v>0</c:v>
                      </c:pt>
                      <c:pt idx="3728">
                        <c:v>0</c:v>
                      </c:pt>
                      <c:pt idx="3729">
                        <c:v>0</c:v>
                      </c:pt>
                      <c:pt idx="3730">
                        <c:v>0</c:v>
                      </c:pt>
                      <c:pt idx="3731">
                        <c:v>0</c:v>
                      </c:pt>
                      <c:pt idx="3732">
                        <c:v>0</c:v>
                      </c:pt>
                      <c:pt idx="3733">
                        <c:v>0</c:v>
                      </c:pt>
                      <c:pt idx="3734">
                        <c:v>0</c:v>
                      </c:pt>
                      <c:pt idx="3735">
                        <c:v>0</c:v>
                      </c:pt>
                      <c:pt idx="3736">
                        <c:v>0</c:v>
                      </c:pt>
                      <c:pt idx="3737">
                        <c:v>0</c:v>
                      </c:pt>
                      <c:pt idx="3738">
                        <c:v>0</c:v>
                      </c:pt>
                      <c:pt idx="3739">
                        <c:v>0</c:v>
                      </c:pt>
                      <c:pt idx="3740">
                        <c:v>0</c:v>
                      </c:pt>
                      <c:pt idx="3741">
                        <c:v>0</c:v>
                      </c:pt>
                      <c:pt idx="3742">
                        <c:v>0</c:v>
                      </c:pt>
                      <c:pt idx="3743">
                        <c:v>0</c:v>
                      </c:pt>
                      <c:pt idx="3744">
                        <c:v>0</c:v>
                      </c:pt>
                      <c:pt idx="3745">
                        <c:v>0</c:v>
                      </c:pt>
                      <c:pt idx="3746">
                        <c:v>0</c:v>
                      </c:pt>
                      <c:pt idx="3747">
                        <c:v>0</c:v>
                      </c:pt>
                      <c:pt idx="3748">
                        <c:v>0</c:v>
                      </c:pt>
                      <c:pt idx="3749">
                        <c:v>0</c:v>
                      </c:pt>
                      <c:pt idx="3750">
                        <c:v>0</c:v>
                      </c:pt>
                      <c:pt idx="3751">
                        <c:v>0</c:v>
                      </c:pt>
                      <c:pt idx="3752">
                        <c:v>0</c:v>
                      </c:pt>
                      <c:pt idx="3753">
                        <c:v>0</c:v>
                      </c:pt>
                      <c:pt idx="3754">
                        <c:v>0</c:v>
                      </c:pt>
                      <c:pt idx="3755">
                        <c:v>0</c:v>
                      </c:pt>
                      <c:pt idx="3756">
                        <c:v>0</c:v>
                      </c:pt>
                      <c:pt idx="3757">
                        <c:v>0</c:v>
                      </c:pt>
                      <c:pt idx="3758">
                        <c:v>0</c:v>
                      </c:pt>
                      <c:pt idx="3759">
                        <c:v>0</c:v>
                      </c:pt>
                      <c:pt idx="3760">
                        <c:v>0</c:v>
                      </c:pt>
                      <c:pt idx="3761">
                        <c:v>0</c:v>
                      </c:pt>
                      <c:pt idx="3762">
                        <c:v>0</c:v>
                      </c:pt>
                      <c:pt idx="3763">
                        <c:v>0</c:v>
                      </c:pt>
                      <c:pt idx="3764">
                        <c:v>0</c:v>
                      </c:pt>
                      <c:pt idx="3765">
                        <c:v>0</c:v>
                      </c:pt>
                      <c:pt idx="3766">
                        <c:v>0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</c:v>
                      </c:pt>
                      <c:pt idx="3774">
                        <c:v>0</c:v>
                      </c:pt>
                      <c:pt idx="3775">
                        <c:v>0</c:v>
                      </c:pt>
                      <c:pt idx="3776">
                        <c:v>0</c:v>
                      </c:pt>
                      <c:pt idx="3777">
                        <c:v>0</c:v>
                      </c:pt>
                      <c:pt idx="3778">
                        <c:v>0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0</c:v>
                      </c:pt>
                      <c:pt idx="3783">
                        <c:v>0</c:v>
                      </c:pt>
                      <c:pt idx="3784">
                        <c:v>0</c:v>
                      </c:pt>
                      <c:pt idx="3785">
                        <c:v>0</c:v>
                      </c:pt>
                      <c:pt idx="3786">
                        <c:v>0</c:v>
                      </c:pt>
                      <c:pt idx="3787">
                        <c:v>0</c:v>
                      </c:pt>
                      <c:pt idx="3788">
                        <c:v>0</c:v>
                      </c:pt>
                      <c:pt idx="3789">
                        <c:v>0</c:v>
                      </c:pt>
                      <c:pt idx="3790">
                        <c:v>0</c:v>
                      </c:pt>
                      <c:pt idx="3791">
                        <c:v>0</c:v>
                      </c:pt>
                      <c:pt idx="3792">
                        <c:v>0</c:v>
                      </c:pt>
                      <c:pt idx="3793">
                        <c:v>0</c:v>
                      </c:pt>
                      <c:pt idx="3794">
                        <c:v>0</c:v>
                      </c:pt>
                      <c:pt idx="3795">
                        <c:v>0</c:v>
                      </c:pt>
                      <c:pt idx="3796">
                        <c:v>0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0</c:v>
                      </c:pt>
                      <c:pt idx="3807">
                        <c:v>0</c:v>
                      </c:pt>
                      <c:pt idx="3808">
                        <c:v>0</c:v>
                      </c:pt>
                      <c:pt idx="3809">
                        <c:v>0</c:v>
                      </c:pt>
                      <c:pt idx="3810">
                        <c:v>0</c:v>
                      </c:pt>
                      <c:pt idx="3811">
                        <c:v>0</c:v>
                      </c:pt>
                      <c:pt idx="3812">
                        <c:v>0</c:v>
                      </c:pt>
                      <c:pt idx="3813">
                        <c:v>0</c:v>
                      </c:pt>
                      <c:pt idx="3814">
                        <c:v>0</c:v>
                      </c:pt>
                      <c:pt idx="3815">
                        <c:v>0</c:v>
                      </c:pt>
                      <c:pt idx="3816">
                        <c:v>0</c:v>
                      </c:pt>
                      <c:pt idx="3817">
                        <c:v>0</c:v>
                      </c:pt>
                      <c:pt idx="3818">
                        <c:v>0</c:v>
                      </c:pt>
                      <c:pt idx="3819">
                        <c:v>0</c:v>
                      </c:pt>
                      <c:pt idx="3820">
                        <c:v>0</c:v>
                      </c:pt>
                      <c:pt idx="3821">
                        <c:v>0</c:v>
                      </c:pt>
                      <c:pt idx="3822">
                        <c:v>0</c:v>
                      </c:pt>
                      <c:pt idx="3823">
                        <c:v>0</c:v>
                      </c:pt>
                      <c:pt idx="3824">
                        <c:v>0</c:v>
                      </c:pt>
                      <c:pt idx="3825">
                        <c:v>0</c:v>
                      </c:pt>
                      <c:pt idx="3826">
                        <c:v>0</c:v>
                      </c:pt>
                      <c:pt idx="3827">
                        <c:v>0</c:v>
                      </c:pt>
                      <c:pt idx="3828">
                        <c:v>0</c:v>
                      </c:pt>
                      <c:pt idx="3829">
                        <c:v>0</c:v>
                      </c:pt>
                      <c:pt idx="3830">
                        <c:v>0</c:v>
                      </c:pt>
                      <c:pt idx="3831">
                        <c:v>0</c:v>
                      </c:pt>
                      <c:pt idx="3832">
                        <c:v>0</c:v>
                      </c:pt>
                      <c:pt idx="3833">
                        <c:v>0</c:v>
                      </c:pt>
                      <c:pt idx="3834">
                        <c:v>0</c:v>
                      </c:pt>
                      <c:pt idx="3835">
                        <c:v>0</c:v>
                      </c:pt>
                      <c:pt idx="3836">
                        <c:v>0</c:v>
                      </c:pt>
                      <c:pt idx="3837">
                        <c:v>0</c:v>
                      </c:pt>
                      <c:pt idx="3838">
                        <c:v>0</c:v>
                      </c:pt>
                      <c:pt idx="3839">
                        <c:v>0</c:v>
                      </c:pt>
                      <c:pt idx="3840">
                        <c:v>0</c:v>
                      </c:pt>
                      <c:pt idx="3841">
                        <c:v>0</c:v>
                      </c:pt>
                      <c:pt idx="3842">
                        <c:v>0</c:v>
                      </c:pt>
                      <c:pt idx="3843">
                        <c:v>0</c:v>
                      </c:pt>
                      <c:pt idx="3844">
                        <c:v>0</c:v>
                      </c:pt>
                      <c:pt idx="3845">
                        <c:v>0</c:v>
                      </c:pt>
                      <c:pt idx="3846">
                        <c:v>0</c:v>
                      </c:pt>
                      <c:pt idx="3847">
                        <c:v>0</c:v>
                      </c:pt>
                      <c:pt idx="3848">
                        <c:v>0</c:v>
                      </c:pt>
                      <c:pt idx="3849">
                        <c:v>0</c:v>
                      </c:pt>
                      <c:pt idx="3850">
                        <c:v>0</c:v>
                      </c:pt>
                      <c:pt idx="3851">
                        <c:v>0</c:v>
                      </c:pt>
                      <c:pt idx="3852">
                        <c:v>0</c:v>
                      </c:pt>
                      <c:pt idx="3853">
                        <c:v>0</c:v>
                      </c:pt>
                      <c:pt idx="3854">
                        <c:v>0</c:v>
                      </c:pt>
                      <c:pt idx="3855">
                        <c:v>0</c:v>
                      </c:pt>
                      <c:pt idx="3856">
                        <c:v>0</c:v>
                      </c:pt>
                      <c:pt idx="3857">
                        <c:v>0</c:v>
                      </c:pt>
                      <c:pt idx="3858">
                        <c:v>0</c:v>
                      </c:pt>
                      <c:pt idx="3859">
                        <c:v>0</c:v>
                      </c:pt>
                      <c:pt idx="3860">
                        <c:v>0</c:v>
                      </c:pt>
                      <c:pt idx="3861">
                        <c:v>0</c:v>
                      </c:pt>
                      <c:pt idx="3862">
                        <c:v>0</c:v>
                      </c:pt>
                      <c:pt idx="3863">
                        <c:v>0</c:v>
                      </c:pt>
                      <c:pt idx="3864">
                        <c:v>0</c:v>
                      </c:pt>
                      <c:pt idx="3865">
                        <c:v>0</c:v>
                      </c:pt>
                      <c:pt idx="3866">
                        <c:v>0</c:v>
                      </c:pt>
                      <c:pt idx="3867">
                        <c:v>0</c:v>
                      </c:pt>
                      <c:pt idx="3868">
                        <c:v>0</c:v>
                      </c:pt>
                      <c:pt idx="3869">
                        <c:v>0</c:v>
                      </c:pt>
                      <c:pt idx="3870">
                        <c:v>0</c:v>
                      </c:pt>
                      <c:pt idx="3871">
                        <c:v>0</c:v>
                      </c:pt>
                      <c:pt idx="3872">
                        <c:v>0</c:v>
                      </c:pt>
                      <c:pt idx="3873">
                        <c:v>0</c:v>
                      </c:pt>
                      <c:pt idx="3874">
                        <c:v>0</c:v>
                      </c:pt>
                      <c:pt idx="3875">
                        <c:v>0</c:v>
                      </c:pt>
                      <c:pt idx="3876">
                        <c:v>0</c:v>
                      </c:pt>
                      <c:pt idx="3877">
                        <c:v>0</c:v>
                      </c:pt>
                      <c:pt idx="3878">
                        <c:v>0</c:v>
                      </c:pt>
                      <c:pt idx="3879">
                        <c:v>0</c:v>
                      </c:pt>
                      <c:pt idx="3880">
                        <c:v>0</c:v>
                      </c:pt>
                      <c:pt idx="3881">
                        <c:v>0</c:v>
                      </c:pt>
                      <c:pt idx="3882">
                        <c:v>0</c:v>
                      </c:pt>
                      <c:pt idx="3883">
                        <c:v>0</c:v>
                      </c:pt>
                      <c:pt idx="3884">
                        <c:v>0</c:v>
                      </c:pt>
                      <c:pt idx="3885">
                        <c:v>0</c:v>
                      </c:pt>
                      <c:pt idx="3886">
                        <c:v>0</c:v>
                      </c:pt>
                      <c:pt idx="3887">
                        <c:v>0</c:v>
                      </c:pt>
                      <c:pt idx="3888">
                        <c:v>0</c:v>
                      </c:pt>
                      <c:pt idx="3889">
                        <c:v>0</c:v>
                      </c:pt>
                      <c:pt idx="3890">
                        <c:v>0</c:v>
                      </c:pt>
                      <c:pt idx="3891">
                        <c:v>0</c:v>
                      </c:pt>
                      <c:pt idx="3892">
                        <c:v>0</c:v>
                      </c:pt>
                      <c:pt idx="3893">
                        <c:v>0</c:v>
                      </c:pt>
                      <c:pt idx="3894">
                        <c:v>0</c:v>
                      </c:pt>
                      <c:pt idx="3895">
                        <c:v>0</c:v>
                      </c:pt>
                      <c:pt idx="3896">
                        <c:v>0</c:v>
                      </c:pt>
                      <c:pt idx="3897">
                        <c:v>0</c:v>
                      </c:pt>
                      <c:pt idx="3898">
                        <c:v>0</c:v>
                      </c:pt>
                      <c:pt idx="3899">
                        <c:v>0</c:v>
                      </c:pt>
                      <c:pt idx="3900">
                        <c:v>0</c:v>
                      </c:pt>
                      <c:pt idx="3901">
                        <c:v>0</c:v>
                      </c:pt>
                      <c:pt idx="3902">
                        <c:v>0</c:v>
                      </c:pt>
                      <c:pt idx="3903">
                        <c:v>0</c:v>
                      </c:pt>
                      <c:pt idx="3904">
                        <c:v>0</c:v>
                      </c:pt>
                      <c:pt idx="3905">
                        <c:v>0</c:v>
                      </c:pt>
                      <c:pt idx="3906">
                        <c:v>0</c:v>
                      </c:pt>
                      <c:pt idx="3907">
                        <c:v>0</c:v>
                      </c:pt>
                      <c:pt idx="3908">
                        <c:v>0</c:v>
                      </c:pt>
                      <c:pt idx="3909">
                        <c:v>0</c:v>
                      </c:pt>
                      <c:pt idx="3910">
                        <c:v>0</c:v>
                      </c:pt>
                      <c:pt idx="3911">
                        <c:v>0</c:v>
                      </c:pt>
                      <c:pt idx="3912">
                        <c:v>0</c:v>
                      </c:pt>
                      <c:pt idx="3913">
                        <c:v>0</c:v>
                      </c:pt>
                      <c:pt idx="3914">
                        <c:v>0</c:v>
                      </c:pt>
                      <c:pt idx="3915">
                        <c:v>0</c:v>
                      </c:pt>
                      <c:pt idx="3916">
                        <c:v>0</c:v>
                      </c:pt>
                      <c:pt idx="3917">
                        <c:v>0</c:v>
                      </c:pt>
                      <c:pt idx="3918">
                        <c:v>0</c:v>
                      </c:pt>
                      <c:pt idx="3919">
                        <c:v>0</c:v>
                      </c:pt>
                      <c:pt idx="3920">
                        <c:v>0</c:v>
                      </c:pt>
                      <c:pt idx="3921">
                        <c:v>0</c:v>
                      </c:pt>
                      <c:pt idx="3922">
                        <c:v>0</c:v>
                      </c:pt>
                      <c:pt idx="3923">
                        <c:v>0</c:v>
                      </c:pt>
                      <c:pt idx="3924">
                        <c:v>0</c:v>
                      </c:pt>
                      <c:pt idx="3925">
                        <c:v>0</c:v>
                      </c:pt>
                      <c:pt idx="3926">
                        <c:v>0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0</c:v>
                      </c:pt>
                      <c:pt idx="3931">
                        <c:v>0</c:v>
                      </c:pt>
                      <c:pt idx="3932">
                        <c:v>0</c:v>
                      </c:pt>
                      <c:pt idx="3933">
                        <c:v>0</c:v>
                      </c:pt>
                      <c:pt idx="3934">
                        <c:v>0</c:v>
                      </c:pt>
                      <c:pt idx="3935">
                        <c:v>0</c:v>
                      </c:pt>
                      <c:pt idx="3936">
                        <c:v>0</c:v>
                      </c:pt>
                      <c:pt idx="3937">
                        <c:v>0</c:v>
                      </c:pt>
                      <c:pt idx="3938">
                        <c:v>0</c:v>
                      </c:pt>
                      <c:pt idx="3939">
                        <c:v>0</c:v>
                      </c:pt>
                      <c:pt idx="3940">
                        <c:v>0</c:v>
                      </c:pt>
                      <c:pt idx="3941">
                        <c:v>0</c:v>
                      </c:pt>
                      <c:pt idx="3942">
                        <c:v>0</c:v>
                      </c:pt>
                      <c:pt idx="3943">
                        <c:v>0</c:v>
                      </c:pt>
                      <c:pt idx="3944">
                        <c:v>0</c:v>
                      </c:pt>
                      <c:pt idx="3945">
                        <c:v>0</c:v>
                      </c:pt>
                      <c:pt idx="3946">
                        <c:v>0</c:v>
                      </c:pt>
                      <c:pt idx="3947">
                        <c:v>0</c:v>
                      </c:pt>
                      <c:pt idx="3948">
                        <c:v>0</c:v>
                      </c:pt>
                      <c:pt idx="3949">
                        <c:v>0</c:v>
                      </c:pt>
                      <c:pt idx="3950">
                        <c:v>0</c:v>
                      </c:pt>
                      <c:pt idx="3951">
                        <c:v>0</c:v>
                      </c:pt>
                      <c:pt idx="3952">
                        <c:v>0</c:v>
                      </c:pt>
                      <c:pt idx="3953">
                        <c:v>0</c:v>
                      </c:pt>
                      <c:pt idx="3954">
                        <c:v>0</c:v>
                      </c:pt>
                      <c:pt idx="3955">
                        <c:v>0</c:v>
                      </c:pt>
                      <c:pt idx="3956">
                        <c:v>0</c:v>
                      </c:pt>
                      <c:pt idx="3957">
                        <c:v>0</c:v>
                      </c:pt>
                      <c:pt idx="3958">
                        <c:v>0</c:v>
                      </c:pt>
                      <c:pt idx="3959">
                        <c:v>0</c:v>
                      </c:pt>
                      <c:pt idx="3960">
                        <c:v>0</c:v>
                      </c:pt>
                      <c:pt idx="3961">
                        <c:v>0</c:v>
                      </c:pt>
                      <c:pt idx="3962">
                        <c:v>0</c:v>
                      </c:pt>
                      <c:pt idx="3963">
                        <c:v>0</c:v>
                      </c:pt>
                      <c:pt idx="3964">
                        <c:v>0</c:v>
                      </c:pt>
                      <c:pt idx="3965">
                        <c:v>0</c:v>
                      </c:pt>
                      <c:pt idx="3966">
                        <c:v>0</c:v>
                      </c:pt>
                      <c:pt idx="3967">
                        <c:v>0</c:v>
                      </c:pt>
                      <c:pt idx="3968">
                        <c:v>0</c:v>
                      </c:pt>
                      <c:pt idx="3969">
                        <c:v>0</c:v>
                      </c:pt>
                      <c:pt idx="3970">
                        <c:v>0</c:v>
                      </c:pt>
                      <c:pt idx="3971">
                        <c:v>0</c:v>
                      </c:pt>
                      <c:pt idx="3972">
                        <c:v>0</c:v>
                      </c:pt>
                      <c:pt idx="3973">
                        <c:v>0</c:v>
                      </c:pt>
                      <c:pt idx="3974">
                        <c:v>0</c:v>
                      </c:pt>
                      <c:pt idx="3975">
                        <c:v>0</c:v>
                      </c:pt>
                      <c:pt idx="3976">
                        <c:v>0</c:v>
                      </c:pt>
                      <c:pt idx="3977">
                        <c:v>0</c:v>
                      </c:pt>
                      <c:pt idx="3978">
                        <c:v>0</c:v>
                      </c:pt>
                      <c:pt idx="3979">
                        <c:v>0</c:v>
                      </c:pt>
                      <c:pt idx="3980">
                        <c:v>0</c:v>
                      </c:pt>
                      <c:pt idx="3981">
                        <c:v>0</c:v>
                      </c:pt>
                      <c:pt idx="3982">
                        <c:v>0</c:v>
                      </c:pt>
                      <c:pt idx="3983">
                        <c:v>0</c:v>
                      </c:pt>
                      <c:pt idx="3984">
                        <c:v>0</c:v>
                      </c:pt>
                      <c:pt idx="3985">
                        <c:v>0</c:v>
                      </c:pt>
                      <c:pt idx="3986">
                        <c:v>0</c:v>
                      </c:pt>
                      <c:pt idx="3987">
                        <c:v>0</c:v>
                      </c:pt>
                      <c:pt idx="3988">
                        <c:v>0</c:v>
                      </c:pt>
                      <c:pt idx="3989">
                        <c:v>0</c:v>
                      </c:pt>
                      <c:pt idx="3990">
                        <c:v>0</c:v>
                      </c:pt>
                      <c:pt idx="3991">
                        <c:v>0</c:v>
                      </c:pt>
                      <c:pt idx="3992">
                        <c:v>0</c:v>
                      </c:pt>
                      <c:pt idx="3993">
                        <c:v>0</c:v>
                      </c:pt>
                      <c:pt idx="3994">
                        <c:v>0</c:v>
                      </c:pt>
                      <c:pt idx="3995">
                        <c:v>0</c:v>
                      </c:pt>
                      <c:pt idx="3996">
                        <c:v>0</c:v>
                      </c:pt>
                      <c:pt idx="3997">
                        <c:v>0</c:v>
                      </c:pt>
                      <c:pt idx="3998">
                        <c:v>0</c:v>
                      </c:pt>
                      <c:pt idx="3999">
                        <c:v>0</c:v>
                      </c:pt>
                      <c:pt idx="4000">
                        <c:v>0</c:v>
                      </c:pt>
                      <c:pt idx="4001">
                        <c:v>0</c:v>
                      </c:pt>
                      <c:pt idx="4002">
                        <c:v>0</c:v>
                      </c:pt>
                      <c:pt idx="4003">
                        <c:v>0</c:v>
                      </c:pt>
                      <c:pt idx="4004">
                        <c:v>0</c:v>
                      </c:pt>
                      <c:pt idx="4005">
                        <c:v>0</c:v>
                      </c:pt>
                      <c:pt idx="4006">
                        <c:v>0</c:v>
                      </c:pt>
                      <c:pt idx="4007">
                        <c:v>0</c:v>
                      </c:pt>
                      <c:pt idx="4008">
                        <c:v>0</c:v>
                      </c:pt>
                      <c:pt idx="4009">
                        <c:v>0</c:v>
                      </c:pt>
                      <c:pt idx="4010">
                        <c:v>0</c:v>
                      </c:pt>
                      <c:pt idx="4011">
                        <c:v>0</c:v>
                      </c:pt>
                      <c:pt idx="4012">
                        <c:v>0</c:v>
                      </c:pt>
                      <c:pt idx="4013">
                        <c:v>0</c:v>
                      </c:pt>
                      <c:pt idx="4014">
                        <c:v>0</c:v>
                      </c:pt>
                      <c:pt idx="4015">
                        <c:v>0</c:v>
                      </c:pt>
                      <c:pt idx="4016">
                        <c:v>0</c:v>
                      </c:pt>
                      <c:pt idx="4017">
                        <c:v>0</c:v>
                      </c:pt>
                      <c:pt idx="4018">
                        <c:v>0</c:v>
                      </c:pt>
                      <c:pt idx="4019">
                        <c:v>0</c:v>
                      </c:pt>
                      <c:pt idx="4020">
                        <c:v>0</c:v>
                      </c:pt>
                      <c:pt idx="4021">
                        <c:v>0</c:v>
                      </c:pt>
                      <c:pt idx="4022">
                        <c:v>0</c:v>
                      </c:pt>
                      <c:pt idx="4023">
                        <c:v>0</c:v>
                      </c:pt>
                      <c:pt idx="4024">
                        <c:v>0</c:v>
                      </c:pt>
                      <c:pt idx="4025">
                        <c:v>0</c:v>
                      </c:pt>
                      <c:pt idx="4026">
                        <c:v>0</c:v>
                      </c:pt>
                      <c:pt idx="4027">
                        <c:v>0</c:v>
                      </c:pt>
                      <c:pt idx="4028">
                        <c:v>0</c:v>
                      </c:pt>
                      <c:pt idx="4029">
                        <c:v>0</c:v>
                      </c:pt>
                      <c:pt idx="4030">
                        <c:v>0</c:v>
                      </c:pt>
                      <c:pt idx="4031">
                        <c:v>0</c:v>
                      </c:pt>
                      <c:pt idx="4032">
                        <c:v>0</c:v>
                      </c:pt>
                      <c:pt idx="4033">
                        <c:v>0</c:v>
                      </c:pt>
                      <c:pt idx="4034">
                        <c:v>0</c:v>
                      </c:pt>
                      <c:pt idx="4035">
                        <c:v>0</c:v>
                      </c:pt>
                      <c:pt idx="4036">
                        <c:v>0</c:v>
                      </c:pt>
                      <c:pt idx="4037">
                        <c:v>0</c:v>
                      </c:pt>
                      <c:pt idx="4038">
                        <c:v>0</c:v>
                      </c:pt>
                      <c:pt idx="4039">
                        <c:v>0</c:v>
                      </c:pt>
                      <c:pt idx="4040">
                        <c:v>0</c:v>
                      </c:pt>
                      <c:pt idx="4041">
                        <c:v>0</c:v>
                      </c:pt>
                      <c:pt idx="4042">
                        <c:v>0</c:v>
                      </c:pt>
                      <c:pt idx="4043">
                        <c:v>0</c:v>
                      </c:pt>
                      <c:pt idx="4044">
                        <c:v>0</c:v>
                      </c:pt>
                      <c:pt idx="4045">
                        <c:v>0</c:v>
                      </c:pt>
                      <c:pt idx="4046">
                        <c:v>0</c:v>
                      </c:pt>
                      <c:pt idx="4047">
                        <c:v>0</c:v>
                      </c:pt>
                      <c:pt idx="4048">
                        <c:v>0</c:v>
                      </c:pt>
                      <c:pt idx="4049">
                        <c:v>0</c:v>
                      </c:pt>
                      <c:pt idx="4050">
                        <c:v>0</c:v>
                      </c:pt>
                      <c:pt idx="4051">
                        <c:v>0</c:v>
                      </c:pt>
                      <c:pt idx="4052">
                        <c:v>0</c:v>
                      </c:pt>
                      <c:pt idx="4053">
                        <c:v>0</c:v>
                      </c:pt>
                      <c:pt idx="4054">
                        <c:v>0</c:v>
                      </c:pt>
                      <c:pt idx="4055">
                        <c:v>0</c:v>
                      </c:pt>
                      <c:pt idx="4056">
                        <c:v>0</c:v>
                      </c:pt>
                      <c:pt idx="4057">
                        <c:v>0</c:v>
                      </c:pt>
                      <c:pt idx="4058">
                        <c:v>0</c:v>
                      </c:pt>
                      <c:pt idx="4059">
                        <c:v>0</c:v>
                      </c:pt>
                      <c:pt idx="4060">
                        <c:v>0</c:v>
                      </c:pt>
                      <c:pt idx="4061">
                        <c:v>0</c:v>
                      </c:pt>
                      <c:pt idx="4062">
                        <c:v>0</c:v>
                      </c:pt>
                      <c:pt idx="4063">
                        <c:v>0</c:v>
                      </c:pt>
                      <c:pt idx="4064">
                        <c:v>0</c:v>
                      </c:pt>
                      <c:pt idx="4065">
                        <c:v>0</c:v>
                      </c:pt>
                      <c:pt idx="4066">
                        <c:v>0</c:v>
                      </c:pt>
                      <c:pt idx="4067">
                        <c:v>0</c:v>
                      </c:pt>
                      <c:pt idx="4068">
                        <c:v>0</c:v>
                      </c:pt>
                      <c:pt idx="4069">
                        <c:v>0</c:v>
                      </c:pt>
                      <c:pt idx="4070">
                        <c:v>0</c:v>
                      </c:pt>
                      <c:pt idx="4071">
                        <c:v>0</c:v>
                      </c:pt>
                      <c:pt idx="4072">
                        <c:v>0</c:v>
                      </c:pt>
                      <c:pt idx="4073">
                        <c:v>0</c:v>
                      </c:pt>
                      <c:pt idx="4074">
                        <c:v>0</c:v>
                      </c:pt>
                      <c:pt idx="4075">
                        <c:v>0</c:v>
                      </c:pt>
                      <c:pt idx="4076">
                        <c:v>0</c:v>
                      </c:pt>
                      <c:pt idx="4077">
                        <c:v>0</c:v>
                      </c:pt>
                      <c:pt idx="4078">
                        <c:v>0</c:v>
                      </c:pt>
                      <c:pt idx="4079">
                        <c:v>0</c:v>
                      </c:pt>
                      <c:pt idx="4080">
                        <c:v>0</c:v>
                      </c:pt>
                      <c:pt idx="4081">
                        <c:v>0</c:v>
                      </c:pt>
                      <c:pt idx="4082">
                        <c:v>0</c:v>
                      </c:pt>
                      <c:pt idx="4083">
                        <c:v>0</c:v>
                      </c:pt>
                      <c:pt idx="4084">
                        <c:v>0</c:v>
                      </c:pt>
                      <c:pt idx="4085">
                        <c:v>0</c:v>
                      </c:pt>
                      <c:pt idx="4086">
                        <c:v>0</c:v>
                      </c:pt>
                      <c:pt idx="4087">
                        <c:v>0</c:v>
                      </c:pt>
                      <c:pt idx="4088">
                        <c:v>0</c:v>
                      </c:pt>
                      <c:pt idx="4089">
                        <c:v>0</c:v>
                      </c:pt>
                      <c:pt idx="4090">
                        <c:v>0</c:v>
                      </c:pt>
                      <c:pt idx="4091">
                        <c:v>0</c:v>
                      </c:pt>
                      <c:pt idx="4092">
                        <c:v>0</c:v>
                      </c:pt>
                      <c:pt idx="4093">
                        <c:v>0</c:v>
                      </c:pt>
                      <c:pt idx="4094">
                        <c:v>0</c:v>
                      </c:pt>
                      <c:pt idx="4095">
                        <c:v>0</c:v>
                      </c:pt>
                      <c:pt idx="4096">
                        <c:v>0</c:v>
                      </c:pt>
                      <c:pt idx="4097">
                        <c:v>0</c:v>
                      </c:pt>
                      <c:pt idx="4098">
                        <c:v>0</c:v>
                      </c:pt>
                      <c:pt idx="4099">
                        <c:v>0</c:v>
                      </c:pt>
                      <c:pt idx="4100">
                        <c:v>0</c:v>
                      </c:pt>
                      <c:pt idx="4101">
                        <c:v>0</c:v>
                      </c:pt>
                      <c:pt idx="4102">
                        <c:v>0</c:v>
                      </c:pt>
                      <c:pt idx="4103">
                        <c:v>0</c:v>
                      </c:pt>
                      <c:pt idx="4104">
                        <c:v>0</c:v>
                      </c:pt>
                      <c:pt idx="4105">
                        <c:v>0</c:v>
                      </c:pt>
                      <c:pt idx="4106">
                        <c:v>0</c:v>
                      </c:pt>
                      <c:pt idx="4107">
                        <c:v>0</c:v>
                      </c:pt>
                      <c:pt idx="4108">
                        <c:v>0</c:v>
                      </c:pt>
                      <c:pt idx="4109">
                        <c:v>0</c:v>
                      </c:pt>
                      <c:pt idx="4110">
                        <c:v>0</c:v>
                      </c:pt>
                      <c:pt idx="4111">
                        <c:v>0</c:v>
                      </c:pt>
                      <c:pt idx="4112">
                        <c:v>0</c:v>
                      </c:pt>
                      <c:pt idx="4113">
                        <c:v>0</c:v>
                      </c:pt>
                      <c:pt idx="4114">
                        <c:v>0</c:v>
                      </c:pt>
                      <c:pt idx="4115">
                        <c:v>0</c:v>
                      </c:pt>
                      <c:pt idx="4116">
                        <c:v>0</c:v>
                      </c:pt>
                      <c:pt idx="4117">
                        <c:v>0</c:v>
                      </c:pt>
                      <c:pt idx="4118">
                        <c:v>0</c:v>
                      </c:pt>
                      <c:pt idx="4119">
                        <c:v>0</c:v>
                      </c:pt>
                      <c:pt idx="4120">
                        <c:v>0</c:v>
                      </c:pt>
                      <c:pt idx="4121">
                        <c:v>0</c:v>
                      </c:pt>
                      <c:pt idx="4122">
                        <c:v>0</c:v>
                      </c:pt>
                      <c:pt idx="4123">
                        <c:v>0</c:v>
                      </c:pt>
                      <c:pt idx="4124">
                        <c:v>0</c:v>
                      </c:pt>
                      <c:pt idx="4125">
                        <c:v>0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0</c:v>
                      </c:pt>
                      <c:pt idx="4132">
                        <c:v>0</c:v>
                      </c:pt>
                      <c:pt idx="4133">
                        <c:v>0</c:v>
                      </c:pt>
                      <c:pt idx="4134">
                        <c:v>0</c:v>
                      </c:pt>
                      <c:pt idx="4135">
                        <c:v>0</c:v>
                      </c:pt>
                      <c:pt idx="4136">
                        <c:v>0</c:v>
                      </c:pt>
                      <c:pt idx="4137">
                        <c:v>0</c:v>
                      </c:pt>
                      <c:pt idx="4138">
                        <c:v>0</c:v>
                      </c:pt>
                      <c:pt idx="4139">
                        <c:v>0</c:v>
                      </c:pt>
                      <c:pt idx="4140">
                        <c:v>0</c:v>
                      </c:pt>
                      <c:pt idx="4141">
                        <c:v>0</c:v>
                      </c:pt>
                      <c:pt idx="4142">
                        <c:v>0</c:v>
                      </c:pt>
                      <c:pt idx="4143">
                        <c:v>0</c:v>
                      </c:pt>
                      <c:pt idx="4144">
                        <c:v>0</c:v>
                      </c:pt>
                      <c:pt idx="4145">
                        <c:v>0</c:v>
                      </c:pt>
                      <c:pt idx="4146">
                        <c:v>0</c:v>
                      </c:pt>
                      <c:pt idx="4147">
                        <c:v>0</c:v>
                      </c:pt>
                      <c:pt idx="4148">
                        <c:v>0</c:v>
                      </c:pt>
                      <c:pt idx="4149">
                        <c:v>0</c:v>
                      </c:pt>
                      <c:pt idx="4150">
                        <c:v>0</c:v>
                      </c:pt>
                      <c:pt idx="4151">
                        <c:v>0</c:v>
                      </c:pt>
                      <c:pt idx="4152">
                        <c:v>0</c:v>
                      </c:pt>
                      <c:pt idx="4153">
                        <c:v>0</c:v>
                      </c:pt>
                      <c:pt idx="4154">
                        <c:v>0</c:v>
                      </c:pt>
                      <c:pt idx="4155">
                        <c:v>0</c:v>
                      </c:pt>
                      <c:pt idx="4156">
                        <c:v>0</c:v>
                      </c:pt>
                      <c:pt idx="4157">
                        <c:v>0</c:v>
                      </c:pt>
                      <c:pt idx="4158">
                        <c:v>0</c:v>
                      </c:pt>
                      <c:pt idx="4159">
                        <c:v>0</c:v>
                      </c:pt>
                      <c:pt idx="4160">
                        <c:v>0</c:v>
                      </c:pt>
                      <c:pt idx="4161">
                        <c:v>0</c:v>
                      </c:pt>
                      <c:pt idx="4162">
                        <c:v>0</c:v>
                      </c:pt>
                      <c:pt idx="4163">
                        <c:v>0</c:v>
                      </c:pt>
                      <c:pt idx="4164">
                        <c:v>0</c:v>
                      </c:pt>
                      <c:pt idx="4165">
                        <c:v>0</c:v>
                      </c:pt>
                      <c:pt idx="4166">
                        <c:v>0</c:v>
                      </c:pt>
                      <c:pt idx="4167">
                        <c:v>0</c:v>
                      </c:pt>
                      <c:pt idx="4168">
                        <c:v>0</c:v>
                      </c:pt>
                      <c:pt idx="4169">
                        <c:v>0</c:v>
                      </c:pt>
                      <c:pt idx="4170">
                        <c:v>0</c:v>
                      </c:pt>
                      <c:pt idx="4171">
                        <c:v>0</c:v>
                      </c:pt>
                      <c:pt idx="4172">
                        <c:v>0</c:v>
                      </c:pt>
                      <c:pt idx="4173">
                        <c:v>0</c:v>
                      </c:pt>
                      <c:pt idx="4174">
                        <c:v>0</c:v>
                      </c:pt>
                      <c:pt idx="4175">
                        <c:v>0</c:v>
                      </c:pt>
                      <c:pt idx="4176">
                        <c:v>0</c:v>
                      </c:pt>
                      <c:pt idx="4177">
                        <c:v>0</c:v>
                      </c:pt>
                      <c:pt idx="4178">
                        <c:v>0</c:v>
                      </c:pt>
                      <c:pt idx="4179">
                        <c:v>0</c:v>
                      </c:pt>
                      <c:pt idx="4180">
                        <c:v>0</c:v>
                      </c:pt>
                      <c:pt idx="4181">
                        <c:v>0</c:v>
                      </c:pt>
                      <c:pt idx="4182">
                        <c:v>0</c:v>
                      </c:pt>
                      <c:pt idx="4183">
                        <c:v>0</c:v>
                      </c:pt>
                      <c:pt idx="4184">
                        <c:v>0</c:v>
                      </c:pt>
                      <c:pt idx="4185">
                        <c:v>0</c:v>
                      </c:pt>
                      <c:pt idx="4186">
                        <c:v>0</c:v>
                      </c:pt>
                      <c:pt idx="4187">
                        <c:v>0</c:v>
                      </c:pt>
                      <c:pt idx="4188">
                        <c:v>0</c:v>
                      </c:pt>
                      <c:pt idx="4189">
                        <c:v>0</c:v>
                      </c:pt>
                      <c:pt idx="4190">
                        <c:v>0</c:v>
                      </c:pt>
                      <c:pt idx="4191">
                        <c:v>0</c:v>
                      </c:pt>
                      <c:pt idx="4192">
                        <c:v>0</c:v>
                      </c:pt>
                      <c:pt idx="4193">
                        <c:v>0</c:v>
                      </c:pt>
                      <c:pt idx="4194">
                        <c:v>0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</c:v>
                      </c:pt>
                      <c:pt idx="4203">
                        <c:v>0</c:v>
                      </c:pt>
                      <c:pt idx="4204">
                        <c:v>0</c:v>
                      </c:pt>
                      <c:pt idx="4205">
                        <c:v>0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0</c:v>
                      </c:pt>
                      <c:pt idx="5193">
                        <c:v>0</c:v>
                      </c:pt>
                      <c:pt idx="5194">
                        <c:v>0</c:v>
                      </c:pt>
                      <c:pt idx="5195">
                        <c:v>0</c:v>
                      </c:pt>
                      <c:pt idx="5196">
                        <c:v>0</c:v>
                      </c:pt>
                      <c:pt idx="5197">
                        <c:v>0</c:v>
                      </c:pt>
                      <c:pt idx="5198">
                        <c:v>0</c:v>
                      </c:pt>
                      <c:pt idx="5199">
                        <c:v>0</c:v>
                      </c:pt>
                      <c:pt idx="5200">
                        <c:v>0</c:v>
                      </c:pt>
                      <c:pt idx="5201">
                        <c:v>0</c:v>
                      </c:pt>
                      <c:pt idx="5202">
                        <c:v>0</c:v>
                      </c:pt>
                      <c:pt idx="5203">
                        <c:v>0</c:v>
                      </c:pt>
                      <c:pt idx="5204">
                        <c:v>0</c:v>
                      </c:pt>
                      <c:pt idx="5205">
                        <c:v>0</c:v>
                      </c:pt>
                      <c:pt idx="5206">
                        <c:v>0</c:v>
                      </c:pt>
                      <c:pt idx="5207">
                        <c:v>0</c:v>
                      </c:pt>
                      <c:pt idx="5208">
                        <c:v>0</c:v>
                      </c:pt>
                      <c:pt idx="5209">
                        <c:v>0</c:v>
                      </c:pt>
                      <c:pt idx="5210">
                        <c:v>0</c:v>
                      </c:pt>
                      <c:pt idx="5211">
                        <c:v>0</c:v>
                      </c:pt>
                      <c:pt idx="5212">
                        <c:v>0</c:v>
                      </c:pt>
                      <c:pt idx="5213">
                        <c:v>0</c:v>
                      </c:pt>
                      <c:pt idx="5214">
                        <c:v>0</c:v>
                      </c:pt>
                      <c:pt idx="5215">
                        <c:v>0</c:v>
                      </c:pt>
                      <c:pt idx="5216">
                        <c:v>0</c:v>
                      </c:pt>
                      <c:pt idx="5217">
                        <c:v>0</c:v>
                      </c:pt>
                      <c:pt idx="5218">
                        <c:v>0</c:v>
                      </c:pt>
                      <c:pt idx="5219">
                        <c:v>0</c:v>
                      </c:pt>
                      <c:pt idx="5220">
                        <c:v>0</c:v>
                      </c:pt>
                      <c:pt idx="5221">
                        <c:v>0</c:v>
                      </c:pt>
                      <c:pt idx="5222">
                        <c:v>0</c:v>
                      </c:pt>
                      <c:pt idx="5223">
                        <c:v>0</c:v>
                      </c:pt>
                      <c:pt idx="5224">
                        <c:v>0</c:v>
                      </c:pt>
                      <c:pt idx="5225">
                        <c:v>0</c:v>
                      </c:pt>
                      <c:pt idx="5226">
                        <c:v>0</c:v>
                      </c:pt>
                      <c:pt idx="5227">
                        <c:v>0</c:v>
                      </c:pt>
                      <c:pt idx="5228">
                        <c:v>0</c:v>
                      </c:pt>
                      <c:pt idx="5229">
                        <c:v>0</c:v>
                      </c:pt>
                      <c:pt idx="5230">
                        <c:v>0</c:v>
                      </c:pt>
                      <c:pt idx="5231">
                        <c:v>0</c:v>
                      </c:pt>
                      <c:pt idx="5232">
                        <c:v>0</c:v>
                      </c:pt>
                      <c:pt idx="5233">
                        <c:v>0</c:v>
                      </c:pt>
                      <c:pt idx="5234">
                        <c:v>0</c:v>
                      </c:pt>
                      <c:pt idx="5235">
                        <c:v>0</c:v>
                      </c:pt>
                      <c:pt idx="5236">
                        <c:v>0</c:v>
                      </c:pt>
                      <c:pt idx="5237">
                        <c:v>0</c:v>
                      </c:pt>
                      <c:pt idx="5238">
                        <c:v>0</c:v>
                      </c:pt>
                      <c:pt idx="5239">
                        <c:v>0</c:v>
                      </c:pt>
                      <c:pt idx="5240">
                        <c:v>0</c:v>
                      </c:pt>
                      <c:pt idx="5241">
                        <c:v>0</c:v>
                      </c:pt>
                      <c:pt idx="5242">
                        <c:v>0</c:v>
                      </c:pt>
                      <c:pt idx="5243">
                        <c:v>0</c:v>
                      </c:pt>
                      <c:pt idx="5244">
                        <c:v>0</c:v>
                      </c:pt>
                      <c:pt idx="5245">
                        <c:v>0</c:v>
                      </c:pt>
                      <c:pt idx="5246">
                        <c:v>0</c:v>
                      </c:pt>
                      <c:pt idx="5247">
                        <c:v>0</c:v>
                      </c:pt>
                      <c:pt idx="5248">
                        <c:v>0</c:v>
                      </c:pt>
                      <c:pt idx="5249">
                        <c:v>0</c:v>
                      </c:pt>
                      <c:pt idx="5250">
                        <c:v>0</c:v>
                      </c:pt>
                      <c:pt idx="5251">
                        <c:v>0</c:v>
                      </c:pt>
                      <c:pt idx="5252">
                        <c:v>0</c:v>
                      </c:pt>
                      <c:pt idx="5253">
                        <c:v>0</c:v>
                      </c:pt>
                      <c:pt idx="5254">
                        <c:v>0</c:v>
                      </c:pt>
                      <c:pt idx="5255">
                        <c:v>0</c:v>
                      </c:pt>
                      <c:pt idx="5256">
                        <c:v>0</c:v>
                      </c:pt>
                      <c:pt idx="5257">
                        <c:v>0</c:v>
                      </c:pt>
                      <c:pt idx="5258">
                        <c:v>0</c:v>
                      </c:pt>
                      <c:pt idx="5259">
                        <c:v>0</c:v>
                      </c:pt>
                      <c:pt idx="5260">
                        <c:v>0</c:v>
                      </c:pt>
                      <c:pt idx="5261">
                        <c:v>0</c:v>
                      </c:pt>
                      <c:pt idx="5262">
                        <c:v>0</c:v>
                      </c:pt>
                      <c:pt idx="5263">
                        <c:v>0</c:v>
                      </c:pt>
                      <c:pt idx="5264">
                        <c:v>0</c:v>
                      </c:pt>
                      <c:pt idx="5265">
                        <c:v>0</c:v>
                      </c:pt>
                      <c:pt idx="5266">
                        <c:v>0</c:v>
                      </c:pt>
                      <c:pt idx="5267">
                        <c:v>0</c:v>
                      </c:pt>
                      <c:pt idx="5268">
                        <c:v>0</c:v>
                      </c:pt>
                      <c:pt idx="5269">
                        <c:v>0</c:v>
                      </c:pt>
                      <c:pt idx="5270">
                        <c:v>0</c:v>
                      </c:pt>
                      <c:pt idx="5271">
                        <c:v>0</c:v>
                      </c:pt>
                      <c:pt idx="5272">
                        <c:v>0</c:v>
                      </c:pt>
                      <c:pt idx="5273">
                        <c:v>0</c:v>
                      </c:pt>
                      <c:pt idx="5274">
                        <c:v>0</c:v>
                      </c:pt>
                      <c:pt idx="5275">
                        <c:v>0</c:v>
                      </c:pt>
                      <c:pt idx="5276">
                        <c:v>0</c:v>
                      </c:pt>
                      <c:pt idx="5277">
                        <c:v>0</c:v>
                      </c:pt>
                      <c:pt idx="5278">
                        <c:v>0</c:v>
                      </c:pt>
                      <c:pt idx="5279">
                        <c:v>0</c:v>
                      </c:pt>
                      <c:pt idx="5280">
                        <c:v>0</c:v>
                      </c:pt>
                      <c:pt idx="5281">
                        <c:v>0</c:v>
                      </c:pt>
                      <c:pt idx="5282">
                        <c:v>0</c:v>
                      </c:pt>
                      <c:pt idx="5283">
                        <c:v>0</c:v>
                      </c:pt>
                      <c:pt idx="5284">
                        <c:v>0</c:v>
                      </c:pt>
                      <c:pt idx="5285">
                        <c:v>0</c:v>
                      </c:pt>
                      <c:pt idx="5286">
                        <c:v>0</c:v>
                      </c:pt>
                      <c:pt idx="5287">
                        <c:v>0</c:v>
                      </c:pt>
                      <c:pt idx="5288">
                        <c:v>0</c:v>
                      </c:pt>
                      <c:pt idx="5289">
                        <c:v>0</c:v>
                      </c:pt>
                      <c:pt idx="5290">
                        <c:v>0</c:v>
                      </c:pt>
                      <c:pt idx="5291">
                        <c:v>0</c:v>
                      </c:pt>
                      <c:pt idx="5292">
                        <c:v>0</c:v>
                      </c:pt>
                      <c:pt idx="5293">
                        <c:v>0</c:v>
                      </c:pt>
                      <c:pt idx="5294">
                        <c:v>0</c:v>
                      </c:pt>
                      <c:pt idx="5295">
                        <c:v>0</c:v>
                      </c:pt>
                      <c:pt idx="5296">
                        <c:v>0</c:v>
                      </c:pt>
                      <c:pt idx="5297">
                        <c:v>0</c:v>
                      </c:pt>
                      <c:pt idx="5298">
                        <c:v>0</c:v>
                      </c:pt>
                      <c:pt idx="5299">
                        <c:v>0</c:v>
                      </c:pt>
                      <c:pt idx="5300">
                        <c:v>0</c:v>
                      </c:pt>
                      <c:pt idx="5301">
                        <c:v>0</c:v>
                      </c:pt>
                      <c:pt idx="5302">
                        <c:v>0</c:v>
                      </c:pt>
                      <c:pt idx="5303">
                        <c:v>0</c:v>
                      </c:pt>
                      <c:pt idx="5304">
                        <c:v>0</c:v>
                      </c:pt>
                      <c:pt idx="5305">
                        <c:v>0</c:v>
                      </c:pt>
                      <c:pt idx="5306">
                        <c:v>0</c:v>
                      </c:pt>
                      <c:pt idx="5307">
                        <c:v>0</c:v>
                      </c:pt>
                      <c:pt idx="5308">
                        <c:v>0</c:v>
                      </c:pt>
                      <c:pt idx="5309">
                        <c:v>0</c:v>
                      </c:pt>
                      <c:pt idx="5310">
                        <c:v>0</c:v>
                      </c:pt>
                      <c:pt idx="5311">
                        <c:v>0</c:v>
                      </c:pt>
                      <c:pt idx="5312">
                        <c:v>0</c:v>
                      </c:pt>
                      <c:pt idx="5313">
                        <c:v>0</c:v>
                      </c:pt>
                      <c:pt idx="5314">
                        <c:v>0</c:v>
                      </c:pt>
                      <c:pt idx="5315">
                        <c:v>0</c:v>
                      </c:pt>
                      <c:pt idx="5316">
                        <c:v>0</c:v>
                      </c:pt>
                      <c:pt idx="5317">
                        <c:v>0</c:v>
                      </c:pt>
                      <c:pt idx="5318">
                        <c:v>0</c:v>
                      </c:pt>
                      <c:pt idx="5319">
                        <c:v>0</c:v>
                      </c:pt>
                      <c:pt idx="5320">
                        <c:v>0</c:v>
                      </c:pt>
                      <c:pt idx="5321">
                        <c:v>0</c:v>
                      </c:pt>
                      <c:pt idx="5322">
                        <c:v>0</c:v>
                      </c:pt>
                      <c:pt idx="5323">
                        <c:v>0</c:v>
                      </c:pt>
                      <c:pt idx="5324">
                        <c:v>0</c:v>
                      </c:pt>
                      <c:pt idx="5325">
                        <c:v>0</c:v>
                      </c:pt>
                      <c:pt idx="5326">
                        <c:v>0</c:v>
                      </c:pt>
                      <c:pt idx="5327">
                        <c:v>0</c:v>
                      </c:pt>
                      <c:pt idx="5328">
                        <c:v>0</c:v>
                      </c:pt>
                      <c:pt idx="5329">
                        <c:v>0</c:v>
                      </c:pt>
                      <c:pt idx="5330">
                        <c:v>0</c:v>
                      </c:pt>
                      <c:pt idx="5331">
                        <c:v>0</c:v>
                      </c:pt>
                      <c:pt idx="5332">
                        <c:v>0</c:v>
                      </c:pt>
                      <c:pt idx="5333">
                        <c:v>0</c:v>
                      </c:pt>
                      <c:pt idx="5334">
                        <c:v>0</c:v>
                      </c:pt>
                      <c:pt idx="5335">
                        <c:v>0</c:v>
                      </c:pt>
                      <c:pt idx="5336">
                        <c:v>0</c:v>
                      </c:pt>
                      <c:pt idx="5337">
                        <c:v>0</c:v>
                      </c:pt>
                      <c:pt idx="5338">
                        <c:v>0</c:v>
                      </c:pt>
                      <c:pt idx="5339">
                        <c:v>0</c:v>
                      </c:pt>
                      <c:pt idx="5340">
                        <c:v>0</c:v>
                      </c:pt>
                      <c:pt idx="5341">
                        <c:v>0</c:v>
                      </c:pt>
                      <c:pt idx="5342">
                        <c:v>0</c:v>
                      </c:pt>
                      <c:pt idx="5343">
                        <c:v>0</c:v>
                      </c:pt>
                      <c:pt idx="5344">
                        <c:v>0</c:v>
                      </c:pt>
                      <c:pt idx="5345">
                        <c:v>0</c:v>
                      </c:pt>
                      <c:pt idx="5346">
                        <c:v>0</c:v>
                      </c:pt>
                      <c:pt idx="5347">
                        <c:v>0</c:v>
                      </c:pt>
                      <c:pt idx="5348">
                        <c:v>0</c:v>
                      </c:pt>
                      <c:pt idx="5349">
                        <c:v>0</c:v>
                      </c:pt>
                      <c:pt idx="5350">
                        <c:v>0</c:v>
                      </c:pt>
                      <c:pt idx="5351">
                        <c:v>0</c:v>
                      </c:pt>
                      <c:pt idx="5352">
                        <c:v>0</c:v>
                      </c:pt>
                      <c:pt idx="5353">
                        <c:v>0</c:v>
                      </c:pt>
                      <c:pt idx="5354">
                        <c:v>0</c:v>
                      </c:pt>
                      <c:pt idx="5355">
                        <c:v>0</c:v>
                      </c:pt>
                      <c:pt idx="5356">
                        <c:v>0</c:v>
                      </c:pt>
                      <c:pt idx="5357">
                        <c:v>0</c:v>
                      </c:pt>
                      <c:pt idx="5358">
                        <c:v>0</c:v>
                      </c:pt>
                      <c:pt idx="5359">
                        <c:v>0</c:v>
                      </c:pt>
                      <c:pt idx="5360">
                        <c:v>0</c:v>
                      </c:pt>
                      <c:pt idx="5361">
                        <c:v>0</c:v>
                      </c:pt>
                      <c:pt idx="5362">
                        <c:v>0</c:v>
                      </c:pt>
                      <c:pt idx="5363">
                        <c:v>0</c:v>
                      </c:pt>
                      <c:pt idx="5364">
                        <c:v>0</c:v>
                      </c:pt>
                      <c:pt idx="5365">
                        <c:v>0</c:v>
                      </c:pt>
                      <c:pt idx="5366">
                        <c:v>0</c:v>
                      </c:pt>
                      <c:pt idx="5367">
                        <c:v>0</c:v>
                      </c:pt>
                      <c:pt idx="5368">
                        <c:v>0</c:v>
                      </c:pt>
                      <c:pt idx="5369">
                        <c:v>0</c:v>
                      </c:pt>
                      <c:pt idx="5370">
                        <c:v>0</c:v>
                      </c:pt>
                      <c:pt idx="5371">
                        <c:v>0</c:v>
                      </c:pt>
                      <c:pt idx="5372">
                        <c:v>0</c:v>
                      </c:pt>
                      <c:pt idx="5373">
                        <c:v>0</c:v>
                      </c:pt>
                      <c:pt idx="5374">
                        <c:v>0</c:v>
                      </c:pt>
                      <c:pt idx="5375">
                        <c:v>0</c:v>
                      </c:pt>
                      <c:pt idx="5376">
                        <c:v>0</c:v>
                      </c:pt>
                      <c:pt idx="5377">
                        <c:v>0</c:v>
                      </c:pt>
                      <c:pt idx="5378">
                        <c:v>0</c:v>
                      </c:pt>
                      <c:pt idx="5379">
                        <c:v>0</c:v>
                      </c:pt>
                      <c:pt idx="5380">
                        <c:v>0</c:v>
                      </c:pt>
                      <c:pt idx="5381">
                        <c:v>0</c:v>
                      </c:pt>
                      <c:pt idx="5382">
                        <c:v>0</c:v>
                      </c:pt>
                      <c:pt idx="5383">
                        <c:v>0</c:v>
                      </c:pt>
                      <c:pt idx="5384">
                        <c:v>0</c:v>
                      </c:pt>
                      <c:pt idx="5385">
                        <c:v>0</c:v>
                      </c:pt>
                      <c:pt idx="5386">
                        <c:v>0</c:v>
                      </c:pt>
                      <c:pt idx="5387">
                        <c:v>0</c:v>
                      </c:pt>
                      <c:pt idx="5388">
                        <c:v>0</c:v>
                      </c:pt>
                      <c:pt idx="5389">
                        <c:v>0</c:v>
                      </c:pt>
                      <c:pt idx="5390">
                        <c:v>0</c:v>
                      </c:pt>
                      <c:pt idx="5391">
                        <c:v>0</c:v>
                      </c:pt>
                      <c:pt idx="5392">
                        <c:v>0</c:v>
                      </c:pt>
                      <c:pt idx="5393">
                        <c:v>0</c:v>
                      </c:pt>
                      <c:pt idx="5394">
                        <c:v>0</c:v>
                      </c:pt>
                      <c:pt idx="5395">
                        <c:v>0</c:v>
                      </c:pt>
                      <c:pt idx="5396">
                        <c:v>0</c:v>
                      </c:pt>
                      <c:pt idx="5397">
                        <c:v>0</c:v>
                      </c:pt>
                      <c:pt idx="5398">
                        <c:v>0</c:v>
                      </c:pt>
                      <c:pt idx="5399">
                        <c:v>0</c:v>
                      </c:pt>
                      <c:pt idx="5400">
                        <c:v>0</c:v>
                      </c:pt>
                      <c:pt idx="5401">
                        <c:v>0</c:v>
                      </c:pt>
                      <c:pt idx="5402">
                        <c:v>0</c:v>
                      </c:pt>
                      <c:pt idx="5403">
                        <c:v>0</c:v>
                      </c:pt>
                      <c:pt idx="5404">
                        <c:v>0</c:v>
                      </c:pt>
                      <c:pt idx="5405">
                        <c:v>0</c:v>
                      </c:pt>
                      <c:pt idx="5406">
                        <c:v>0</c:v>
                      </c:pt>
                      <c:pt idx="5407">
                        <c:v>0</c:v>
                      </c:pt>
                      <c:pt idx="5408">
                        <c:v>0</c:v>
                      </c:pt>
                      <c:pt idx="5409">
                        <c:v>0</c:v>
                      </c:pt>
                      <c:pt idx="5410">
                        <c:v>0</c:v>
                      </c:pt>
                      <c:pt idx="5411">
                        <c:v>0</c:v>
                      </c:pt>
                      <c:pt idx="5412">
                        <c:v>0</c:v>
                      </c:pt>
                      <c:pt idx="5413">
                        <c:v>0</c:v>
                      </c:pt>
                      <c:pt idx="5414">
                        <c:v>0</c:v>
                      </c:pt>
                      <c:pt idx="5415">
                        <c:v>0</c:v>
                      </c:pt>
                      <c:pt idx="5416">
                        <c:v>0</c:v>
                      </c:pt>
                      <c:pt idx="5417">
                        <c:v>0</c:v>
                      </c:pt>
                      <c:pt idx="5418">
                        <c:v>0</c:v>
                      </c:pt>
                      <c:pt idx="5419">
                        <c:v>0</c:v>
                      </c:pt>
                      <c:pt idx="5420">
                        <c:v>0</c:v>
                      </c:pt>
                      <c:pt idx="5421">
                        <c:v>0</c:v>
                      </c:pt>
                      <c:pt idx="5422">
                        <c:v>0</c:v>
                      </c:pt>
                      <c:pt idx="5423">
                        <c:v>0</c:v>
                      </c:pt>
                      <c:pt idx="5424">
                        <c:v>0</c:v>
                      </c:pt>
                      <c:pt idx="5425">
                        <c:v>0</c:v>
                      </c:pt>
                      <c:pt idx="5426">
                        <c:v>0</c:v>
                      </c:pt>
                      <c:pt idx="5427">
                        <c:v>0</c:v>
                      </c:pt>
                      <c:pt idx="5428">
                        <c:v>0</c:v>
                      </c:pt>
                      <c:pt idx="5429">
                        <c:v>0</c:v>
                      </c:pt>
                      <c:pt idx="5430">
                        <c:v>0</c:v>
                      </c:pt>
                      <c:pt idx="5431">
                        <c:v>0</c:v>
                      </c:pt>
                      <c:pt idx="5432">
                        <c:v>0</c:v>
                      </c:pt>
                      <c:pt idx="5433">
                        <c:v>0</c:v>
                      </c:pt>
                      <c:pt idx="5434">
                        <c:v>0</c:v>
                      </c:pt>
                      <c:pt idx="5435">
                        <c:v>0</c:v>
                      </c:pt>
                      <c:pt idx="5436">
                        <c:v>0</c:v>
                      </c:pt>
                      <c:pt idx="5437">
                        <c:v>0</c:v>
                      </c:pt>
                      <c:pt idx="5438">
                        <c:v>0</c:v>
                      </c:pt>
                      <c:pt idx="5439">
                        <c:v>0</c:v>
                      </c:pt>
                      <c:pt idx="5440">
                        <c:v>0</c:v>
                      </c:pt>
                      <c:pt idx="5441">
                        <c:v>0</c:v>
                      </c:pt>
                      <c:pt idx="5442">
                        <c:v>0</c:v>
                      </c:pt>
                      <c:pt idx="5443">
                        <c:v>0</c:v>
                      </c:pt>
                      <c:pt idx="5444">
                        <c:v>0</c:v>
                      </c:pt>
                      <c:pt idx="5445">
                        <c:v>0</c:v>
                      </c:pt>
                      <c:pt idx="5446">
                        <c:v>0</c:v>
                      </c:pt>
                      <c:pt idx="5447">
                        <c:v>0</c:v>
                      </c:pt>
                      <c:pt idx="5448">
                        <c:v>0</c:v>
                      </c:pt>
                      <c:pt idx="5449">
                        <c:v>0</c:v>
                      </c:pt>
                      <c:pt idx="5450">
                        <c:v>0</c:v>
                      </c:pt>
                      <c:pt idx="5451">
                        <c:v>0</c:v>
                      </c:pt>
                      <c:pt idx="5452">
                        <c:v>0</c:v>
                      </c:pt>
                      <c:pt idx="5453">
                        <c:v>0</c:v>
                      </c:pt>
                      <c:pt idx="5454">
                        <c:v>0</c:v>
                      </c:pt>
                      <c:pt idx="5455">
                        <c:v>0</c:v>
                      </c:pt>
                      <c:pt idx="5456">
                        <c:v>0</c:v>
                      </c:pt>
                      <c:pt idx="5457">
                        <c:v>0</c:v>
                      </c:pt>
                      <c:pt idx="5458">
                        <c:v>0</c:v>
                      </c:pt>
                      <c:pt idx="5459">
                        <c:v>0</c:v>
                      </c:pt>
                      <c:pt idx="5460">
                        <c:v>0</c:v>
                      </c:pt>
                      <c:pt idx="5461">
                        <c:v>0</c:v>
                      </c:pt>
                      <c:pt idx="5462">
                        <c:v>0</c:v>
                      </c:pt>
                      <c:pt idx="5463">
                        <c:v>0</c:v>
                      </c:pt>
                      <c:pt idx="5464">
                        <c:v>0</c:v>
                      </c:pt>
                      <c:pt idx="5465">
                        <c:v>0</c:v>
                      </c:pt>
                      <c:pt idx="5466">
                        <c:v>0</c:v>
                      </c:pt>
                      <c:pt idx="5467">
                        <c:v>0</c:v>
                      </c:pt>
                      <c:pt idx="5468">
                        <c:v>0</c:v>
                      </c:pt>
                      <c:pt idx="5469">
                        <c:v>0</c:v>
                      </c:pt>
                      <c:pt idx="5470">
                        <c:v>0</c:v>
                      </c:pt>
                      <c:pt idx="5471">
                        <c:v>0</c:v>
                      </c:pt>
                      <c:pt idx="5472">
                        <c:v>0</c:v>
                      </c:pt>
                      <c:pt idx="5473">
                        <c:v>0</c:v>
                      </c:pt>
                      <c:pt idx="5474">
                        <c:v>0</c:v>
                      </c:pt>
                      <c:pt idx="5475">
                        <c:v>0</c:v>
                      </c:pt>
                      <c:pt idx="5476">
                        <c:v>0</c:v>
                      </c:pt>
                      <c:pt idx="5477">
                        <c:v>0</c:v>
                      </c:pt>
                      <c:pt idx="5478">
                        <c:v>0</c:v>
                      </c:pt>
                      <c:pt idx="5479">
                        <c:v>0</c:v>
                      </c:pt>
                      <c:pt idx="5480">
                        <c:v>0</c:v>
                      </c:pt>
                      <c:pt idx="5481">
                        <c:v>0</c:v>
                      </c:pt>
                      <c:pt idx="5482">
                        <c:v>0</c:v>
                      </c:pt>
                      <c:pt idx="5483">
                        <c:v>0</c:v>
                      </c:pt>
                      <c:pt idx="5484">
                        <c:v>0</c:v>
                      </c:pt>
                      <c:pt idx="5485">
                        <c:v>0</c:v>
                      </c:pt>
                      <c:pt idx="5486">
                        <c:v>0</c:v>
                      </c:pt>
                      <c:pt idx="5487">
                        <c:v>0</c:v>
                      </c:pt>
                      <c:pt idx="5488">
                        <c:v>0</c:v>
                      </c:pt>
                      <c:pt idx="5489">
                        <c:v>0</c:v>
                      </c:pt>
                      <c:pt idx="5490">
                        <c:v>0</c:v>
                      </c:pt>
                      <c:pt idx="5491">
                        <c:v>0</c:v>
                      </c:pt>
                      <c:pt idx="5492">
                        <c:v>0</c:v>
                      </c:pt>
                      <c:pt idx="5493">
                        <c:v>0</c:v>
                      </c:pt>
                      <c:pt idx="5494">
                        <c:v>0</c:v>
                      </c:pt>
                      <c:pt idx="5495">
                        <c:v>0</c:v>
                      </c:pt>
                      <c:pt idx="5496">
                        <c:v>0</c:v>
                      </c:pt>
                      <c:pt idx="5497">
                        <c:v>0</c:v>
                      </c:pt>
                      <c:pt idx="5498">
                        <c:v>0</c:v>
                      </c:pt>
                      <c:pt idx="5499">
                        <c:v>0</c:v>
                      </c:pt>
                      <c:pt idx="5500">
                        <c:v>0</c:v>
                      </c:pt>
                      <c:pt idx="5501">
                        <c:v>0</c:v>
                      </c:pt>
                      <c:pt idx="5502">
                        <c:v>0</c:v>
                      </c:pt>
                      <c:pt idx="5503">
                        <c:v>0</c:v>
                      </c:pt>
                      <c:pt idx="5504">
                        <c:v>0</c:v>
                      </c:pt>
                      <c:pt idx="5505">
                        <c:v>0</c:v>
                      </c:pt>
                      <c:pt idx="5506">
                        <c:v>0</c:v>
                      </c:pt>
                      <c:pt idx="5507">
                        <c:v>0</c:v>
                      </c:pt>
                      <c:pt idx="5508">
                        <c:v>0</c:v>
                      </c:pt>
                      <c:pt idx="5509">
                        <c:v>0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</c:v>
                      </c:pt>
                      <c:pt idx="5514">
                        <c:v>0</c:v>
                      </c:pt>
                      <c:pt idx="5515">
                        <c:v>0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</c:v>
                      </c:pt>
                      <c:pt idx="5538">
                        <c:v>0</c:v>
                      </c:pt>
                      <c:pt idx="5539">
                        <c:v>0</c:v>
                      </c:pt>
                      <c:pt idx="5540">
                        <c:v>0</c:v>
                      </c:pt>
                      <c:pt idx="5541">
                        <c:v>0</c:v>
                      </c:pt>
                      <c:pt idx="5542">
                        <c:v>0</c:v>
                      </c:pt>
                      <c:pt idx="5543">
                        <c:v>0</c:v>
                      </c:pt>
                      <c:pt idx="5544">
                        <c:v>0</c:v>
                      </c:pt>
                      <c:pt idx="5545">
                        <c:v>0</c:v>
                      </c:pt>
                      <c:pt idx="5546">
                        <c:v>0</c:v>
                      </c:pt>
                      <c:pt idx="5547">
                        <c:v>0</c:v>
                      </c:pt>
                      <c:pt idx="5548">
                        <c:v>0</c:v>
                      </c:pt>
                      <c:pt idx="5549">
                        <c:v>0</c:v>
                      </c:pt>
                      <c:pt idx="5550">
                        <c:v>0</c:v>
                      </c:pt>
                      <c:pt idx="5551">
                        <c:v>0</c:v>
                      </c:pt>
                      <c:pt idx="5552">
                        <c:v>0</c:v>
                      </c:pt>
                      <c:pt idx="5553">
                        <c:v>0</c:v>
                      </c:pt>
                      <c:pt idx="5554">
                        <c:v>0</c:v>
                      </c:pt>
                      <c:pt idx="5555">
                        <c:v>0</c:v>
                      </c:pt>
                      <c:pt idx="5556">
                        <c:v>0</c:v>
                      </c:pt>
                      <c:pt idx="5557">
                        <c:v>0</c:v>
                      </c:pt>
                      <c:pt idx="5558">
                        <c:v>0</c:v>
                      </c:pt>
                      <c:pt idx="5559">
                        <c:v>0</c:v>
                      </c:pt>
                      <c:pt idx="5560">
                        <c:v>0</c:v>
                      </c:pt>
                      <c:pt idx="5561">
                        <c:v>0</c:v>
                      </c:pt>
                      <c:pt idx="5562">
                        <c:v>0</c:v>
                      </c:pt>
                      <c:pt idx="5563">
                        <c:v>0</c:v>
                      </c:pt>
                      <c:pt idx="5564">
                        <c:v>0</c:v>
                      </c:pt>
                      <c:pt idx="5565">
                        <c:v>0</c:v>
                      </c:pt>
                      <c:pt idx="5566">
                        <c:v>0</c:v>
                      </c:pt>
                      <c:pt idx="5567">
                        <c:v>0</c:v>
                      </c:pt>
                      <c:pt idx="5568">
                        <c:v>0</c:v>
                      </c:pt>
                      <c:pt idx="5569">
                        <c:v>0</c:v>
                      </c:pt>
                      <c:pt idx="5570">
                        <c:v>0</c:v>
                      </c:pt>
                      <c:pt idx="5571">
                        <c:v>0</c:v>
                      </c:pt>
                      <c:pt idx="5572">
                        <c:v>0</c:v>
                      </c:pt>
                      <c:pt idx="5573">
                        <c:v>0</c:v>
                      </c:pt>
                      <c:pt idx="5574">
                        <c:v>0</c:v>
                      </c:pt>
                      <c:pt idx="5575">
                        <c:v>0</c:v>
                      </c:pt>
                      <c:pt idx="5576">
                        <c:v>0</c:v>
                      </c:pt>
                      <c:pt idx="5577">
                        <c:v>0</c:v>
                      </c:pt>
                      <c:pt idx="5578">
                        <c:v>0</c:v>
                      </c:pt>
                      <c:pt idx="5579">
                        <c:v>0</c:v>
                      </c:pt>
                      <c:pt idx="5580">
                        <c:v>0</c:v>
                      </c:pt>
                      <c:pt idx="5581">
                        <c:v>0</c:v>
                      </c:pt>
                      <c:pt idx="5582">
                        <c:v>0</c:v>
                      </c:pt>
                      <c:pt idx="5583">
                        <c:v>0</c:v>
                      </c:pt>
                      <c:pt idx="5584">
                        <c:v>0</c:v>
                      </c:pt>
                      <c:pt idx="5585">
                        <c:v>0</c:v>
                      </c:pt>
                      <c:pt idx="5586">
                        <c:v>0</c:v>
                      </c:pt>
                      <c:pt idx="5587">
                        <c:v>0</c:v>
                      </c:pt>
                      <c:pt idx="5588">
                        <c:v>0</c:v>
                      </c:pt>
                      <c:pt idx="5589">
                        <c:v>0</c:v>
                      </c:pt>
                      <c:pt idx="5590">
                        <c:v>0</c:v>
                      </c:pt>
                      <c:pt idx="5591">
                        <c:v>0</c:v>
                      </c:pt>
                      <c:pt idx="5592">
                        <c:v>0</c:v>
                      </c:pt>
                      <c:pt idx="5593">
                        <c:v>0</c:v>
                      </c:pt>
                      <c:pt idx="5594">
                        <c:v>0</c:v>
                      </c:pt>
                      <c:pt idx="5595">
                        <c:v>0</c:v>
                      </c:pt>
                      <c:pt idx="5596">
                        <c:v>0</c:v>
                      </c:pt>
                      <c:pt idx="5597">
                        <c:v>0</c:v>
                      </c:pt>
                      <c:pt idx="5598">
                        <c:v>0</c:v>
                      </c:pt>
                      <c:pt idx="5599">
                        <c:v>0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0</c:v>
                      </c:pt>
                      <c:pt idx="5605">
                        <c:v>0</c:v>
                      </c:pt>
                      <c:pt idx="5606">
                        <c:v>0</c:v>
                      </c:pt>
                      <c:pt idx="5607">
                        <c:v>0</c:v>
                      </c:pt>
                      <c:pt idx="5608">
                        <c:v>0</c:v>
                      </c:pt>
                      <c:pt idx="5609">
                        <c:v>0</c:v>
                      </c:pt>
                      <c:pt idx="5610">
                        <c:v>0</c:v>
                      </c:pt>
                      <c:pt idx="5611">
                        <c:v>0</c:v>
                      </c:pt>
                      <c:pt idx="5612">
                        <c:v>0</c:v>
                      </c:pt>
                      <c:pt idx="5613">
                        <c:v>0</c:v>
                      </c:pt>
                      <c:pt idx="5614">
                        <c:v>0</c:v>
                      </c:pt>
                      <c:pt idx="5615">
                        <c:v>0</c:v>
                      </c:pt>
                      <c:pt idx="5616">
                        <c:v>0</c:v>
                      </c:pt>
                      <c:pt idx="5617">
                        <c:v>0</c:v>
                      </c:pt>
                      <c:pt idx="5618">
                        <c:v>0</c:v>
                      </c:pt>
                      <c:pt idx="5619">
                        <c:v>0</c:v>
                      </c:pt>
                      <c:pt idx="5620">
                        <c:v>0</c:v>
                      </c:pt>
                      <c:pt idx="5621">
                        <c:v>0</c:v>
                      </c:pt>
                      <c:pt idx="5622">
                        <c:v>0</c:v>
                      </c:pt>
                      <c:pt idx="5623">
                        <c:v>0</c:v>
                      </c:pt>
                      <c:pt idx="5624">
                        <c:v>0</c:v>
                      </c:pt>
                      <c:pt idx="5625">
                        <c:v>0</c:v>
                      </c:pt>
                      <c:pt idx="5626">
                        <c:v>0</c:v>
                      </c:pt>
                      <c:pt idx="5627">
                        <c:v>0</c:v>
                      </c:pt>
                      <c:pt idx="5628">
                        <c:v>0</c:v>
                      </c:pt>
                      <c:pt idx="5629">
                        <c:v>0</c:v>
                      </c:pt>
                      <c:pt idx="5630">
                        <c:v>0</c:v>
                      </c:pt>
                      <c:pt idx="5631">
                        <c:v>0</c:v>
                      </c:pt>
                      <c:pt idx="5632">
                        <c:v>0</c:v>
                      </c:pt>
                      <c:pt idx="5633">
                        <c:v>0</c:v>
                      </c:pt>
                      <c:pt idx="5634">
                        <c:v>0</c:v>
                      </c:pt>
                      <c:pt idx="5635">
                        <c:v>0</c:v>
                      </c:pt>
                      <c:pt idx="5636">
                        <c:v>0</c:v>
                      </c:pt>
                      <c:pt idx="5637">
                        <c:v>0</c:v>
                      </c:pt>
                      <c:pt idx="5638">
                        <c:v>0</c:v>
                      </c:pt>
                      <c:pt idx="5639">
                        <c:v>0</c:v>
                      </c:pt>
                      <c:pt idx="5640">
                        <c:v>0</c:v>
                      </c:pt>
                      <c:pt idx="5641">
                        <c:v>0</c:v>
                      </c:pt>
                      <c:pt idx="5642">
                        <c:v>0</c:v>
                      </c:pt>
                      <c:pt idx="5643">
                        <c:v>0</c:v>
                      </c:pt>
                      <c:pt idx="5644">
                        <c:v>0</c:v>
                      </c:pt>
                      <c:pt idx="5645">
                        <c:v>0</c:v>
                      </c:pt>
                      <c:pt idx="5646">
                        <c:v>0</c:v>
                      </c:pt>
                      <c:pt idx="5647">
                        <c:v>0</c:v>
                      </c:pt>
                      <c:pt idx="5648">
                        <c:v>0</c:v>
                      </c:pt>
                      <c:pt idx="5649">
                        <c:v>0</c:v>
                      </c:pt>
                      <c:pt idx="5650">
                        <c:v>0</c:v>
                      </c:pt>
                      <c:pt idx="5651">
                        <c:v>0</c:v>
                      </c:pt>
                      <c:pt idx="5652">
                        <c:v>0</c:v>
                      </c:pt>
                      <c:pt idx="5653">
                        <c:v>0</c:v>
                      </c:pt>
                      <c:pt idx="5654">
                        <c:v>0</c:v>
                      </c:pt>
                      <c:pt idx="5655">
                        <c:v>0</c:v>
                      </c:pt>
                      <c:pt idx="5656">
                        <c:v>0</c:v>
                      </c:pt>
                      <c:pt idx="5657">
                        <c:v>0</c:v>
                      </c:pt>
                      <c:pt idx="5658">
                        <c:v>0</c:v>
                      </c:pt>
                      <c:pt idx="5659">
                        <c:v>0</c:v>
                      </c:pt>
                      <c:pt idx="5660">
                        <c:v>0</c:v>
                      </c:pt>
                      <c:pt idx="5661">
                        <c:v>0</c:v>
                      </c:pt>
                      <c:pt idx="5662">
                        <c:v>0</c:v>
                      </c:pt>
                      <c:pt idx="5663">
                        <c:v>0</c:v>
                      </c:pt>
                      <c:pt idx="5664">
                        <c:v>0</c:v>
                      </c:pt>
                      <c:pt idx="5665">
                        <c:v>0</c:v>
                      </c:pt>
                      <c:pt idx="5666">
                        <c:v>0</c:v>
                      </c:pt>
                      <c:pt idx="5667">
                        <c:v>0</c:v>
                      </c:pt>
                      <c:pt idx="5668">
                        <c:v>0</c:v>
                      </c:pt>
                      <c:pt idx="5669">
                        <c:v>0</c:v>
                      </c:pt>
                      <c:pt idx="5670">
                        <c:v>0</c:v>
                      </c:pt>
                      <c:pt idx="5671">
                        <c:v>0</c:v>
                      </c:pt>
                      <c:pt idx="5672">
                        <c:v>0</c:v>
                      </c:pt>
                      <c:pt idx="5673">
                        <c:v>0</c:v>
                      </c:pt>
                      <c:pt idx="5674">
                        <c:v>0</c:v>
                      </c:pt>
                      <c:pt idx="5675">
                        <c:v>0</c:v>
                      </c:pt>
                      <c:pt idx="5676">
                        <c:v>0</c:v>
                      </c:pt>
                      <c:pt idx="5677">
                        <c:v>0</c:v>
                      </c:pt>
                      <c:pt idx="5678">
                        <c:v>0</c:v>
                      </c:pt>
                      <c:pt idx="5679">
                        <c:v>0</c:v>
                      </c:pt>
                      <c:pt idx="5680">
                        <c:v>0</c:v>
                      </c:pt>
                      <c:pt idx="5681">
                        <c:v>0</c:v>
                      </c:pt>
                      <c:pt idx="5682">
                        <c:v>0</c:v>
                      </c:pt>
                      <c:pt idx="5683">
                        <c:v>0</c:v>
                      </c:pt>
                      <c:pt idx="5684">
                        <c:v>0</c:v>
                      </c:pt>
                      <c:pt idx="5685">
                        <c:v>0</c:v>
                      </c:pt>
                      <c:pt idx="5686">
                        <c:v>0</c:v>
                      </c:pt>
                      <c:pt idx="5687">
                        <c:v>0</c:v>
                      </c:pt>
                      <c:pt idx="5688">
                        <c:v>0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0</c:v>
                      </c:pt>
                      <c:pt idx="5699">
                        <c:v>0</c:v>
                      </c:pt>
                      <c:pt idx="5700">
                        <c:v>0</c:v>
                      </c:pt>
                      <c:pt idx="5701">
                        <c:v>0</c:v>
                      </c:pt>
                      <c:pt idx="5702">
                        <c:v>0</c:v>
                      </c:pt>
                      <c:pt idx="5703">
                        <c:v>0</c:v>
                      </c:pt>
                      <c:pt idx="5704">
                        <c:v>0</c:v>
                      </c:pt>
                      <c:pt idx="5705">
                        <c:v>0</c:v>
                      </c:pt>
                      <c:pt idx="5706">
                        <c:v>0</c:v>
                      </c:pt>
                      <c:pt idx="5707">
                        <c:v>0</c:v>
                      </c:pt>
                      <c:pt idx="5708">
                        <c:v>0</c:v>
                      </c:pt>
                      <c:pt idx="5709">
                        <c:v>0</c:v>
                      </c:pt>
                      <c:pt idx="5710">
                        <c:v>0</c:v>
                      </c:pt>
                      <c:pt idx="5711">
                        <c:v>0</c:v>
                      </c:pt>
                      <c:pt idx="5712">
                        <c:v>0</c:v>
                      </c:pt>
                      <c:pt idx="5713">
                        <c:v>0</c:v>
                      </c:pt>
                      <c:pt idx="5714">
                        <c:v>0</c:v>
                      </c:pt>
                      <c:pt idx="5715">
                        <c:v>0</c:v>
                      </c:pt>
                      <c:pt idx="5716">
                        <c:v>0</c:v>
                      </c:pt>
                      <c:pt idx="5717">
                        <c:v>0</c:v>
                      </c:pt>
                      <c:pt idx="5718">
                        <c:v>0</c:v>
                      </c:pt>
                      <c:pt idx="5719">
                        <c:v>0</c:v>
                      </c:pt>
                      <c:pt idx="5720">
                        <c:v>0</c:v>
                      </c:pt>
                      <c:pt idx="5721">
                        <c:v>0</c:v>
                      </c:pt>
                      <c:pt idx="5722">
                        <c:v>0</c:v>
                      </c:pt>
                      <c:pt idx="5723">
                        <c:v>0</c:v>
                      </c:pt>
                      <c:pt idx="5724">
                        <c:v>0</c:v>
                      </c:pt>
                      <c:pt idx="5725">
                        <c:v>0</c:v>
                      </c:pt>
                      <c:pt idx="5726">
                        <c:v>0</c:v>
                      </c:pt>
                      <c:pt idx="5727">
                        <c:v>0</c:v>
                      </c:pt>
                      <c:pt idx="5728">
                        <c:v>0</c:v>
                      </c:pt>
                      <c:pt idx="5729">
                        <c:v>0</c:v>
                      </c:pt>
                      <c:pt idx="5730">
                        <c:v>0</c:v>
                      </c:pt>
                      <c:pt idx="5731">
                        <c:v>0</c:v>
                      </c:pt>
                      <c:pt idx="5732">
                        <c:v>0</c:v>
                      </c:pt>
                      <c:pt idx="5733">
                        <c:v>0</c:v>
                      </c:pt>
                      <c:pt idx="5734">
                        <c:v>0</c:v>
                      </c:pt>
                      <c:pt idx="5735">
                        <c:v>0</c:v>
                      </c:pt>
                      <c:pt idx="5736">
                        <c:v>0</c:v>
                      </c:pt>
                      <c:pt idx="5737">
                        <c:v>0</c:v>
                      </c:pt>
                      <c:pt idx="5738">
                        <c:v>0</c:v>
                      </c:pt>
                      <c:pt idx="5739">
                        <c:v>0</c:v>
                      </c:pt>
                      <c:pt idx="5740">
                        <c:v>0</c:v>
                      </c:pt>
                      <c:pt idx="5741">
                        <c:v>0</c:v>
                      </c:pt>
                      <c:pt idx="5742">
                        <c:v>0</c:v>
                      </c:pt>
                      <c:pt idx="5743">
                        <c:v>0</c:v>
                      </c:pt>
                      <c:pt idx="5744">
                        <c:v>0</c:v>
                      </c:pt>
                      <c:pt idx="5745">
                        <c:v>0</c:v>
                      </c:pt>
                      <c:pt idx="5746">
                        <c:v>0</c:v>
                      </c:pt>
                      <c:pt idx="5747">
                        <c:v>0</c:v>
                      </c:pt>
                      <c:pt idx="5748">
                        <c:v>0</c:v>
                      </c:pt>
                      <c:pt idx="5749">
                        <c:v>0</c:v>
                      </c:pt>
                      <c:pt idx="5750">
                        <c:v>0</c:v>
                      </c:pt>
                      <c:pt idx="5751">
                        <c:v>0</c:v>
                      </c:pt>
                      <c:pt idx="5752">
                        <c:v>0</c:v>
                      </c:pt>
                      <c:pt idx="5753">
                        <c:v>0</c:v>
                      </c:pt>
                      <c:pt idx="5754">
                        <c:v>0</c:v>
                      </c:pt>
                      <c:pt idx="5755">
                        <c:v>0</c:v>
                      </c:pt>
                      <c:pt idx="5756">
                        <c:v>0</c:v>
                      </c:pt>
                      <c:pt idx="5757">
                        <c:v>0</c:v>
                      </c:pt>
                      <c:pt idx="5758">
                        <c:v>0</c:v>
                      </c:pt>
                      <c:pt idx="5759">
                        <c:v>0</c:v>
                      </c:pt>
                      <c:pt idx="5760">
                        <c:v>0</c:v>
                      </c:pt>
                      <c:pt idx="5761">
                        <c:v>0</c:v>
                      </c:pt>
                      <c:pt idx="5762">
                        <c:v>0</c:v>
                      </c:pt>
                      <c:pt idx="5763">
                        <c:v>0</c:v>
                      </c:pt>
                      <c:pt idx="5764">
                        <c:v>0</c:v>
                      </c:pt>
                      <c:pt idx="5765">
                        <c:v>0</c:v>
                      </c:pt>
                      <c:pt idx="5766">
                        <c:v>0</c:v>
                      </c:pt>
                      <c:pt idx="5767">
                        <c:v>0</c:v>
                      </c:pt>
                      <c:pt idx="5768">
                        <c:v>0</c:v>
                      </c:pt>
                      <c:pt idx="5769">
                        <c:v>0</c:v>
                      </c:pt>
                      <c:pt idx="5770">
                        <c:v>0</c:v>
                      </c:pt>
                      <c:pt idx="5771">
                        <c:v>0</c:v>
                      </c:pt>
                      <c:pt idx="5772">
                        <c:v>0</c:v>
                      </c:pt>
                      <c:pt idx="5773">
                        <c:v>0</c:v>
                      </c:pt>
                      <c:pt idx="5774">
                        <c:v>0</c:v>
                      </c:pt>
                      <c:pt idx="5775">
                        <c:v>0</c:v>
                      </c:pt>
                      <c:pt idx="5776">
                        <c:v>0</c:v>
                      </c:pt>
                      <c:pt idx="5777">
                        <c:v>0</c:v>
                      </c:pt>
                      <c:pt idx="5778">
                        <c:v>0</c:v>
                      </c:pt>
                      <c:pt idx="5779">
                        <c:v>0</c:v>
                      </c:pt>
                      <c:pt idx="5780">
                        <c:v>0</c:v>
                      </c:pt>
                      <c:pt idx="5781">
                        <c:v>0</c:v>
                      </c:pt>
                      <c:pt idx="5782">
                        <c:v>0</c:v>
                      </c:pt>
                      <c:pt idx="5783">
                        <c:v>0</c:v>
                      </c:pt>
                      <c:pt idx="5784">
                        <c:v>0</c:v>
                      </c:pt>
                      <c:pt idx="5785">
                        <c:v>0</c:v>
                      </c:pt>
                      <c:pt idx="5786">
                        <c:v>0</c:v>
                      </c:pt>
                      <c:pt idx="5787">
                        <c:v>0</c:v>
                      </c:pt>
                      <c:pt idx="5788">
                        <c:v>0</c:v>
                      </c:pt>
                      <c:pt idx="5789">
                        <c:v>0</c:v>
                      </c:pt>
                      <c:pt idx="5790">
                        <c:v>0</c:v>
                      </c:pt>
                      <c:pt idx="5791">
                        <c:v>0</c:v>
                      </c:pt>
                      <c:pt idx="5792">
                        <c:v>0</c:v>
                      </c:pt>
                      <c:pt idx="5793">
                        <c:v>0</c:v>
                      </c:pt>
                      <c:pt idx="5794">
                        <c:v>0</c:v>
                      </c:pt>
                      <c:pt idx="5795">
                        <c:v>0</c:v>
                      </c:pt>
                      <c:pt idx="5796">
                        <c:v>0</c:v>
                      </c:pt>
                      <c:pt idx="5797">
                        <c:v>0</c:v>
                      </c:pt>
                      <c:pt idx="5798">
                        <c:v>0</c:v>
                      </c:pt>
                      <c:pt idx="5799">
                        <c:v>0</c:v>
                      </c:pt>
                      <c:pt idx="5800">
                        <c:v>0</c:v>
                      </c:pt>
                      <c:pt idx="5801">
                        <c:v>0</c:v>
                      </c:pt>
                      <c:pt idx="5802">
                        <c:v>0</c:v>
                      </c:pt>
                      <c:pt idx="5803">
                        <c:v>0</c:v>
                      </c:pt>
                      <c:pt idx="5804">
                        <c:v>0</c:v>
                      </c:pt>
                      <c:pt idx="5805">
                        <c:v>0</c:v>
                      </c:pt>
                      <c:pt idx="5806">
                        <c:v>0</c:v>
                      </c:pt>
                      <c:pt idx="5807">
                        <c:v>0</c:v>
                      </c:pt>
                      <c:pt idx="5808">
                        <c:v>0</c:v>
                      </c:pt>
                      <c:pt idx="5809">
                        <c:v>0</c:v>
                      </c:pt>
                      <c:pt idx="5810">
                        <c:v>0</c:v>
                      </c:pt>
                      <c:pt idx="5811">
                        <c:v>0</c:v>
                      </c:pt>
                      <c:pt idx="5812">
                        <c:v>0</c:v>
                      </c:pt>
                      <c:pt idx="5813">
                        <c:v>0</c:v>
                      </c:pt>
                      <c:pt idx="5814">
                        <c:v>0</c:v>
                      </c:pt>
                      <c:pt idx="5815">
                        <c:v>0</c:v>
                      </c:pt>
                      <c:pt idx="5816">
                        <c:v>0</c:v>
                      </c:pt>
                      <c:pt idx="5817">
                        <c:v>0</c:v>
                      </c:pt>
                      <c:pt idx="5818">
                        <c:v>0</c:v>
                      </c:pt>
                      <c:pt idx="5819">
                        <c:v>0</c:v>
                      </c:pt>
                      <c:pt idx="5820">
                        <c:v>0</c:v>
                      </c:pt>
                      <c:pt idx="5821">
                        <c:v>0</c:v>
                      </c:pt>
                      <c:pt idx="5822">
                        <c:v>0</c:v>
                      </c:pt>
                      <c:pt idx="5823">
                        <c:v>0</c:v>
                      </c:pt>
                      <c:pt idx="5824">
                        <c:v>0</c:v>
                      </c:pt>
                      <c:pt idx="5825">
                        <c:v>0</c:v>
                      </c:pt>
                      <c:pt idx="5826">
                        <c:v>0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</c:v>
                      </c:pt>
                      <c:pt idx="5833">
                        <c:v>0</c:v>
                      </c:pt>
                      <c:pt idx="5834">
                        <c:v>0</c:v>
                      </c:pt>
                      <c:pt idx="5835">
                        <c:v>0</c:v>
                      </c:pt>
                      <c:pt idx="5836">
                        <c:v>0</c:v>
                      </c:pt>
                      <c:pt idx="5837">
                        <c:v>0</c:v>
                      </c:pt>
                      <c:pt idx="5838">
                        <c:v>0</c:v>
                      </c:pt>
                      <c:pt idx="5839">
                        <c:v>0</c:v>
                      </c:pt>
                      <c:pt idx="5840">
                        <c:v>0</c:v>
                      </c:pt>
                      <c:pt idx="5841">
                        <c:v>0</c:v>
                      </c:pt>
                      <c:pt idx="5842">
                        <c:v>0</c:v>
                      </c:pt>
                      <c:pt idx="5843">
                        <c:v>0</c:v>
                      </c:pt>
                      <c:pt idx="5844">
                        <c:v>0</c:v>
                      </c:pt>
                      <c:pt idx="5845">
                        <c:v>0</c:v>
                      </c:pt>
                      <c:pt idx="5846">
                        <c:v>0</c:v>
                      </c:pt>
                      <c:pt idx="5847">
                        <c:v>0</c:v>
                      </c:pt>
                      <c:pt idx="5848">
                        <c:v>0</c:v>
                      </c:pt>
                      <c:pt idx="5849">
                        <c:v>0</c:v>
                      </c:pt>
                      <c:pt idx="5850">
                        <c:v>0</c:v>
                      </c:pt>
                      <c:pt idx="5851">
                        <c:v>0</c:v>
                      </c:pt>
                      <c:pt idx="5852">
                        <c:v>0</c:v>
                      </c:pt>
                      <c:pt idx="5853">
                        <c:v>0</c:v>
                      </c:pt>
                      <c:pt idx="5854">
                        <c:v>0</c:v>
                      </c:pt>
                      <c:pt idx="5855">
                        <c:v>0</c:v>
                      </c:pt>
                      <c:pt idx="5856">
                        <c:v>0</c:v>
                      </c:pt>
                      <c:pt idx="5857">
                        <c:v>0</c:v>
                      </c:pt>
                      <c:pt idx="5858">
                        <c:v>0</c:v>
                      </c:pt>
                      <c:pt idx="5859">
                        <c:v>0</c:v>
                      </c:pt>
                      <c:pt idx="5860">
                        <c:v>0</c:v>
                      </c:pt>
                      <c:pt idx="5861">
                        <c:v>0</c:v>
                      </c:pt>
                      <c:pt idx="5862">
                        <c:v>0</c:v>
                      </c:pt>
                      <c:pt idx="5863">
                        <c:v>0</c:v>
                      </c:pt>
                      <c:pt idx="5864">
                        <c:v>0</c:v>
                      </c:pt>
                      <c:pt idx="5865">
                        <c:v>0</c:v>
                      </c:pt>
                      <c:pt idx="5866">
                        <c:v>0</c:v>
                      </c:pt>
                      <c:pt idx="5867">
                        <c:v>0</c:v>
                      </c:pt>
                      <c:pt idx="5868">
                        <c:v>0</c:v>
                      </c:pt>
                      <c:pt idx="5869">
                        <c:v>0</c:v>
                      </c:pt>
                      <c:pt idx="5870">
                        <c:v>0</c:v>
                      </c:pt>
                      <c:pt idx="5871">
                        <c:v>0</c:v>
                      </c:pt>
                      <c:pt idx="5872">
                        <c:v>0</c:v>
                      </c:pt>
                      <c:pt idx="5873">
                        <c:v>0</c:v>
                      </c:pt>
                      <c:pt idx="5874">
                        <c:v>0</c:v>
                      </c:pt>
                      <c:pt idx="5875">
                        <c:v>0</c:v>
                      </c:pt>
                      <c:pt idx="5876">
                        <c:v>0</c:v>
                      </c:pt>
                      <c:pt idx="5877">
                        <c:v>0</c:v>
                      </c:pt>
                      <c:pt idx="5878">
                        <c:v>0</c:v>
                      </c:pt>
                      <c:pt idx="5879">
                        <c:v>0</c:v>
                      </c:pt>
                      <c:pt idx="5880">
                        <c:v>0</c:v>
                      </c:pt>
                      <c:pt idx="5881">
                        <c:v>0</c:v>
                      </c:pt>
                      <c:pt idx="5882">
                        <c:v>0</c:v>
                      </c:pt>
                      <c:pt idx="5883">
                        <c:v>0</c:v>
                      </c:pt>
                      <c:pt idx="5884">
                        <c:v>0</c:v>
                      </c:pt>
                      <c:pt idx="5885">
                        <c:v>0</c:v>
                      </c:pt>
                      <c:pt idx="5886">
                        <c:v>0</c:v>
                      </c:pt>
                      <c:pt idx="5887">
                        <c:v>0</c:v>
                      </c:pt>
                      <c:pt idx="5888">
                        <c:v>0</c:v>
                      </c:pt>
                      <c:pt idx="5889">
                        <c:v>0</c:v>
                      </c:pt>
                      <c:pt idx="5890">
                        <c:v>0</c:v>
                      </c:pt>
                      <c:pt idx="5891">
                        <c:v>0</c:v>
                      </c:pt>
                      <c:pt idx="5892">
                        <c:v>0</c:v>
                      </c:pt>
                      <c:pt idx="5893">
                        <c:v>0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0</c:v>
                      </c:pt>
                      <c:pt idx="5898">
                        <c:v>0</c:v>
                      </c:pt>
                      <c:pt idx="5899">
                        <c:v>0</c:v>
                      </c:pt>
                      <c:pt idx="5900">
                        <c:v>0</c:v>
                      </c:pt>
                      <c:pt idx="5901">
                        <c:v>0</c:v>
                      </c:pt>
                      <c:pt idx="5902">
                        <c:v>0</c:v>
                      </c:pt>
                      <c:pt idx="5903">
                        <c:v>0</c:v>
                      </c:pt>
                      <c:pt idx="5904">
                        <c:v>0</c:v>
                      </c:pt>
                      <c:pt idx="5905">
                        <c:v>0</c:v>
                      </c:pt>
                      <c:pt idx="5906">
                        <c:v>0</c:v>
                      </c:pt>
                      <c:pt idx="5907">
                        <c:v>0</c:v>
                      </c:pt>
                      <c:pt idx="5908">
                        <c:v>0</c:v>
                      </c:pt>
                      <c:pt idx="5909">
                        <c:v>0</c:v>
                      </c:pt>
                      <c:pt idx="5910">
                        <c:v>0</c:v>
                      </c:pt>
                      <c:pt idx="5911">
                        <c:v>0</c:v>
                      </c:pt>
                      <c:pt idx="5912">
                        <c:v>0</c:v>
                      </c:pt>
                      <c:pt idx="5913">
                        <c:v>0</c:v>
                      </c:pt>
                      <c:pt idx="5914">
                        <c:v>0</c:v>
                      </c:pt>
                      <c:pt idx="5915">
                        <c:v>0</c:v>
                      </c:pt>
                      <c:pt idx="5916">
                        <c:v>0</c:v>
                      </c:pt>
                      <c:pt idx="5917">
                        <c:v>0</c:v>
                      </c:pt>
                      <c:pt idx="5918">
                        <c:v>0</c:v>
                      </c:pt>
                      <c:pt idx="5919">
                        <c:v>0</c:v>
                      </c:pt>
                      <c:pt idx="5920">
                        <c:v>0</c:v>
                      </c:pt>
                      <c:pt idx="5921">
                        <c:v>0</c:v>
                      </c:pt>
                      <c:pt idx="5922">
                        <c:v>0</c:v>
                      </c:pt>
                      <c:pt idx="5923">
                        <c:v>0</c:v>
                      </c:pt>
                      <c:pt idx="5924">
                        <c:v>0</c:v>
                      </c:pt>
                      <c:pt idx="5925">
                        <c:v>0</c:v>
                      </c:pt>
                      <c:pt idx="5926">
                        <c:v>0</c:v>
                      </c:pt>
                      <c:pt idx="5927">
                        <c:v>0</c:v>
                      </c:pt>
                      <c:pt idx="5928">
                        <c:v>0</c:v>
                      </c:pt>
                      <c:pt idx="5929">
                        <c:v>0</c:v>
                      </c:pt>
                      <c:pt idx="5930">
                        <c:v>0</c:v>
                      </c:pt>
                      <c:pt idx="5931">
                        <c:v>0</c:v>
                      </c:pt>
                      <c:pt idx="5932">
                        <c:v>0</c:v>
                      </c:pt>
                      <c:pt idx="5933">
                        <c:v>0</c:v>
                      </c:pt>
                      <c:pt idx="5934">
                        <c:v>0</c:v>
                      </c:pt>
                      <c:pt idx="5935">
                        <c:v>0</c:v>
                      </c:pt>
                      <c:pt idx="5936">
                        <c:v>0</c:v>
                      </c:pt>
                      <c:pt idx="5937">
                        <c:v>0</c:v>
                      </c:pt>
                      <c:pt idx="5938">
                        <c:v>0</c:v>
                      </c:pt>
                      <c:pt idx="5939">
                        <c:v>0</c:v>
                      </c:pt>
                      <c:pt idx="5940">
                        <c:v>0</c:v>
                      </c:pt>
                      <c:pt idx="5941">
                        <c:v>0</c:v>
                      </c:pt>
                      <c:pt idx="5942">
                        <c:v>0</c:v>
                      </c:pt>
                      <c:pt idx="5943">
                        <c:v>0</c:v>
                      </c:pt>
                      <c:pt idx="5944">
                        <c:v>0</c:v>
                      </c:pt>
                      <c:pt idx="5945">
                        <c:v>0</c:v>
                      </c:pt>
                      <c:pt idx="5946">
                        <c:v>0</c:v>
                      </c:pt>
                      <c:pt idx="5947">
                        <c:v>0</c:v>
                      </c:pt>
                      <c:pt idx="5948">
                        <c:v>0</c:v>
                      </c:pt>
                      <c:pt idx="5949">
                        <c:v>0</c:v>
                      </c:pt>
                      <c:pt idx="5950">
                        <c:v>0</c:v>
                      </c:pt>
                      <c:pt idx="5951">
                        <c:v>0</c:v>
                      </c:pt>
                      <c:pt idx="5952">
                        <c:v>0</c:v>
                      </c:pt>
                      <c:pt idx="5953">
                        <c:v>0</c:v>
                      </c:pt>
                      <c:pt idx="5954">
                        <c:v>0</c:v>
                      </c:pt>
                      <c:pt idx="5955">
                        <c:v>0</c:v>
                      </c:pt>
                      <c:pt idx="5956">
                        <c:v>0</c:v>
                      </c:pt>
                      <c:pt idx="5957">
                        <c:v>0</c:v>
                      </c:pt>
                      <c:pt idx="5958">
                        <c:v>0</c:v>
                      </c:pt>
                      <c:pt idx="5959">
                        <c:v>0</c:v>
                      </c:pt>
                      <c:pt idx="5960">
                        <c:v>0</c:v>
                      </c:pt>
                      <c:pt idx="5961">
                        <c:v>0</c:v>
                      </c:pt>
                      <c:pt idx="5962">
                        <c:v>0</c:v>
                      </c:pt>
                      <c:pt idx="5963">
                        <c:v>0</c:v>
                      </c:pt>
                      <c:pt idx="5964">
                        <c:v>0</c:v>
                      </c:pt>
                      <c:pt idx="5965">
                        <c:v>0</c:v>
                      </c:pt>
                      <c:pt idx="5966">
                        <c:v>0</c:v>
                      </c:pt>
                      <c:pt idx="5967">
                        <c:v>0</c:v>
                      </c:pt>
                      <c:pt idx="5968">
                        <c:v>0</c:v>
                      </c:pt>
                      <c:pt idx="5969">
                        <c:v>0</c:v>
                      </c:pt>
                      <c:pt idx="5970">
                        <c:v>0</c:v>
                      </c:pt>
                      <c:pt idx="5971">
                        <c:v>0</c:v>
                      </c:pt>
                      <c:pt idx="5972">
                        <c:v>0</c:v>
                      </c:pt>
                      <c:pt idx="5973">
                        <c:v>0</c:v>
                      </c:pt>
                      <c:pt idx="5974">
                        <c:v>0</c:v>
                      </c:pt>
                      <c:pt idx="5975">
                        <c:v>0</c:v>
                      </c:pt>
                      <c:pt idx="5976">
                        <c:v>0</c:v>
                      </c:pt>
                      <c:pt idx="5977">
                        <c:v>0</c:v>
                      </c:pt>
                      <c:pt idx="5978">
                        <c:v>0</c:v>
                      </c:pt>
                      <c:pt idx="5979">
                        <c:v>0</c:v>
                      </c:pt>
                      <c:pt idx="5980">
                        <c:v>0</c:v>
                      </c:pt>
                      <c:pt idx="5981">
                        <c:v>0</c:v>
                      </c:pt>
                      <c:pt idx="5982">
                        <c:v>0</c:v>
                      </c:pt>
                      <c:pt idx="5983">
                        <c:v>0</c:v>
                      </c:pt>
                      <c:pt idx="5984">
                        <c:v>0</c:v>
                      </c:pt>
                      <c:pt idx="5985">
                        <c:v>0</c:v>
                      </c:pt>
                      <c:pt idx="5986">
                        <c:v>0</c:v>
                      </c:pt>
                      <c:pt idx="5987">
                        <c:v>0</c:v>
                      </c:pt>
                      <c:pt idx="5988">
                        <c:v>0</c:v>
                      </c:pt>
                      <c:pt idx="5989">
                        <c:v>0</c:v>
                      </c:pt>
                      <c:pt idx="5990">
                        <c:v>0</c:v>
                      </c:pt>
                      <c:pt idx="5991">
                        <c:v>0</c:v>
                      </c:pt>
                      <c:pt idx="5992">
                        <c:v>0</c:v>
                      </c:pt>
                      <c:pt idx="5993">
                        <c:v>0</c:v>
                      </c:pt>
                      <c:pt idx="5994">
                        <c:v>0</c:v>
                      </c:pt>
                      <c:pt idx="5995">
                        <c:v>0</c:v>
                      </c:pt>
                      <c:pt idx="5996">
                        <c:v>0</c:v>
                      </c:pt>
                      <c:pt idx="5997">
                        <c:v>0</c:v>
                      </c:pt>
                      <c:pt idx="5998">
                        <c:v>0</c:v>
                      </c:pt>
                      <c:pt idx="5999">
                        <c:v>0</c:v>
                      </c:pt>
                      <c:pt idx="6000">
                        <c:v>0</c:v>
                      </c:pt>
                      <c:pt idx="6001">
                        <c:v>0</c:v>
                      </c:pt>
                      <c:pt idx="6002">
                        <c:v>0</c:v>
                      </c:pt>
                      <c:pt idx="6003">
                        <c:v>0</c:v>
                      </c:pt>
                      <c:pt idx="6004">
                        <c:v>0</c:v>
                      </c:pt>
                      <c:pt idx="6005">
                        <c:v>0</c:v>
                      </c:pt>
                      <c:pt idx="6006">
                        <c:v>0</c:v>
                      </c:pt>
                      <c:pt idx="6007">
                        <c:v>0</c:v>
                      </c:pt>
                      <c:pt idx="6008">
                        <c:v>0</c:v>
                      </c:pt>
                      <c:pt idx="6009">
                        <c:v>0</c:v>
                      </c:pt>
                      <c:pt idx="6010">
                        <c:v>0</c:v>
                      </c:pt>
                      <c:pt idx="6011">
                        <c:v>0</c:v>
                      </c:pt>
                      <c:pt idx="6012">
                        <c:v>0</c:v>
                      </c:pt>
                      <c:pt idx="6013">
                        <c:v>0</c:v>
                      </c:pt>
                      <c:pt idx="6014">
                        <c:v>0</c:v>
                      </c:pt>
                      <c:pt idx="6015">
                        <c:v>0</c:v>
                      </c:pt>
                      <c:pt idx="6016">
                        <c:v>0</c:v>
                      </c:pt>
                      <c:pt idx="6017">
                        <c:v>0</c:v>
                      </c:pt>
                      <c:pt idx="6018">
                        <c:v>0</c:v>
                      </c:pt>
                      <c:pt idx="6019">
                        <c:v>0</c:v>
                      </c:pt>
                      <c:pt idx="6020">
                        <c:v>0</c:v>
                      </c:pt>
                      <c:pt idx="6021">
                        <c:v>0</c:v>
                      </c:pt>
                      <c:pt idx="6022">
                        <c:v>0</c:v>
                      </c:pt>
                      <c:pt idx="6023">
                        <c:v>0</c:v>
                      </c:pt>
                      <c:pt idx="6024">
                        <c:v>0</c:v>
                      </c:pt>
                      <c:pt idx="6025">
                        <c:v>0</c:v>
                      </c:pt>
                      <c:pt idx="6026">
                        <c:v>0</c:v>
                      </c:pt>
                      <c:pt idx="6027">
                        <c:v>0</c:v>
                      </c:pt>
                      <c:pt idx="6028">
                        <c:v>0</c:v>
                      </c:pt>
                      <c:pt idx="6029">
                        <c:v>0</c:v>
                      </c:pt>
                      <c:pt idx="6030">
                        <c:v>0</c:v>
                      </c:pt>
                      <c:pt idx="6031">
                        <c:v>0</c:v>
                      </c:pt>
                      <c:pt idx="6032">
                        <c:v>0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0</c:v>
                      </c:pt>
                      <c:pt idx="6055">
                        <c:v>0</c:v>
                      </c:pt>
                      <c:pt idx="6056">
                        <c:v>0</c:v>
                      </c:pt>
                      <c:pt idx="6057">
                        <c:v>0</c:v>
                      </c:pt>
                      <c:pt idx="6058">
                        <c:v>0</c:v>
                      </c:pt>
                      <c:pt idx="6059">
                        <c:v>0</c:v>
                      </c:pt>
                      <c:pt idx="6060">
                        <c:v>0</c:v>
                      </c:pt>
                      <c:pt idx="6061">
                        <c:v>0</c:v>
                      </c:pt>
                      <c:pt idx="6062">
                        <c:v>0</c:v>
                      </c:pt>
                      <c:pt idx="6063">
                        <c:v>0</c:v>
                      </c:pt>
                      <c:pt idx="6064">
                        <c:v>0</c:v>
                      </c:pt>
                      <c:pt idx="6065">
                        <c:v>0</c:v>
                      </c:pt>
                      <c:pt idx="6066">
                        <c:v>0</c:v>
                      </c:pt>
                      <c:pt idx="6067">
                        <c:v>0</c:v>
                      </c:pt>
                      <c:pt idx="6068">
                        <c:v>0</c:v>
                      </c:pt>
                      <c:pt idx="6069">
                        <c:v>0</c:v>
                      </c:pt>
                      <c:pt idx="6070">
                        <c:v>0</c:v>
                      </c:pt>
                      <c:pt idx="6071">
                        <c:v>0</c:v>
                      </c:pt>
                      <c:pt idx="6072">
                        <c:v>0</c:v>
                      </c:pt>
                      <c:pt idx="6073">
                        <c:v>0</c:v>
                      </c:pt>
                      <c:pt idx="6074">
                        <c:v>0</c:v>
                      </c:pt>
                      <c:pt idx="6075">
                        <c:v>0</c:v>
                      </c:pt>
                      <c:pt idx="6076">
                        <c:v>0</c:v>
                      </c:pt>
                      <c:pt idx="6077">
                        <c:v>0</c:v>
                      </c:pt>
                      <c:pt idx="6078">
                        <c:v>0</c:v>
                      </c:pt>
                      <c:pt idx="6079">
                        <c:v>0</c:v>
                      </c:pt>
                      <c:pt idx="6080">
                        <c:v>0</c:v>
                      </c:pt>
                      <c:pt idx="6081">
                        <c:v>0</c:v>
                      </c:pt>
                      <c:pt idx="6082">
                        <c:v>0</c:v>
                      </c:pt>
                      <c:pt idx="6083">
                        <c:v>0</c:v>
                      </c:pt>
                      <c:pt idx="6084">
                        <c:v>0</c:v>
                      </c:pt>
                      <c:pt idx="6085">
                        <c:v>0</c:v>
                      </c:pt>
                      <c:pt idx="6086">
                        <c:v>0</c:v>
                      </c:pt>
                      <c:pt idx="6087">
                        <c:v>0</c:v>
                      </c:pt>
                      <c:pt idx="6088">
                        <c:v>0</c:v>
                      </c:pt>
                      <c:pt idx="6089">
                        <c:v>0</c:v>
                      </c:pt>
                      <c:pt idx="6090">
                        <c:v>0</c:v>
                      </c:pt>
                      <c:pt idx="6091">
                        <c:v>0</c:v>
                      </c:pt>
                      <c:pt idx="6092">
                        <c:v>0</c:v>
                      </c:pt>
                      <c:pt idx="6093">
                        <c:v>0</c:v>
                      </c:pt>
                      <c:pt idx="6094">
                        <c:v>0</c:v>
                      </c:pt>
                      <c:pt idx="6095">
                        <c:v>0</c:v>
                      </c:pt>
                      <c:pt idx="6096">
                        <c:v>0</c:v>
                      </c:pt>
                      <c:pt idx="6097">
                        <c:v>0</c:v>
                      </c:pt>
                      <c:pt idx="6098">
                        <c:v>0</c:v>
                      </c:pt>
                      <c:pt idx="6099">
                        <c:v>0</c:v>
                      </c:pt>
                      <c:pt idx="6100">
                        <c:v>0</c:v>
                      </c:pt>
                      <c:pt idx="6101">
                        <c:v>0</c:v>
                      </c:pt>
                      <c:pt idx="6102">
                        <c:v>0</c:v>
                      </c:pt>
                      <c:pt idx="6103">
                        <c:v>0</c:v>
                      </c:pt>
                      <c:pt idx="6104">
                        <c:v>0</c:v>
                      </c:pt>
                      <c:pt idx="6105">
                        <c:v>0</c:v>
                      </c:pt>
                      <c:pt idx="6106">
                        <c:v>0</c:v>
                      </c:pt>
                      <c:pt idx="6107">
                        <c:v>0</c:v>
                      </c:pt>
                      <c:pt idx="6108">
                        <c:v>0</c:v>
                      </c:pt>
                      <c:pt idx="6109">
                        <c:v>0</c:v>
                      </c:pt>
                      <c:pt idx="6110">
                        <c:v>0</c:v>
                      </c:pt>
                      <c:pt idx="6111">
                        <c:v>0</c:v>
                      </c:pt>
                      <c:pt idx="6112">
                        <c:v>0</c:v>
                      </c:pt>
                      <c:pt idx="6113">
                        <c:v>0</c:v>
                      </c:pt>
                      <c:pt idx="6114">
                        <c:v>0</c:v>
                      </c:pt>
                      <c:pt idx="6115">
                        <c:v>0</c:v>
                      </c:pt>
                      <c:pt idx="6116">
                        <c:v>0</c:v>
                      </c:pt>
                      <c:pt idx="6117">
                        <c:v>0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0</c:v>
                      </c:pt>
                      <c:pt idx="6125">
                        <c:v>0</c:v>
                      </c:pt>
                      <c:pt idx="6126">
                        <c:v>0</c:v>
                      </c:pt>
                      <c:pt idx="6127">
                        <c:v>0</c:v>
                      </c:pt>
                      <c:pt idx="6128">
                        <c:v>0</c:v>
                      </c:pt>
                      <c:pt idx="6129">
                        <c:v>0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0</c:v>
                      </c:pt>
                      <c:pt idx="6135">
                        <c:v>0</c:v>
                      </c:pt>
                      <c:pt idx="6136">
                        <c:v>0</c:v>
                      </c:pt>
                      <c:pt idx="6137">
                        <c:v>0</c:v>
                      </c:pt>
                      <c:pt idx="6138">
                        <c:v>0</c:v>
                      </c:pt>
                      <c:pt idx="6139">
                        <c:v>0</c:v>
                      </c:pt>
                      <c:pt idx="6140">
                        <c:v>0</c:v>
                      </c:pt>
                      <c:pt idx="6141">
                        <c:v>0</c:v>
                      </c:pt>
                      <c:pt idx="6142">
                        <c:v>0</c:v>
                      </c:pt>
                      <c:pt idx="6143">
                        <c:v>0</c:v>
                      </c:pt>
                      <c:pt idx="6144">
                        <c:v>0</c:v>
                      </c:pt>
                      <c:pt idx="6145">
                        <c:v>0</c:v>
                      </c:pt>
                      <c:pt idx="6146">
                        <c:v>0</c:v>
                      </c:pt>
                      <c:pt idx="6147">
                        <c:v>0</c:v>
                      </c:pt>
                      <c:pt idx="6148">
                        <c:v>0</c:v>
                      </c:pt>
                      <c:pt idx="6149">
                        <c:v>0</c:v>
                      </c:pt>
                      <c:pt idx="6150">
                        <c:v>0</c:v>
                      </c:pt>
                      <c:pt idx="6151">
                        <c:v>0</c:v>
                      </c:pt>
                      <c:pt idx="6152">
                        <c:v>0</c:v>
                      </c:pt>
                      <c:pt idx="6153">
                        <c:v>0</c:v>
                      </c:pt>
                      <c:pt idx="6154">
                        <c:v>0</c:v>
                      </c:pt>
                      <c:pt idx="6155">
                        <c:v>0</c:v>
                      </c:pt>
                      <c:pt idx="6156">
                        <c:v>0</c:v>
                      </c:pt>
                      <c:pt idx="6157">
                        <c:v>0</c:v>
                      </c:pt>
                      <c:pt idx="6158">
                        <c:v>0</c:v>
                      </c:pt>
                      <c:pt idx="6159">
                        <c:v>0</c:v>
                      </c:pt>
                      <c:pt idx="6160">
                        <c:v>0</c:v>
                      </c:pt>
                      <c:pt idx="6161">
                        <c:v>0</c:v>
                      </c:pt>
                      <c:pt idx="6162">
                        <c:v>0</c:v>
                      </c:pt>
                      <c:pt idx="6163">
                        <c:v>0</c:v>
                      </c:pt>
                      <c:pt idx="6164">
                        <c:v>0</c:v>
                      </c:pt>
                      <c:pt idx="6165">
                        <c:v>0</c:v>
                      </c:pt>
                      <c:pt idx="6166">
                        <c:v>0</c:v>
                      </c:pt>
                      <c:pt idx="6167">
                        <c:v>0</c:v>
                      </c:pt>
                      <c:pt idx="6168">
                        <c:v>0</c:v>
                      </c:pt>
                      <c:pt idx="6169">
                        <c:v>0</c:v>
                      </c:pt>
                      <c:pt idx="6170">
                        <c:v>0</c:v>
                      </c:pt>
                      <c:pt idx="6171">
                        <c:v>0</c:v>
                      </c:pt>
                      <c:pt idx="6172">
                        <c:v>0</c:v>
                      </c:pt>
                      <c:pt idx="6173">
                        <c:v>0</c:v>
                      </c:pt>
                      <c:pt idx="6174">
                        <c:v>0</c:v>
                      </c:pt>
                      <c:pt idx="6175">
                        <c:v>0</c:v>
                      </c:pt>
                      <c:pt idx="6176">
                        <c:v>0</c:v>
                      </c:pt>
                      <c:pt idx="6177">
                        <c:v>0</c:v>
                      </c:pt>
                      <c:pt idx="6178">
                        <c:v>0</c:v>
                      </c:pt>
                      <c:pt idx="6179">
                        <c:v>0</c:v>
                      </c:pt>
                      <c:pt idx="6180">
                        <c:v>0</c:v>
                      </c:pt>
                      <c:pt idx="6181">
                        <c:v>0</c:v>
                      </c:pt>
                      <c:pt idx="6182">
                        <c:v>0</c:v>
                      </c:pt>
                      <c:pt idx="6183">
                        <c:v>0</c:v>
                      </c:pt>
                      <c:pt idx="6184">
                        <c:v>0</c:v>
                      </c:pt>
                      <c:pt idx="6185">
                        <c:v>0</c:v>
                      </c:pt>
                      <c:pt idx="6186">
                        <c:v>0</c:v>
                      </c:pt>
                      <c:pt idx="6187">
                        <c:v>0</c:v>
                      </c:pt>
                      <c:pt idx="6188">
                        <c:v>0</c:v>
                      </c:pt>
                      <c:pt idx="6189">
                        <c:v>0</c:v>
                      </c:pt>
                      <c:pt idx="6190">
                        <c:v>0</c:v>
                      </c:pt>
                      <c:pt idx="6191">
                        <c:v>0</c:v>
                      </c:pt>
                      <c:pt idx="6192">
                        <c:v>0</c:v>
                      </c:pt>
                      <c:pt idx="6193">
                        <c:v>0</c:v>
                      </c:pt>
                      <c:pt idx="6194">
                        <c:v>0</c:v>
                      </c:pt>
                      <c:pt idx="6195">
                        <c:v>0</c:v>
                      </c:pt>
                      <c:pt idx="6196">
                        <c:v>0</c:v>
                      </c:pt>
                      <c:pt idx="6197">
                        <c:v>0</c:v>
                      </c:pt>
                      <c:pt idx="6198">
                        <c:v>0</c:v>
                      </c:pt>
                      <c:pt idx="6199">
                        <c:v>0</c:v>
                      </c:pt>
                      <c:pt idx="6200">
                        <c:v>0</c:v>
                      </c:pt>
                      <c:pt idx="6201">
                        <c:v>0</c:v>
                      </c:pt>
                      <c:pt idx="6202">
                        <c:v>0</c:v>
                      </c:pt>
                      <c:pt idx="6203">
                        <c:v>0</c:v>
                      </c:pt>
                      <c:pt idx="6204">
                        <c:v>0</c:v>
                      </c:pt>
                      <c:pt idx="6205">
                        <c:v>0</c:v>
                      </c:pt>
                      <c:pt idx="6206">
                        <c:v>0</c:v>
                      </c:pt>
                      <c:pt idx="6207">
                        <c:v>0</c:v>
                      </c:pt>
                      <c:pt idx="6208">
                        <c:v>0</c:v>
                      </c:pt>
                      <c:pt idx="6209">
                        <c:v>0</c:v>
                      </c:pt>
                      <c:pt idx="6210">
                        <c:v>0</c:v>
                      </c:pt>
                      <c:pt idx="6211">
                        <c:v>0</c:v>
                      </c:pt>
                      <c:pt idx="6212">
                        <c:v>0</c:v>
                      </c:pt>
                      <c:pt idx="6213">
                        <c:v>0</c:v>
                      </c:pt>
                      <c:pt idx="6214">
                        <c:v>0</c:v>
                      </c:pt>
                      <c:pt idx="6215">
                        <c:v>0</c:v>
                      </c:pt>
                      <c:pt idx="6216">
                        <c:v>0</c:v>
                      </c:pt>
                      <c:pt idx="6217">
                        <c:v>0</c:v>
                      </c:pt>
                      <c:pt idx="6218">
                        <c:v>0</c:v>
                      </c:pt>
                      <c:pt idx="6219">
                        <c:v>0</c:v>
                      </c:pt>
                      <c:pt idx="6220">
                        <c:v>0</c:v>
                      </c:pt>
                      <c:pt idx="6221">
                        <c:v>0</c:v>
                      </c:pt>
                      <c:pt idx="6222">
                        <c:v>0</c:v>
                      </c:pt>
                      <c:pt idx="6223">
                        <c:v>0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0</c:v>
                      </c:pt>
                      <c:pt idx="6229">
                        <c:v>0</c:v>
                      </c:pt>
                      <c:pt idx="6230">
                        <c:v>0</c:v>
                      </c:pt>
                      <c:pt idx="6231">
                        <c:v>0</c:v>
                      </c:pt>
                      <c:pt idx="6232">
                        <c:v>0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</c:v>
                      </c:pt>
                      <c:pt idx="6252">
                        <c:v>0</c:v>
                      </c:pt>
                      <c:pt idx="6253">
                        <c:v>0</c:v>
                      </c:pt>
                      <c:pt idx="6254">
                        <c:v>0</c:v>
                      </c:pt>
                      <c:pt idx="6255">
                        <c:v>0</c:v>
                      </c:pt>
                      <c:pt idx="6256">
                        <c:v>0</c:v>
                      </c:pt>
                      <c:pt idx="6257">
                        <c:v>0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0</c:v>
                      </c:pt>
                      <c:pt idx="6389">
                        <c:v>0</c:v>
                      </c:pt>
                      <c:pt idx="6390">
                        <c:v>0</c:v>
                      </c:pt>
                      <c:pt idx="6391">
                        <c:v>0</c:v>
                      </c:pt>
                      <c:pt idx="6392">
                        <c:v>0</c:v>
                      </c:pt>
                      <c:pt idx="6393">
                        <c:v>0</c:v>
                      </c:pt>
                      <c:pt idx="6394">
                        <c:v>0</c:v>
                      </c:pt>
                      <c:pt idx="6395">
                        <c:v>0</c:v>
                      </c:pt>
                      <c:pt idx="6396">
                        <c:v>0</c:v>
                      </c:pt>
                      <c:pt idx="6397">
                        <c:v>0</c:v>
                      </c:pt>
                      <c:pt idx="6398">
                        <c:v>0</c:v>
                      </c:pt>
                      <c:pt idx="6399">
                        <c:v>0</c:v>
                      </c:pt>
                      <c:pt idx="6400">
                        <c:v>0</c:v>
                      </c:pt>
                      <c:pt idx="6401">
                        <c:v>0</c:v>
                      </c:pt>
                      <c:pt idx="6402">
                        <c:v>0</c:v>
                      </c:pt>
                      <c:pt idx="6403">
                        <c:v>0</c:v>
                      </c:pt>
                      <c:pt idx="6404">
                        <c:v>0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0</c:v>
                      </c:pt>
                      <c:pt idx="6418">
                        <c:v>0</c:v>
                      </c:pt>
                      <c:pt idx="6419">
                        <c:v>0</c:v>
                      </c:pt>
                      <c:pt idx="6420">
                        <c:v>0</c:v>
                      </c:pt>
                      <c:pt idx="6421">
                        <c:v>0</c:v>
                      </c:pt>
                      <c:pt idx="6422">
                        <c:v>0</c:v>
                      </c:pt>
                      <c:pt idx="6423">
                        <c:v>0</c:v>
                      </c:pt>
                      <c:pt idx="6424">
                        <c:v>0</c:v>
                      </c:pt>
                      <c:pt idx="6425">
                        <c:v>0</c:v>
                      </c:pt>
                      <c:pt idx="6426">
                        <c:v>0</c:v>
                      </c:pt>
                      <c:pt idx="6427">
                        <c:v>0</c:v>
                      </c:pt>
                      <c:pt idx="6428">
                        <c:v>0</c:v>
                      </c:pt>
                      <c:pt idx="6429">
                        <c:v>0</c:v>
                      </c:pt>
                      <c:pt idx="6430">
                        <c:v>0</c:v>
                      </c:pt>
                      <c:pt idx="6431">
                        <c:v>0</c:v>
                      </c:pt>
                      <c:pt idx="6432">
                        <c:v>0</c:v>
                      </c:pt>
                      <c:pt idx="6433">
                        <c:v>0</c:v>
                      </c:pt>
                      <c:pt idx="6434">
                        <c:v>0</c:v>
                      </c:pt>
                      <c:pt idx="6435">
                        <c:v>0</c:v>
                      </c:pt>
                      <c:pt idx="6436">
                        <c:v>0</c:v>
                      </c:pt>
                      <c:pt idx="6437">
                        <c:v>0</c:v>
                      </c:pt>
                      <c:pt idx="6438">
                        <c:v>0</c:v>
                      </c:pt>
                      <c:pt idx="6439">
                        <c:v>0</c:v>
                      </c:pt>
                      <c:pt idx="6440">
                        <c:v>0</c:v>
                      </c:pt>
                      <c:pt idx="6441">
                        <c:v>0</c:v>
                      </c:pt>
                      <c:pt idx="6442">
                        <c:v>0</c:v>
                      </c:pt>
                      <c:pt idx="6443">
                        <c:v>0</c:v>
                      </c:pt>
                      <c:pt idx="6444">
                        <c:v>0</c:v>
                      </c:pt>
                      <c:pt idx="6445">
                        <c:v>0</c:v>
                      </c:pt>
                      <c:pt idx="6446">
                        <c:v>0</c:v>
                      </c:pt>
                      <c:pt idx="6447">
                        <c:v>0</c:v>
                      </c:pt>
                      <c:pt idx="6448">
                        <c:v>0</c:v>
                      </c:pt>
                      <c:pt idx="6449">
                        <c:v>0</c:v>
                      </c:pt>
                      <c:pt idx="6450">
                        <c:v>0</c:v>
                      </c:pt>
                      <c:pt idx="6451">
                        <c:v>0</c:v>
                      </c:pt>
                      <c:pt idx="6452">
                        <c:v>0</c:v>
                      </c:pt>
                      <c:pt idx="6453">
                        <c:v>0</c:v>
                      </c:pt>
                      <c:pt idx="6454">
                        <c:v>0</c:v>
                      </c:pt>
                      <c:pt idx="6455">
                        <c:v>0</c:v>
                      </c:pt>
                      <c:pt idx="6456">
                        <c:v>0</c:v>
                      </c:pt>
                      <c:pt idx="6457">
                        <c:v>0</c:v>
                      </c:pt>
                      <c:pt idx="6458">
                        <c:v>0</c:v>
                      </c:pt>
                      <c:pt idx="6459">
                        <c:v>0</c:v>
                      </c:pt>
                      <c:pt idx="6460">
                        <c:v>0</c:v>
                      </c:pt>
                      <c:pt idx="6461">
                        <c:v>0</c:v>
                      </c:pt>
                      <c:pt idx="6462">
                        <c:v>0</c:v>
                      </c:pt>
                      <c:pt idx="6463">
                        <c:v>0</c:v>
                      </c:pt>
                      <c:pt idx="6464">
                        <c:v>0</c:v>
                      </c:pt>
                      <c:pt idx="6465">
                        <c:v>0</c:v>
                      </c:pt>
                      <c:pt idx="6466">
                        <c:v>0</c:v>
                      </c:pt>
                      <c:pt idx="6467">
                        <c:v>0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0</c:v>
                      </c:pt>
                      <c:pt idx="6483">
                        <c:v>0</c:v>
                      </c:pt>
                      <c:pt idx="6484">
                        <c:v>0</c:v>
                      </c:pt>
                      <c:pt idx="6485">
                        <c:v>0</c:v>
                      </c:pt>
                      <c:pt idx="6486">
                        <c:v>0</c:v>
                      </c:pt>
                      <c:pt idx="6487">
                        <c:v>0</c:v>
                      </c:pt>
                      <c:pt idx="6488">
                        <c:v>0</c:v>
                      </c:pt>
                      <c:pt idx="6489">
                        <c:v>0</c:v>
                      </c:pt>
                      <c:pt idx="6490">
                        <c:v>0</c:v>
                      </c:pt>
                      <c:pt idx="6491">
                        <c:v>0</c:v>
                      </c:pt>
                      <c:pt idx="6492">
                        <c:v>0</c:v>
                      </c:pt>
                      <c:pt idx="6493">
                        <c:v>0</c:v>
                      </c:pt>
                      <c:pt idx="6494">
                        <c:v>0</c:v>
                      </c:pt>
                      <c:pt idx="6495">
                        <c:v>0</c:v>
                      </c:pt>
                      <c:pt idx="6496">
                        <c:v>0</c:v>
                      </c:pt>
                      <c:pt idx="6497">
                        <c:v>0</c:v>
                      </c:pt>
                      <c:pt idx="6498">
                        <c:v>0</c:v>
                      </c:pt>
                      <c:pt idx="6499">
                        <c:v>0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0</c:v>
                      </c:pt>
                      <c:pt idx="6540">
                        <c:v>0</c:v>
                      </c:pt>
                      <c:pt idx="6541">
                        <c:v>0</c:v>
                      </c:pt>
                      <c:pt idx="6542">
                        <c:v>0</c:v>
                      </c:pt>
                      <c:pt idx="6543">
                        <c:v>0</c:v>
                      </c:pt>
                      <c:pt idx="6544">
                        <c:v>0</c:v>
                      </c:pt>
                      <c:pt idx="6545">
                        <c:v>0</c:v>
                      </c:pt>
                      <c:pt idx="6546">
                        <c:v>0</c:v>
                      </c:pt>
                      <c:pt idx="6547">
                        <c:v>0</c:v>
                      </c:pt>
                      <c:pt idx="6548">
                        <c:v>0</c:v>
                      </c:pt>
                      <c:pt idx="6549">
                        <c:v>0</c:v>
                      </c:pt>
                      <c:pt idx="6550">
                        <c:v>0</c:v>
                      </c:pt>
                      <c:pt idx="6551">
                        <c:v>0</c:v>
                      </c:pt>
                      <c:pt idx="6552">
                        <c:v>0</c:v>
                      </c:pt>
                      <c:pt idx="6553">
                        <c:v>0</c:v>
                      </c:pt>
                      <c:pt idx="6554">
                        <c:v>0</c:v>
                      </c:pt>
                      <c:pt idx="6555">
                        <c:v>0</c:v>
                      </c:pt>
                      <c:pt idx="6556">
                        <c:v>0</c:v>
                      </c:pt>
                      <c:pt idx="6557">
                        <c:v>0</c:v>
                      </c:pt>
                      <c:pt idx="6558">
                        <c:v>0</c:v>
                      </c:pt>
                      <c:pt idx="6559">
                        <c:v>0</c:v>
                      </c:pt>
                      <c:pt idx="6560">
                        <c:v>0</c:v>
                      </c:pt>
                      <c:pt idx="6561">
                        <c:v>0</c:v>
                      </c:pt>
                      <c:pt idx="6562">
                        <c:v>0</c:v>
                      </c:pt>
                      <c:pt idx="6563">
                        <c:v>0</c:v>
                      </c:pt>
                      <c:pt idx="6564">
                        <c:v>0</c:v>
                      </c:pt>
                      <c:pt idx="6565">
                        <c:v>0</c:v>
                      </c:pt>
                      <c:pt idx="6566">
                        <c:v>0</c:v>
                      </c:pt>
                      <c:pt idx="6567">
                        <c:v>0</c:v>
                      </c:pt>
                      <c:pt idx="6568">
                        <c:v>0</c:v>
                      </c:pt>
                      <c:pt idx="6569">
                        <c:v>0</c:v>
                      </c:pt>
                      <c:pt idx="6570">
                        <c:v>0</c:v>
                      </c:pt>
                      <c:pt idx="6571">
                        <c:v>0</c:v>
                      </c:pt>
                      <c:pt idx="6572">
                        <c:v>0</c:v>
                      </c:pt>
                      <c:pt idx="6573">
                        <c:v>0</c:v>
                      </c:pt>
                      <c:pt idx="6574">
                        <c:v>0</c:v>
                      </c:pt>
                      <c:pt idx="6575">
                        <c:v>0</c:v>
                      </c:pt>
                      <c:pt idx="6576">
                        <c:v>0</c:v>
                      </c:pt>
                      <c:pt idx="6577">
                        <c:v>0</c:v>
                      </c:pt>
                      <c:pt idx="6578">
                        <c:v>0</c:v>
                      </c:pt>
                      <c:pt idx="6579">
                        <c:v>0</c:v>
                      </c:pt>
                      <c:pt idx="6580">
                        <c:v>0</c:v>
                      </c:pt>
                      <c:pt idx="6581">
                        <c:v>0</c:v>
                      </c:pt>
                      <c:pt idx="6582">
                        <c:v>0</c:v>
                      </c:pt>
                      <c:pt idx="6583">
                        <c:v>0</c:v>
                      </c:pt>
                      <c:pt idx="6584">
                        <c:v>0</c:v>
                      </c:pt>
                      <c:pt idx="6585">
                        <c:v>0</c:v>
                      </c:pt>
                      <c:pt idx="6586">
                        <c:v>0</c:v>
                      </c:pt>
                      <c:pt idx="6587">
                        <c:v>0</c:v>
                      </c:pt>
                      <c:pt idx="6588">
                        <c:v>0</c:v>
                      </c:pt>
                      <c:pt idx="6589">
                        <c:v>0</c:v>
                      </c:pt>
                      <c:pt idx="6590">
                        <c:v>0</c:v>
                      </c:pt>
                      <c:pt idx="6591">
                        <c:v>0</c:v>
                      </c:pt>
                      <c:pt idx="6592">
                        <c:v>0</c:v>
                      </c:pt>
                      <c:pt idx="6593">
                        <c:v>0</c:v>
                      </c:pt>
                      <c:pt idx="6594">
                        <c:v>0</c:v>
                      </c:pt>
                      <c:pt idx="6595">
                        <c:v>0</c:v>
                      </c:pt>
                      <c:pt idx="6596">
                        <c:v>0</c:v>
                      </c:pt>
                      <c:pt idx="6597">
                        <c:v>0</c:v>
                      </c:pt>
                      <c:pt idx="6598">
                        <c:v>0</c:v>
                      </c:pt>
                      <c:pt idx="6599">
                        <c:v>0</c:v>
                      </c:pt>
                      <c:pt idx="6600">
                        <c:v>0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0</c:v>
                      </c:pt>
                      <c:pt idx="6617">
                        <c:v>0</c:v>
                      </c:pt>
                      <c:pt idx="6618">
                        <c:v>0</c:v>
                      </c:pt>
                      <c:pt idx="6619">
                        <c:v>0</c:v>
                      </c:pt>
                      <c:pt idx="6620">
                        <c:v>0</c:v>
                      </c:pt>
                      <c:pt idx="6621">
                        <c:v>0</c:v>
                      </c:pt>
                      <c:pt idx="6622">
                        <c:v>0</c:v>
                      </c:pt>
                      <c:pt idx="6623">
                        <c:v>0</c:v>
                      </c:pt>
                      <c:pt idx="6624">
                        <c:v>0</c:v>
                      </c:pt>
                      <c:pt idx="6625">
                        <c:v>0</c:v>
                      </c:pt>
                      <c:pt idx="6626">
                        <c:v>0</c:v>
                      </c:pt>
                      <c:pt idx="6627">
                        <c:v>0</c:v>
                      </c:pt>
                      <c:pt idx="6628">
                        <c:v>0</c:v>
                      </c:pt>
                      <c:pt idx="6629">
                        <c:v>0</c:v>
                      </c:pt>
                      <c:pt idx="6630">
                        <c:v>0</c:v>
                      </c:pt>
                      <c:pt idx="6631">
                        <c:v>0</c:v>
                      </c:pt>
                      <c:pt idx="6632">
                        <c:v>0</c:v>
                      </c:pt>
                      <c:pt idx="6633">
                        <c:v>0</c:v>
                      </c:pt>
                      <c:pt idx="6634">
                        <c:v>0</c:v>
                      </c:pt>
                      <c:pt idx="6635">
                        <c:v>0</c:v>
                      </c:pt>
                      <c:pt idx="6636">
                        <c:v>0</c:v>
                      </c:pt>
                      <c:pt idx="6637">
                        <c:v>0</c:v>
                      </c:pt>
                      <c:pt idx="6638">
                        <c:v>0</c:v>
                      </c:pt>
                      <c:pt idx="6639">
                        <c:v>0</c:v>
                      </c:pt>
                      <c:pt idx="6640">
                        <c:v>0</c:v>
                      </c:pt>
                      <c:pt idx="6641">
                        <c:v>0</c:v>
                      </c:pt>
                      <c:pt idx="6642">
                        <c:v>0</c:v>
                      </c:pt>
                      <c:pt idx="6643">
                        <c:v>0</c:v>
                      </c:pt>
                      <c:pt idx="6644">
                        <c:v>0</c:v>
                      </c:pt>
                      <c:pt idx="6645">
                        <c:v>0</c:v>
                      </c:pt>
                      <c:pt idx="6646">
                        <c:v>0</c:v>
                      </c:pt>
                      <c:pt idx="6647">
                        <c:v>0</c:v>
                      </c:pt>
                      <c:pt idx="6648">
                        <c:v>0</c:v>
                      </c:pt>
                      <c:pt idx="6649">
                        <c:v>0</c:v>
                      </c:pt>
                      <c:pt idx="6650">
                        <c:v>0</c:v>
                      </c:pt>
                      <c:pt idx="6651">
                        <c:v>0</c:v>
                      </c:pt>
                      <c:pt idx="6652">
                        <c:v>0</c:v>
                      </c:pt>
                      <c:pt idx="6653">
                        <c:v>0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</c:v>
                      </c:pt>
                      <c:pt idx="6664">
                        <c:v>0</c:v>
                      </c:pt>
                      <c:pt idx="6665">
                        <c:v>0</c:v>
                      </c:pt>
                      <c:pt idx="6666">
                        <c:v>0</c:v>
                      </c:pt>
                      <c:pt idx="6667">
                        <c:v>0</c:v>
                      </c:pt>
                      <c:pt idx="6668">
                        <c:v>0</c:v>
                      </c:pt>
                      <c:pt idx="6669">
                        <c:v>0</c:v>
                      </c:pt>
                      <c:pt idx="6670">
                        <c:v>0</c:v>
                      </c:pt>
                      <c:pt idx="6671">
                        <c:v>0</c:v>
                      </c:pt>
                      <c:pt idx="6672">
                        <c:v>0</c:v>
                      </c:pt>
                      <c:pt idx="6673">
                        <c:v>0</c:v>
                      </c:pt>
                      <c:pt idx="6674">
                        <c:v>0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</c:v>
                      </c:pt>
                      <c:pt idx="6696">
                        <c:v>0</c:v>
                      </c:pt>
                      <c:pt idx="6697">
                        <c:v>0</c:v>
                      </c:pt>
                      <c:pt idx="6698">
                        <c:v>0</c:v>
                      </c:pt>
                      <c:pt idx="6699">
                        <c:v>0</c:v>
                      </c:pt>
                      <c:pt idx="6700">
                        <c:v>0</c:v>
                      </c:pt>
                      <c:pt idx="6701">
                        <c:v>0</c:v>
                      </c:pt>
                      <c:pt idx="6702">
                        <c:v>0</c:v>
                      </c:pt>
                      <c:pt idx="6703">
                        <c:v>0</c:v>
                      </c:pt>
                      <c:pt idx="6704">
                        <c:v>0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0</c:v>
                      </c:pt>
                      <c:pt idx="6722">
                        <c:v>0</c:v>
                      </c:pt>
                      <c:pt idx="6723">
                        <c:v>0</c:v>
                      </c:pt>
                      <c:pt idx="6724">
                        <c:v>0</c:v>
                      </c:pt>
                      <c:pt idx="6725">
                        <c:v>0</c:v>
                      </c:pt>
                      <c:pt idx="6726">
                        <c:v>0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</c:v>
                      </c:pt>
                      <c:pt idx="6753">
                        <c:v>0</c:v>
                      </c:pt>
                      <c:pt idx="6754">
                        <c:v>0</c:v>
                      </c:pt>
                      <c:pt idx="6755">
                        <c:v>0</c:v>
                      </c:pt>
                      <c:pt idx="6756">
                        <c:v>0</c:v>
                      </c:pt>
                      <c:pt idx="6757">
                        <c:v>0</c:v>
                      </c:pt>
                      <c:pt idx="6758">
                        <c:v>0</c:v>
                      </c:pt>
                      <c:pt idx="6759">
                        <c:v>0</c:v>
                      </c:pt>
                      <c:pt idx="6760">
                        <c:v>0</c:v>
                      </c:pt>
                      <c:pt idx="6761">
                        <c:v>0</c:v>
                      </c:pt>
                      <c:pt idx="6762">
                        <c:v>0</c:v>
                      </c:pt>
                      <c:pt idx="6763">
                        <c:v>0</c:v>
                      </c:pt>
                      <c:pt idx="6764">
                        <c:v>0</c:v>
                      </c:pt>
                      <c:pt idx="6765">
                        <c:v>0</c:v>
                      </c:pt>
                      <c:pt idx="6766">
                        <c:v>0</c:v>
                      </c:pt>
                      <c:pt idx="6767">
                        <c:v>0</c:v>
                      </c:pt>
                      <c:pt idx="6768">
                        <c:v>0</c:v>
                      </c:pt>
                      <c:pt idx="6769">
                        <c:v>0</c:v>
                      </c:pt>
                      <c:pt idx="6770">
                        <c:v>0</c:v>
                      </c:pt>
                      <c:pt idx="6771">
                        <c:v>0</c:v>
                      </c:pt>
                      <c:pt idx="6772">
                        <c:v>0</c:v>
                      </c:pt>
                      <c:pt idx="6773">
                        <c:v>0</c:v>
                      </c:pt>
                      <c:pt idx="6774">
                        <c:v>0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0</c:v>
                      </c:pt>
                      <c:pt idx="6786">
                        <c:v>0</c:v>
                      </c:pt>
                      <c:pt idx="6787">
                        <c:v>0</c:v>
                      </c:pt>
                      <c:pt idx="6788">
                        <c:v>0</c:v>
                      </c:pt>
                      <c:pt idx="6789">
                        <c:v>0</c:v>
                      </c:pt>
                      <c:pt idx="6790">
                        <c:v>0</c:v>
                      </c:pt>
                      <c:pt idx="6791">
                        <c:v>0</c:v>
                      </c:pt>
                      <c:pt idx="6792">
                        <c:v>0</c:v>
                      </c:pt>
                      <c:pt idx="6793">
                        <c:v>0</c:v>
                      </c:pt>
                      <c:pt idx="6794">
                        <c:v>0</c:v>
                      </c:pt>
                      <c:pt idx="6795">
                        <c:v>0</c:v>
                      </c:pt>
                      <c:pt idx="6796">
                        <c:v>0</c:v>
                      </c:pt>
                      <c:pt idx="6797">
                        <c:v>0</c:v>
                      </c:pt>
                      <c:pt idx="6798">
                        <c:v>0</c:v>
                      </c:pt>
                      <c:pt idx="6799">
                        <c:v>0</c:v>
                      </c:pt>
                      <c:pt idx="6800">
                        <c:v>0</c:v>
                      </c:pt>
                      <c:pt idx="6801">
                        <c:v>0</c:v>
                      </c:pt>
                      <c:pt idx="6802">
                        <c:v>0</c:v>
                      </c:pt>
                      <c:pt idx="6803">
                        <c:v>0</c:v>
                      </c:pt>
                      <c:pt idx="6804">
                        <c:v>0</c:v>
                      </c:pt>
                      <c:pt idx="6805">
                        <c:v>0</c:v>
                      </c:pt>
                      <c:pt idx="6806">
                        <c:v>0</c:v>
                      </c:pt>
                      <c:pt idx="6807">
                        <c:v>0</c:v>
                      </c:pt>
                      <c:pt idx="6808">
                        <c:v>0</c:v>
                      </c:pt>
                      <c:pt idx="6809">
                        <c:v>0</c:v>
                      </c:pt>
                      <c:pt idx="6810">
                        <c:v>0</c:v>
                      </c:pt>
                      <c:pt idx="6811">
                        <c:v>0</c:v>
                      </c:pt>
                      <c:pt idx="6812">
                        <c:v>0</c:v>
                      </c:pt>
                      <c:pt idx="6813">
                        <c:v>0</c:v>
                      </c:pt>
                      <c:pt idx="6814">
                        <c:v>0</c:v>
                      </c:pt>
                      <c:pt idx="6815">
                        <c:v>0</c:v>
                      </c:pt>
                      <c:pt idx="6816">
                        <c:v>0</c:v>
                      </c:pt>
                      <c:pt idx="6817">
                        <c:v>0</c:v>
                      </c:pt>
                      <c:pt idx="6818">
                        <c:v>0</c:v>
                      </c:pt>
                      <c:pt idx="6819">
                        <c:v>0</c:v>
                      </c:pt>
                      <c:pt idx="6820">
                        <c:v>0</c:v>
                      </c:pt>
                      <c:pt idx="6821">
                        <c:v>0</c:v>
                      </c:pt>
                      <c:pt idx="6822">
                        <c:v>0</c:v>
                      </c:pt>
                      <c:pt idx="6823">
                        <c:v>0</c:v>
                      </c:pt>
                      <c:pt idx="6824">
                        <c:v>0</c:v>
                      </c:pt>
                      <c:pt idx="6825">
                        <c:v>0</c:v>
                      </c:pt>
                      <c:pt idx="6826">
                        <c:v>0</c:v>
                      </c:pt>
                      <c:pt idx="6827">
                        <c:v>0</c:v>
                      </c:pt>
                      <c:pt idx="6828">
                        <c:v>0</c:v>
                      </c:pt>
                      <c:pt idx="6829">
                        <c:v>0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0</c:v>
                      </c:pt>
                      <c:pt idx="6846">
                        <c:v>0</c:v>
                      </c:pt>
                      <c:pt idx="6847">
                        <c:v>0</c:v>
                      </c:pt>
                      <c:pt idx="6848">
                        <c:v>0</c:v>
                      </c:pt>
                      <c:pt idx="6849">
                        <c:v>0</c:v>
                      </c:pt>
                      <c:pt idx="6850">
                        <c:v>0</c:v>
                      </c:pt>
                      <c:pt idx="6851">
                        <c:v>0</c:v>
                      </c:pt>
                      <c:pt idx="6852">
                        <c:v>0</c:v>
                      </c:pt>
                      <c:pt idx="6853">
                        <c:v>0</c:v>
                      </c:pt>
                      <c:pt idx="6854">
                        <c:v>0</c:v>
                      </c:pt>
                      <c:pt idx="6855">
                        <c:v>0</c:v>
                      </c:pt>
                      <c:pt idx="6856">
                        <c:v>0</c:v>
                      </c:pt>
                      <c:pt idx="6857">
                        <c:v>0</c:v>
                      </c:pt>
                      <c:pt idx="6858">
                        <c:v>0</c:v>
                      </c:pt>
                      <c:pt idx="6859">
                        <c:v>0</c:v>
                      </c:pt>
                      <c:pt idx="6860">
                        <c:v>0</c:v>
                      </c:pt>
                      <c:pt idx="6861">
                        <c:v>0</c:v>
                      </c:pt>
                      <c:pt idx="6862">
                        <c:v>0</c:v>
                      </c:pt>
                      <c:pt idx="6863">
                        <c:v>0</c:v>
                      </c:pt>
                      <c:pt idx="6864">
                        <c:v>0</c:v>
                      </c:pt>
                      <c:pt idx="6865">
                        <c:v>0</c:v>
                      </c:pt>
                      <c:pt idx="6866">
                        <c:v>0</c:v>
                      </c:pt>
                      <c:pt idx="6867">
                        <c:v>0</c:v>
                      </c:pt>
                      <c:pt idx="6868">
                        <c:v>0</c:v>
                      </c:pt>
                      <c:pt idx="6869">
                        <c:v>0</c:v>
                      </c:pt>
                      <c:pt idx="6870">
                        <c:v>0</c:v>
                      </c:pt>
                      <c:pt idx="6871">
                        <c:v>0</c:v>
                      </c:pt>
                      <c:pt idx="6872">
                        <c:v>0</c:v>
                      </c:pt>
                      <c:pt idx="6873">
                        <c:v>0</c:v>
                      </c:pt>
                      <c:pt idx="6874">
                        <c:v>0</c:v>
                      </c:pt>
                      <c:pt idx="6875">
                        <c:v>0</c:v>
                      </c:pt>
                      <c:pt idx="6876">
                        <c:v>0</c:v>
                      </c:pt>
                      <c:pt idx="6877">
                        <c:v>0</c:v>
                      </c:pt>
                      <c:pt idx="6878">
                        <c:v>0</c:v>
                      </c:pt>
                      <c:pt idx="6879">
                        <c:v>0</c:v>
                      </c:pt>
                      <c:pt idx="6880">
                        <c:v>0</c:v>
                      </c:pt>
                      <c:pt idx="6881">
                        <c:v>0</c:v>
                      </c:pt>
                      <c:pt idx="6882">
                        <c:v>0</c:v>
                      </c:pt>
                      <c:pt idx="6883">
                        <c:v>0</c:v>
                      </c:pt>
                      <c:pt idx="6884">
                        <c:v>0</c:v>
                      </c:pt>
                      <c:pt idx="6885">
                        <c:v>0</c:v>
                      </c:pt>
                      <c:pt idx="6886">
                        <c:v>0</c:v>
                      </c:pt>
                      <c:pt idx="6887">
                        <c:v>0</c:v>
                      </c:pt>
                      <c:pt idx="6888">
                        <c:v>0</c:v>
                      </c:pt>
                      <c:pt idx="6889">
                        <c:v>0</c:v>
                      </c:pt>
                      <c:pt idx="6890">
                        <c:v>0</c:v>
                      </c:pt>
                      <c:pt idx="6891">
                        <c:v>0</c:v>
                      </c:pt>
                      <c:pt idx="6892">
                        <c:v>0</c:v>
                      </c:pt>
                      <c:pt idx="6893">
                        <c:v>0</c:v>
                      </c:pt>
                      <c:pt idx="6894">
                        <c:v>0</c:v>
                      </c:pt>
                      <c:pt idx="6895">
                        <c:v>0</c:v>
                      </c:pt>
                      <c:pt idx="6896">
                        <c:v>0</c:v>
                      </c:pt>
                      <c:pt idx="6897">
                        <c:v>0</c:v>
                      </c:pt>
                      <c:pt idx="6898">
                        <c:v>0</c:v>
                      </c:pt>
                      <c:pt idx="6899">
                        <c:v>0</c:v>
                      </c:pt>
                      <c:pt idx="6900">
                        <c:v>0</c:v>
                      </c:pt>
                      <c:pt idx="6901">
                        <c:v>0</c:v>
                      </c:pt>
                      <c:pt idx="6902">
                        <c:v>0</c:v>
                      </c:pt>
                      <c:pt idx="6903">
                        <c:v>0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</c:v>
                      </c:pt>
                      <c:pt idx="6919">
                        <c:v>0</c:v>
                      </c:pt>
                      <c:pt idx="6920">
                        <c:v>0</c:v>
                      </c:pt>
                      <c:pt idx="6921">
                        <c:v>0</c:v>
                      </c:pt>
                      <c:pt idx="6922">
                        <c:v>0</c:v>
                      </c:pt>
                      <c:pt idx="6923">
                        <c:v>0</c:v>
                      </c:pt>
                      <c:pt idx="6924">
                        <c:v>0</c:v>
                      </c:pt>
                      <c:pt idx="6925">
                        <c:v>0</c:v>
                      </c:pt>
                      <c:pt idx="6926">
                        <c:v>0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0</c:v>
                      </c:pt>
                      <c:pt idx="6949">
                        <c:v>0</c:v>
                      </c:pt>
                      <c:pt idx="6950">
                        <c:v>0</c:v>
                      </c:pt>
                      <c:pt idx="6951">
                        <c:v>0</c:v>
                      </c:pt>
                      <c:pt idx="6952">
                        <c:v>0</c:v>
                      </c:pt>
                      <c:pt idx="6953">
                        <c:v>0</c:v>
                      </c:pt>
                      <c:pt idx="6954">
                        <c:v>0</c:v>
                      </c:pt>
                      <c:pt idx="6955">
                        <c:v>0</c:v>
                      </c:pt>
                      <c:pt idx="6956">
                        <c:v>0</c:v>
                      </c:pt>
                      <c:pt idx="6957">
                        <c:v>0</c:v>
                      </c:pt>
                      <c:pt idx="6958">
                        <c:v>0</c:v>
                      </c:pt>
                      <c:pt idx="6959">
                        <c:v>0</c:v>
                      </c:pt>
                      <c:pt idx="6960">
                        <c:v>0</c:v>
                      </c:pt>
                      <c:pt idx="6961">
                        <c:v>0</c:v>
                      </c:pt>
                      <c:pt idx="6962">
                        <c:v>0</c:v>
                      </c:pt>
                      <c:pt idx="6963">
                        <c:v>0</c:v>
                      </c:pt>
                      <c:pt idx="6964">
                        <c:v>0</c:v>
                      </c:pt>
                      <c:pt idx="6965">
                        <c:v>0</c:v>
                      </c:pt>
                      <c:pt idx="6966">
                        <c:v>0</c:v>
                      </c:pt>
                      <c:pt idx="6967">
                        <c:v>0</c:v>
                      </c:pt>
                      <c:pt idx="6968">
                        <c:v>0</c:v>
                      </c:pt>
                      <c:pt idx="6969">
                        <c:v>0</c:v>
                      </c:pt>
                      <c:pt idx="6970">
                        <c:v>0</c:v>
                      </c:pt>
                      <c:pt idx="6971">
                        <c:v>0</c:v>
                      </c:pt>
                      <c:pt idx="6972">
                        <c:v>0</c:v>
                      </c:pt>
                      <c:pt idx="6973">
                        <c:v>0</c:v>
                      </c:pt>
                      <c:pt idx="6974">
                        <c:v>0</c:v>
                      </c:pt>
                      <c:pt idx="6975">
                        <c:v>0</c:v>
                      </c:pt>
                      <c:pt idx="6976">
                        <c:v>0</c:v>
                      </c:pt>
                      <c:pt idx="6977">
                        <c:v>0</c:v>
                      </c:pt>
                      <c:pt idx="6978">
                        <c:v>0</c:v>
                      </c:pt>
                      <c:pt idx="6979">
                        <c:v>0</c:v>
                      </c:pt>
                      <c:pt idx="6980">
                        <c:v>0</c:v>
                      </c:pt>
                      <c:pt idx="6981">
                        <c:v>0</c:v>
                      </c:pt>
                      <c:pt idx="6982">
                        <c:v>0</c:v>
                      </c:pt>
                      <c:pt idx="6983">
                        <c:v>0</c:v>
                      </c:pt>
                      <c:pt idx="6984">
                        <c:v>0</c:v>
                      </c:pt>
                      <c:pt idx="6985">
                        <c:v>0</c:v>
                      </c:pt>
                      <c:pt idx="6986">
                        <c:v>0</c:v>
                      </c:pt>
                      <c:pt idx="6987">
                        <c:v>0</c:v>
                      </c:pt>
                      <c:pt idx="6988">
                        <c:v>0</c:v>
                      </c:pt>
                      <c:pt idx="6989">
                        <c:v>0</c:v>
                      </c:pt>
                      <c:pt idx="6990">
                        <c:v>0</c:v>
                      </c:pt>
                      <c:pt idx="6991">
                        <c:v>0</c:v>
                      </c:pt>
                      <c:pt idx="6992">
                        <c:v>0</c:v>
                      </c:pt>
                      <c:pt idx="6993">
                        <c:v>0</c:v>
                      </c:pt>
                      <c:pt idx="6994">
                        <c:v>0</c:v>
                      </c:pt>
                      <c:pt idx="6995">
                        <c:v>0</c:v>
                      </c:pt>
                      <c:pt idx="6996">
                        <c:v>0</c:v>
                      </c:pt>
                      <c:pt idx="6997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2CA-43D1-9B5E-DB9227CD45FB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G$3</c15:sqref>
                        </c15:formulaRef>
                      </c:ext>
                    </c:extLst>
                    <c:strCache>
                      <c:ptCount val="1"/>
                      <c:pt idx="0">
                        <c:v>SURJEK_TUBE_PRESSUR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G$4:$G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378.11279999999999</c:v>
                      </c:pt>
                      <c:pt idx="3">
                        <c:v>379.0283</c:v>
                      </c:pt>
                      <c:pt idx="4">
                        <c:v>378.95991880000003</c:v>
                      </c:pt>
                      <c:pt idx="5">
                        <c:v>378.11279999999999</c:v>
                      </c:pt>
                      <c:pt idx="6">
                        <c:v>376.2817</c:v>
                      </c:pt>
                      <c:pt idx="7">
                        <c:v>379.94380000000001</c:v>
                      </c:pt>
                      <c:pt idx="8">
                        <c:v>376.2817</c:v>
                      </c:pt>
                      <c:pt idx="9">
                        <c:v>379.0283</c:v>
                      </c:pt>
                      <c:pt idx="10">
                        <c:v>378.86536039999999</c:v>
                      </c:pt>
                      <c:pt idx="11">
                        <c:v>378.26025270000002</c:v>
                      </c:pt>
                      <c:pt idx="12">
                        <c:v>378.22140569999999</c:v>
                      </c:pt>
                      <c:pt idx="13">
                        <c:v>378.21378440000001</c:v>
                      </c:pt>
                      <c:pt idx="14">
                        <c:v>378.11279999999999</c:v>
                      </c:pt>
                      <c:pt idx="15">
                        <c:v>378.11279999999999</c:v>
                      </c:pt>
                      <c:pt idx="16">
                        <c:v>377.65503860000001</c:v>
                      </c:pt>
                      <c:pt idx="17">
                        <c:v>377.19729999999998</c:v>
                      </c:pt>
                      <c:pt idx="18">
                        <c:v>378.24099610000002</c:v>
                      </c:pt>
                      <c:pt idx="19">
                        <c:v>379.0283</c:v>
                      </c:pt>
                      <c:pt idx="20">
                        <c:v>378.65219880000001</c:v>
                      </c:pt>
                      <c:pt idx="21">
                        <c:v>377.73524680000003</c:v>
                      </c:pt>
                      <c:pt idx="22">
                        <c:v>376.76662859999999</c:v>
                      </c:pt>
                      <c:pt idx="23">
                        <c:v>376.60441109999999</c:v>
                      </c:pt>
                      <c:pt idx="24">
                        <c:v>376.2817</c:v>
                      </c:pt>
                      <c:pt idx="25">
                        <c:v>379.94380000000001</c:v>
                      </c:pt>
                      <c:pt idx="26">
                        <c:v>379.94380000000001</c:v>
                      </c:pt>
                      <c:pt idx="27">
                        <c:v>379.94380000000001</c:v>
                      </c:pt>
                      <c:pt idx="28">
                        <c:v>376.2817</c:v>
                      </c:pt>
                      <c:pt idx="29">
                        <c:v>379.94380000000001</c:v>
                      </c:pt>
                      <c:pt idx="30">
                        <c:v>380.35687869999998</c:v>
                      </c:pt>
                      <c:pt idx="31">
                        <c:v>380.85939999999999</c:v>
                      </c:pt>
                      <c:pt idx="32">
                        <c:v>376.2817</c:v>
                      </c:pt>
                      <c:pt idx="33">
                        <c:v>376.59740149999999</c:v>
                      </c:pt>
                      <c:pt idx="34">
                        <c:v>377.29181840000001</c:v>
                      </c:pt>
                      <c:pt idx="35">
                        <c:v>378.11279999999999</c:v>
                      </c:pt>
                      <c:pt idx="36">
                        <c:v>378.11279999999999</c:v>
                      </c:pt>
                      <c:pt idx="37">
                        <c:v>378.11279999999999</c:v>
                      </c:pt>
                      <c:pt idx="38">
                        <c:v>378.11279999999999</c:v>
                      </c:pt>
                      <c:pt idx="39">
                        <c:v>378.13624049999999</c:v>
                      </c:pt>
                      <c:pt idx="40">
                        <c:v>378.16755330000001</c:v>
                      </c:pt>
                      <c:pt idx="41">
                        <c:v>378.18317639999998</c:v>
                      </c:pt>
                      <c:pt idx="42">
                        <c:v>378.19898740000002</c:v>
                      </c:pt>
                      <c:pt idx="43">
                        <c:v>378.4494229</c:v>
                      </c:pt>
                      <c:pt idx="44">
                        <c:v>378.54317730000002</c:v>
                      </c:pt>
                      <c:pt idx="45">
                        <c:v>378.7701136</c:v>
                      </c:pt>
                      <c:pt idx="46">
                        <c:v>378.82486290000003</c:v>
                      </c:pt>
                      <c:pt idx="47">
                        <c:v>378.95005140000001</c:v>
                      </c:pt>
                      <c:pt idx="48">
                        <c:v>379.0283</c:v>
                      </c:pt>
                      <c:pt idx="49">
                        <c:v>380.85939999999999</c:v>
                      </c:pt>
                      <c:pt idx="50">
                        <c:v>377.19729999999998</c:v>
                      </c:pt>
                      <c:pt idx="51">
                        <c:v>378.06245139999999</c:v>
                      </c:pt>
                      <c:pt idx="52">
                        <c:v>378.11279999999999</c:v>
                      </c:pt>
                      <c:pt idx="53">
                        <c:v>378.35063719999999</c:v>
                      </c:pt>
                      <c:pt idx="54">
                        <c:v>378.36935349999999</c:v>
                      </c:pt>
                      <c:pt idx="55">
                        <c:v>378.46091180000002</c:v>
                      </c:pt>
                      <c:pt idx="56">
                        <c:v>378.55247919999999</c:v>
                      </c:pt>
                      <c:pt idx="57">
                        <c:v>378.57048129999998</c:v>
                      </c:pt>
                      <c:pt idx="58">
                        <c:v>379.0283</c:v>
                      </c:pt>
                      <c:pt idx="59">
                        <c:v>378.5905032</c:v>
                      </c:pt>
                      <c:pt idx="60">
                        <c:v>377.19729999999998</c:v>
                      </c:pt>
                      <c:pt idx="61">
                        <c:v>378.70977349999998</c:v>
                      </c:pt>
                      <c:pt idx="62">
                        <c:v>379.0283</c:v>
                      </c:pt>
                      <c:pt idx="63">
                        <c:v>375.36619999999999</c:v>
                      </c:pt>
                      <c:pt idx="64">
                        <c:v>377.19729999999998</c:v>
                      </c:pt>
                      <c:pt idx="65">
                        <c:v>377.87560070000001</c:v>
                      </c:pt>
                      <c:pt idx="66">
                        <c:v>379.14287480000002</c:v>
                      </c:pt>
                      <c:pt idx="67">
                        <c:v>379.94380000000001</c:v>
                      </c:pt>
                      <c:pt idx="68">
                        <c:v>378.11279999999999</c:v>
                      </c:pt>
                      <c:pt idx="69">
                        <c:v>378.11279999999999</c:v>
                      </c:pt>
                      <c:pt idx="70">
                        <c:v>378.11279999999999</c:v>
                      </c:pt>
                      <c:pt idx="71">
                        <c:v>378.11279999999999</c:v>
                      </c:pt>
                      <c:pt idx="72">
                        <c:v>378.11279999999999</c:v>
                      </c:pt>
                      <c:pt idx="73">
                        <c:v>378.11279999999999</c:v>
                      </c:pt>
                      <c:pt idx="74">
                        <c:v>378.11279999999999</c:v>
                      </c:pt>
                      <c:pt idx="75">
                        <c:v>378.3464616</c:v>
                      </c:pt>
                      <c:pt idx="76">
                        <c:v>378.3663578</c:v>
                      </c:pt>
                      <c:pt idx="77">
                        <c:v>379.0283</c:v>
                      </c:pt>
                      <c:pt idx="78">
                        <c:v>377.19729999999998</c:v>
                      </c:pt>
                      <c:pt idx="79">
                        <c:v>377.19729999999998</c:v>
                      </c:pt>
                      <c:pt idx="80">
                        <c:v>379.01741019999997</c:v>
                      </c:pt>
                      <c:pt idx="81">
                        <c:v>380.85939999999999</c:v>
                      </c:pt>
                      <c:pt idx="82">
                        <c:v>377.19729999999998</c:v>
                      </c:pt>
                      <c:pt idx="83">
                        <c:v>377.31644069999999</c:v>
                      </c:pt>
                      <c:pt idx="84">
                        <c:v>379.94380000000001</c:v>
                      </c:pt>
                      <c:pt idx="85">
                        <c:v>378.11279999999999</c:v>
                      </c:pt>
                      <c:pt idx="86">
                        <c:v>377.7969713</c:v>
                      </c:pt>
                      <c:pt idx="87">
                        <c:v>377.76570329999998</c:v>
                      </c:pt>
                      <c:pt idx="88">
                        <c:v>377.59178409999998</c:v>
                      </c:pt>
                      <c:pt idx="89">
                        <c:v>377.57628019999999</c:v>
                      </c:pt>
                      <c:pt idx="90">
                        <c:v>377.49738020000001</c:v>
                      </c:pt>
                      <c:pt idx="91">
                        <c:v>377.24493189999998</c:v>
                      </c:pt>
                      <c:pt idx="92">
                        <c:v>377.22917560000002</c:v>
                      </c:pt>
                      <c:pt idx="93">
                        <c:v>377.21280380000002</c:v>
                      </c:pt>
                      <c:pt idx="94">
                        <c:v>377.19729999999998</c:v>
                      </c:pt>
                      <c:pt idx="95">
                        <c:v>378.11279999999999</c:v>
                      </c:pt>
                      <c:pt idx="96">
                        <c:v>378.11279999999999</c:v>
                      </c:pt>
                      <c:pt idx="97">
                        <c:v>378.6626493</c:v>
                      </c:pt>
                      <c:pt idx="98">
                        <c:v>379.94380000000001</c:v>
                      </c:pt>
                      <c:pt idx="99">
                        <c:v>376.2817</c:v>
                      </c:pt>
                      <c:pt idx="100">
                        <c:v>379.94380000000001</c:v>
                      </c:pt>
                      <c:pt idx="101">
                        <c:v>378.11279999999999</c:v>
                      </c:pt>
                      <c:pt idx="102">
                        <c:v>378.11279999999999</c:v>
                      </c:pt>
                      <c:pt idx="103">
                        <c:v>378.11279999999999</c:v>
                      </c:pt>
                      <c:pt idx="104">
                        <c:v>378.11279999999999</c:v>
                      </c:pt>
                      <c:pt idx="105">
                        <c:v>378.11279999999999</c:v>
                      </c:pt>
                      <c:pt idx="106">
                        <c:v>378.11279999999999</c:v>
                      </c:pt>
                      <c:pt idx="107">
                        <c:v>377.39075680000002</c:v>
                      </c:pt>
                      <c:pt idx="108">
                        <c:v>377.27962079999998</c:v>
                      </c:pt>
                      <c:pt idx="109">
                        <c:v>377.19729999999998</c:v>
                      </c:pt>
                      <c:pt idx="110">
                        <c:v>380.85939999999999</c:v>
                      </c:pt>
                      <c:pt idx="111">
                        <c:v>379.0283</c:v>
                      </c:pt>
                      <c:pt idx="112">
                        <c:v>378.89185149999997</c:v>
                      </c:pt>
                      <c:pt idx="113">
                        <c:v>378.8704214</c:v>
                      </c:pt>
                      <c:pt idx="114">
                        <c:v>378.67042470000001</c:v>
                      </c:pt>
                      <c:pt idx="115">
                        <c:v>378.5967824</c:v>
                      </c:pt>
                      <c:pt idx="116">
                        <c:v>378.40729549999998</c:v>
                      </c:pt>
                      <c:pt idx="117">
                        <c:v>378.1967889</c:v>
                      </c:pt>
                      <c:pt idx="118">
                        <c:v>378.15508130000001</c:v>
                      </c:pt>
                      <c:pt idx="119">
                        <c:v>378.12314670000001</c:v>
                      </c:pt>
                      <c:pt idx="120">
                        <c:v>378.11279999999999</c:v>
                      </c:pt>
                      <c:pt idx="121">
                        <c:v>377.19729999999998</c:v>
                      </c:pt>
                      <c:pt idx="122">
                        <c:v>377.46459449999998</c:v>
                      </c:pt>
                      <c:pt idx="123">
                        <c:v>377.86279730000001</c:v>
                      </c:pt>
                      <c:pt idx="124">
                        <c:v>378.72985190000003</c:v>
                      </c:pt>
                      <c:pt idx="125">
                        <c:v>379.0283</c:v>
                      </c:pt>
                      <c:pt idx="126">
                        <c:v>378.11279999999999</c:v>
                      </c:pt>
                      <c:pt idx="127">
                        <c:v>378.11279999999999</c:v>
                      </c:pt>
                      <c:pt idx="128">
                        <c:v>378.11279999999999</c:v>
                      </c:pt>
                      <c:pt idx="129">
                        <c:v>378.11279999999999</c:v>
                      </c:pt>
                      <c:pt idx="130">
                        <c:v>378.11279999999999</c:v>
                      </c:pt>
                      <c:pt idx="131">
                        <c:v>378.11279999999999</c:v>
                      </c:pt>
                      <c:pt idx="132">
                        <c:v>378.11279999999999</c:v>
                      </c:pt>
                      <c:pt idx="133">
                        <c:v>377.96050209999999</c:v>
                      </c:pt>
                      <c:pt idx="134">
                        <c:v>377.93905690000003</c:v>
                      </c:pt>
                      <c:pt idx="135">
                        <c:v>377.43689490000003</c:v>
                      </c:pt>
                      <c:pt idx="136">
                        <c:v>377.26196279999999</c:v>
                      </c:pt>
                      <c:pt idx="137">
                        <c:v>377.19729999999998</c:v>
                      </c:pt>
                      <c:pt idx="138">
                        <c:v>380.85939999999999</c:v>
                      </c:pt>
                      <c:pt idx="139">
                        <c:v>377.19729999999998</c:v>
                      </c:pt>
                      <c:pt idx="140">
                        <c:v>377.77011399999998</c:v>
                      </c:pt>
                      <c:pt idx="141">
                        <c:v>378.11279999999999</c:v>
                      </c:pt>
                      <c:pt idx="142">
                        <c:v>378.11279999999999</c:v>
                      </c:pt>
                      <c:pt idx="143">
                        <c:v>378.11279999999999</c:v>
                      </c:pt>
                      <c:pt idx="144">
                        <c:v>378.11279999999999</c:v>
                      </c:pt>
                      <c:pt idx="145">
                        <c:v>378.11279999999999</c:v>
                      </c:pt>
                      <c:pt idx="146">
                        <c:v>378.11279999999999</c:v>
                      </c:pt>
                      <c:pt idx="147">
                        <c:v>378.11279999999999</c:v>
                      </c:pt>
                      <c:pt idx="148">
                        <c:v>378.11279999999999</c:v>
                      </c:pt>
                      <c:pt idx="149">
                        <c:v>378.11279999999999</c:v>
                      </c:pt>
                      <c:pt idx="150">
                        <c:v>379.0283</c:v>
                      </c:pt>
                      <c:pt idx="151">
                        <c:v>378.54240069999997</c:v>
                      </c:pt>
                      <c:pt idx="152">
                        <c:v>378.26118819999999</c:v>
                      </c:pt>
                      <c:pt idx="153">
                        <c:v>377.77528890000002</c:v>
                      </c:pt>
                      <c:pt idx="154">
                        <c:v>376.36230310000002</c:v>
                      </c:pt>
                      <c:pt idx="155">
                        <c:v>376.2817</c:v>
                      </c:pt>
                      <c:pt idx="156">
                        <c:v>378.11279999999999</c:v>
                      </c:pt>
                      <c:pt idx="157">
                        <c:v>378.05412610000002</c:v>
                      </c:pt>
                      <c:pt idx="158">
                        <c:v>378.04259669999999</c:v>
                      </c:pt>
                      <c:pt idx="159">
                        <c:v>378.03042190000002</c:v>
                      </c:pt>
                      <c:pt idx="160">
                        <c:v>377.85440620000003</c:v>
                      </c:pt>
                      <c:pt idx="161">
                        <c:v>377.58493470000002</c:v>
                      </c:pt>
                      <c:pt idx="162">
                        <c:v>377.19729999999998</c:v>
                      </c:pt>
                      <c:pt idx="163">
                        <c:v>377.19729999999998</c:v>
                      </c:pt>
                      <c:pt idx="164">
                        <c:v>377.19729999999998</c:v>
                      </c:pt>
                      <c:pt idx="165">
                        <c:v>377.19729999999998</c:v>
                      </c:pt>
                      <c:pt idx="166">
                        <c:v>377.19729999999998</c:v>
                      </c:pt>
                      <c:pt idx="167">
                        <c:v>377.19729999999998</c:v>
                      </c:pt>
                      <c:pt idx="168">
                        <c:v>377.19729999999998</c:v>
                      </c:pt>
                      <c:pt idx="169">
                        <c:v>379.94380000000001</c:v>
                      </c:pt>
                      <c:pt idx="170">
                        <c:v>378.11279999999999</c:v>
                      </c:pt>
                      <c:pt idx="171">
                        <c:v>379.94380000000001</c:v>
                      </c:pt>
                      <c:pt idx="172">
                        <c:v>378.11279999999999</c:v>
                      </c:pt>
                      <c:pt idx="173">
                        <c:v>377.87906040000001</c:v>
                      </c:pt>
                      <c:pt idx="174">
                        <c:v>377.76222710000002</c:v>
                      </c:pt>
                      <c:pt idx="175">
                        <c:v>377.73298110000002</c:v>
                      </c:pt>
                      <c:pt idx="176">
                        <c:v>377.65496230000002</c:v>
                      </c:pt>
                      <c:pt idx="177">
                        <c:v>377.36280369999997</c:v>
                      </c:pt>
                      <c:pt idx="178">
                        <c:v>377.32414</c:v>
                      </c:pt>
                      <c:pt idx="179">
                        <c:v>377.19729999999998</c:v>
                      </c:pt>
                      <c:pt idx="180">
                        <c:v>375.36619999999999</c:v>
                      </c:pt>
                      <c:pt idx="181">
                        <c:v>377.19729999999998</c:v>
                      </c:pt>
                      <c:pt idx="182">
                        <c:v>377.19729999999998</c:v>
                      </c:pt>
                      <c:pt idx="183">
                        <c:v>377.19729999999998</c:v>
                      </c:pt>
                      <c:pt idx="184">
                        <c:v>377.19729999999998</c:v>
                      </c:pt>
                      <c:pt idx="185">
                        <c:v>379.94380000000001</c:v>
                      </c:pt>
                      <c:pt idx="186">
                        <c:v>376.2817</c:v>
                      </c:pt>
                      <c:pt idx="187">
                        <c:v>376.50606570000002</c:v>
                      </c:pt>
                      <c:pt idx="188">
                        <c:v>376.51861179999997</c:v>
                      </c:pt>
                      <c:pt idx="189">
                        <c:v>376.53106439999999</c:v>
                      </c:pt>
                      <c:pt idx="190">
                        <c:v>377.00479460000003</c:v>
                      </c:pt>
                      <c:pt idx="191">
                        <c:v>377.01656200000002</c:v>
                      </c:pt>
                      <c:pt idx="192">
                        <c:v>377.51487980000002</c:v>
                      </c:pt>
                      <c:pt idx="193">
                        <c:v>377.54005910000001</c:v>
                      </c:pt>
                      <c:pt idx="194">
                        <c:v>377.78900620000002</c:v>
                      </c:pt>
                      <c:pt idx="195">
                        <c:v>377.88883299999998</c:v>
                      </c:pt>
                      <c:pt idx="196">
                        <c:v>377.9011797</c:v>
                      </c:pt>
                      <c:pt idx="197">
                        <c:v>377.96329350000002</c:v>
                      </c:pt>
                      <c:pt idx="198">
                        <c:v>378.10093910000001</c:v>
                      </c:pt>
                      <c:pt idx="199">
                        <c:v>378.11279999999999</c:v>
                      </c:pt>
                      <c:pt idx="200">
                        <c:v>378.51632519999998</c:v>
                      </c:pt>
                      <c:pt idx="201">
                        <c:v>378.67149139999998</c:v>
                      </c:pt>
                      <c:pt idx="202">
                        <c:v>379.0283</c:v>
                      </c:pt>
                      <c:pt idx="203">
                        <c:v>378.34124609999998</c:v>
                      </c:pt>
                      <c:pt idx="204">
                        <c:v>378.2270517</c:v>
                      </c:pt>
                      <c:pt idx="205">
                        <c:v>378.11279999999999</c:v>
                      </c:pt>
                      <c:pt idx="206">
                        <c:v>378.11279999999999</c:v>
                      </c:pt>
                      <c:pt idx="207">
                        <c:v>378.11279999999999</c:v>
                      </c:pt>
                      <c:pt idx="208">
                        <c:v>378.11279999999999</c:v>
                      </c:pt>
                      <c:pt idx="209">
                        <c:v>378.11279999999999</c:v>
                      </c:pt>
                      <c:pt idx="210">
                        <c:v>378.11279999999999</c:v>
                      </c:pt>
                      <c:pt idx="211">
                        <c:v>378.11279999999999</c:v>
                      </c:pt>
                      <c:pt idx="212">
                        <c:v>378.11279999999999</c:v>
                      </c:pt>
                      <c:pt idx="213">
                        <c:v>379.94380000000001</c:v>
                      </c:pt>
                      <c:pt idx="214">
                        <c:v>376.2817</c:v>
                      </c:pt>
                      <c:pt idx="215">
                        <c:v>377.30352809999999</c:v>
                      </c:pt>
                      <c:pt idx="216">
                        <c:v>379.0283</c:v>
                      </c:pt>
                      <c:pt idx="217">
                        <c:v>378.70800070000001</c:v>
                      </c:pt>
                      <c:pt idx="218">
                        <c:v>378.5259011</c:v>
                      </c:pt>
                      <c:pt idx="219">
                        <c:v>378.4560917</c:v>
                      </c:pt>
                      <c:pt idx="220">
                        <c:v>378.31879600000002</c:v>
                      </c:pt>
                      <c:pt idx="221">
                        <c:v>378.27308799999997</c:v>
                      </c:pt>
                      <c:pt idx="222">
                        <c:v>378.25023399999998</c:v>
                      </c:pt>
                      <c:pt idx="223">
                        <c:v>378.18293089999997</c:v>
                      </c:pt>
                      <c:pt idx="224">
                        <c:v>377.70087969999997</c:v>
                      </c:pt>
                      <c:pt idx="225">
                        <c:v>377.33452899999997</c:v>
                      </c:pt>
                      <c:pt idx="226">
                        <c:v>377.12868279999998</c:v>
                      </c:pt>
                      <c:pt idx="227">
                        <c:v>377.01405799999998</c:v>
                      </c:pt>
                      <c:pt idx="228">
                        <c:v>376.8096309</c:v>
                      </c:pt>
                      <c:pt idx="229">
                        <c:v>376.2817</c:v>
                      </c:pt>
                      <c:pt idx="230">
                        <c:v>378.11279999999999</c:v>
                      </c:pt>
                      <c:pt idx="231">
                        <c:v>377.98907789999998</c:v>
                      </c:pt>
                      <c:pt idx="232">
                        <c:v>377.9408262</c:v>
                      </c:pt>
                      <c:pt idx="233">
                        <c:v>377.89160959999998</c:v>
                      </c:pt>
                      <c:pt idx="234">
                        <c:v>377.71692630000001</c:v>
                      </c:pt>
                      <c:pt idx="235">
                        <c:v>376.67892230000001</c:v>
                      </c:pt>
                      <c:pt idx="236">
                        <c:v>376.52914429999998</c:v>
                      </c:pt>
                      <c:pt idx="237">
                        <c:v>376.30776830000002</c:v>
                      </c:pt>
                      <c:pt idx="238">
                        <c:v>376.2817</c:v>
                      </c:pt>
                      <c:pt idx="239">
                        <c:v>379.94380000000001</c:v>
                      </c:pt>
                      <c:pt idx="240">
                        <c:v>379.2355058</c:v>
                      </c:pt>
                      <c:pt idx="241">
                        <c:v>379.02643160000002</c:v>
                      </c:pt>
                      <c:pt idx="242">
                        <c:v>378.61944269999998</c:v>
                      </c:pt>
                      <c:pt idx="243">
                        <c:v>377.50334420000002</c:v>
                      </c:pt>
                      <c:pt idx="244">
                        <c:v>377.19729999999998</c:v>
                      </c:pt>
                      <c:pt idx="245">
                        <c:v>377.84564769999997</c:v>
                      </c:pt>
                      <c:pt idx="246">
                        <c:v>378.1683286</c:v>
                      </c:pt>
                      <c:pt idx="247">
                        <c:v>378.32991120000003</c:v>
                      </c:pt>
                      <c:pt idx="248">
                        <c:v>378.38360160000002</c:v>
                      </c:pt>
                      <c:pt idx="249">
                        <c:v>378.54475380000002</c:v>
                      </c:pt>
                      <c:pt idx="250">
                        <c:v>379.94380000000001</c:v>
                      </c:pt>
                      <c:pt idx="251">
                        <c:v>378.69708780000002</c:v>
                      </c:pt>
                      <c:pt idx="252">
                        <c:v>377.50905899999998</c:v>
                      </c:pt>
                      <c:pt idx="253">
                        <c:v>376.2817</c:v>
                      </c:pt>
                      <c:pt idx="254">
                        <c:v>377.40461670000002</c:v>
                      </c:pt>
                      <c:pt idx="255">
                        <c:v>377.49495359999997</c:v>
                      </c:pt>
                      <c:pt idx="256">
                        <c:v>377.58635470000002</c:v>
                      </c:pt>
                      <c:pt idx="257">
                        <c:v>378.18156640000001</c:v>
                      </c:pt>
                      <c:pt idx="258">
                        <c:v>378.57056189999997</c:v>
                      </c:pt>
                      <c:pt idx="259">
                        <c:v>378.59484559999999</c:v>
                      </c:pt>
                      <c:pt idx="260">
                        <c:v>378.70803560000002</c:v>
                      </c:pt>
                      <c:pt idx="261">
                        <c:v>379.0283</c:v>
                      </c:pt>
                      <c:pt idx="262">
                        <c:v>378.7057251</c:v>
                      </c:pt>
                      <c:pt idx="263">
                        <c:v>378.18698669999998</c:v>
                      </c:pt>
                      <c:pt idx="264">
                        <c:v>378.11279999999999</c:v>
                      </c:pt>
                      <c:pt idx="265">
                        <c:v>377.19729999999998</c:v>
                      </c:pt>
                      <c:pt idx="266">
                        <c:v>377.57433609999998</c:v>
                      </c:pt>
                      <c:pt idx="267">
                        <c:v>377.64602589999998</c:v>
                      </c:pt>
                      <c:pt idx="268">
                        <c:v>377.71686319999998</c:v>
                      </c:pt>
                      <c:pt idx="269">
                        <c:v>378.11279999999999</c:v>
                      </c:pt>
                      <c:pt idx="270">
                        <c:v>378.11279999999999</c:v>
                      </c:pt>
                      <c:pt idx="271">
                        <c:v>378.11279999999999</c:v>
                      </c:pt>
                      <c:pt idx="272">
                        <c:v>378.11279999999999</c:v>
                      </c:pt>
                      <c:pt idx="273">
                        <c:v>379.94380000000001</c:v>
                      </c:pt>
                      <c:pt idx="274">
                        <c:v>376.2817</c:v>
                      </c:pt>
                      <c:pt idx="275">
                        <c:v>378.11279999999999</c:v>
                      </c:pt>
                      <c:pt idx="276">
                        <c:v>378.11279999999999</c:v>
                      </c:pt>
                      <c:pt idx="277">
                        <c:v>378.11279999999999</c:v>
                      </c:pt>
                      <c:pt idx="278">
                        <c:v>378.3462528</c:v>
                      </c:pt>
                      <c:pt idx="279">
                        <c:v>378.7310028</c:v>
                      </c:pt>
                      <c:pt idx="280">
                        <c:v>379.0283</c:v>
                      </c:pt>
                      <c:pt idx="281">
                        <c:v>375.36619999999999</c:v>
                      </c:pt>
                      <c:pt idx="282">
                        <c:v>378.0631947</c:v>
                      </c:pt>
                      <c:pt idx="283">
                        <c:v>378.25708309999999</c:v>
                      </c:pt>
                      <c:pt idx="284">
                        <c:v>379.0283</c:v>
                      </c:pt>
                      <c:pt idx="285">
                        <c:v>377.19729999999998</c:v>
                      </c:pt>
                      <c:pt idx="286">
                        <c:v>380.85939999999999</c:v>
                      </c:pt>
                      <c:pt idx="287">
                        <c:v>377.19729999999998</c:v>
                      </c:pt>
                      <c:pt idx="288">
                        <c:v>377.74065669999999</c:v>
                      </c:pt>
                      <c:pt idx="289">
                        <c:v>378.82842360000001</c:v>
                      </c:pt>
                      <c:pt idx="290">
                        <c:v>379.0283</c:v>
                      </c:pt>
                      <c:pt idx="291">
                        <c:v>377.19729999999998</c:v>
                      </c:pt>
                      <c:pt idx="292">
                        <c:v>377.19729999999998</c:v>
                      </c:pt>
                      <c:pt idx="293">
                        <c:v>377.19729999999998</c:v>
                      </c:pt>
                      <c:pt idx="294">
                        <c:v>377.19729999999998</c:v>
                      </c:pt>
                      <c:pt idx="295">
                        <c:v>377.19729999999998</c:v>
                      </c:pt>
                      <c:pt idx="296">
                        <c:v>377.19729999999998</c:v>
                      </c:pt>
                      <c:pt idx="297">
                        <c:v>380.85939999999999</c:v>
                      </c:pt>
                      <c:pt idx="298">
                        <c:v>378.40666069999997</c:v>
                      </c:pt>
                      <c:pt idx="299">
                        <c:v>376.2817</c:v>
                      </c:pt>
                      <c:pt idx="300">
                        <c:v>377.52198859999999</c:v>
                      </c:pt>
                      <c:pt idx="301">
                        <c:v>377.78801149999998</c:v>
                      </c:pt>
                      <c:pt idx="302">
                        <c:v>378.31456489999999</c:v>
                      </c:pt>
                      <c:pt idx="303">
                        <c:v>378.4078457</c:v>
                      </c:pt>
                      <c:pt idx="304">
                        <c:v>379.0283</c:v>
                      </c:pt>
                      <c:pt idx="305">
                        <c:v>376.2817</c:v>
                      </c:pt>
                      <c:pt idx="306">
                        <c:v>378.11279999999999</c:v>
                      </c:pt>
                      <c:pt idx="307">
                        <c:v>379.0283</c:v>
                      </c:pt>
                      <c:pt idx="308">
                        <c:v>378.94458859999997</c:v>
                      </c:pt>
                      <c:pt idx="309">
                        <c:v>377.19729999999998</c:v>
                      </c:pt>
                      <c:pt idx="310">
                        <c:v>377.27141499999999</c:v>
                      </c:pt>
                      <c:pt idx="311">
                        <c:v>377.31986819999997</c:v>
                      </c:pt>
                      <c:pt idx="312">
                        <c:v>377.91495370000001</c:v>
                      </c:pt>
                      <c:pt idx="313">
                        <c:v>378.11279999999999</c:v>
                      </c:pt>
                      <c:pt idx="314">
                        <c:v>377.19729999999998</c:v>
                      </c:pt>
                      <c:pt idx="315">
                        <c:v>378.53184240000002</c:v>
                      </c:pt>
                      <c:pt idx="316">
                        <c:v>378.95746800000001</c:v>
                      </c:pt>
                      <c:pt idx="317">
                        <c:v>379.0283</c:v>
                      </c:pt>
                      <c:pt idx="318">
                        <c:v>379.0283</c:v>
                      </c:pt>
                      <c:pt idx="319">
                        <c:v>378.11279999999999</c:v>
                      </c:pt>
                      <c:pt idx="320">
                        <c:v>378.2998035</c:v>
                      </c:pt>
                      <c:pt idx="321">
                        <c:v>378.33097729999997</c:v>
                      </c:pt>
                      <c:pt idx="322">
                        <c:v>378.35437510000003</c:v>
                      </c:pt>
                      <c:pt idx="323">
                        <c:v>378.41666809999998</c:v>
                      </c:pt>
                      <c:pt idx="324">
                        <c:v>378.43229000000002</c:v>
                      </c:pt>
                      <c:pt idx="325">
                        <c:v>378.68900009999999</c:v>
                      </c:pt>
                      <c:pt idx="326">
                        <c:v>378.93094139999999</c:v>
                      </c:pt>
                      <c:pt idx="327">
                        <c:v>378.93871739999997</c:v>
                      </c:pt>
                      <c:pt idx="328">
                        <c:v>378.96989500000001</c:v>
                      </c:pt>
                      <c:pt idx="329">
                        <c:v>379.0867634</c:v>
                      </c:pt>
                      <c:pt idx="330">
                        <c:v>379.21141169999999</c:v>
                      </c:pt>
                      <c:pt idx="331">
                        <c:v>379.23474720000002</c:v>
                      </c:pt>
                      <c:pt idx="332">
                        <c:v>379.49978249999998</c:v>
                      </c:pt>
                      <c:pt idx="333">
                        <c:v>379.59319470000003</c:v>
                      </c:pt>
                      <c:pt idx="334">
                        <c:v>379.71747670000002</c:v>
                      </c:pt>
                      <c:pt idx="335">
                        <c:v>379.73339859999999</c:v>
                      </c:pt>
                      <c:pt idx="336">
                        <c:v>379.74901670000003</c:v>
                      </c:pt>
                      <c:pt idx="337">
                        <c:v>379.94380000000001</c:v>
                      </c:pt>
                      <c:pt idx="338">
                        <c:v>378.11279999999999</c:v>
                      </c:pt>
                      <c:pt idx="339">
                        <c:v>378.05373359999999</c:v>
                      </c:pt>
                      <c:pt idx="340">
                        <c:v>377.91197119999998</c:v>
                      </c:pt>
                      <c:pt idx="341">
                        <c:v>377.87654020000002</c:v>
                      </c:pt>
                      <c:pt idx="342">
                        <c:v>377.7938413</c:v>
                      </c:pt>
                      <c:pt idx="343">
                        <c:v>377.71704019999999</c:v>
                      </c:pt>
                      <c:pt idx="344">
                        <c:v>377.54574459999998</c:v>
                      </c:pt>
                      <c:pt idx="345">
                        <c:v>377.53984689999999</c:v>
                      </c:pt>
                      <c:pt idx="346">
                        <c:v>377.53394909999997</c:v>
                      </c:pt>
                      <c:pt idx="347">
                        <c:v>377.19729999999998</c:v>
                      </c:pt>
                      <c:pt idx="348">
                        <c:v>380.68532149999999</c:v>
                      </c:pt>
                      <c:pt idx="349">
                        <c:v>380.85939999999999</c:v>
                      </c:pt>
                      <c:pt idx="350">
                        <c:v>380.08343489999999</c:v>
                      </c:pt>
                      <c:pt idx="351">
                        <c:v>379.96374100000003</c:v>
                      </c:pt>
                      <c:pt idx="352">
                        <c:v>379.90411799999998</c:v>
                      </c:pt>
                      <c:pt idx="353">
                        <c:v>379.72480109999998</c:v>
                      </c:pt>
                      <c:pt idx="354">
                        <c:v>379.42579030000002</c:v>
                      </c:pt>
                      <c:pt idx="355">
                        <c:v>379.3070219</c:v>
                      </c:pt>
                      <c:pt idx="356">
                        <c:v>378.76859350000001</c:v>
                      </c:pt>
                      <c:pt idx="357">
                        <c:v>378.11279999999999</c:v>
                      </c:pt>
                      <c:pt idx="358">
                        <c:v>378.08446220000002</c:v>
                      </c:pt>
                      <c:pt idx="359">
                        <c:v>377.99959510000002</c:v>
                      </c:pt>
                      <c:pt idx="360">
                        <c:v>377.97125740000001</c:v>
                      </c:pt>
                      <c:pt idx="361">
                        <c:v>377.92407489999999</c:v>
                      </c:pt>
                      <c:pt idx="362">
                        <c:v>377.7919546</c:v>
                      </c:pt>
                      <c:pt idx="363">
                        <c:v>377.74477689999998</c:v>
                      </c:pt>
                      <c:pt idx="364">
                        <c:v>377.67860350000001</c:v>
                      </c:pt>
                      <c:pt idx="365">
                        <c:v>377.66925659999998</c:v>
                      </c:pt>
                      <c:pt idx="366">
                        <c:v>377.65026569999998</c:v>
                      </c:pt>
                      <c:pt idx="367">
                        <c:v>377.61265179999998</c:v>
                      </c:pt>
                      <c:pt idx="368">
                        <c:v>377.48053149999998</c:v>
                      </c:pt>
                      <c:pt idx="369">
                        <c:v>377.43335380000002</c:v>
                      </c:pt>
                      <c:pt idx="370">
                        <c:v>377.19729999999998</c:v>
                      </c:pt>
                      <c:pt idx="371">
                        <c:v>377.29174130000001</c:v>
                      </c:pt>
                      <c:pt idx="372">
                        <c:v>377.30750380000001</c:v>
                      </c:pt>
                      <c:pt idx="373">
                        <c:v>377.90741300000002</c:v>
                      </c:pt>
                      <c:pt idx="374">
                        <c:v>377.93893020000002</c:v>
                      </c:pt>
                      <c:pt idx="375">
                        <c:v>377.97058170000003</c:v>
                      </c:pt>
                      <c:pt idx="376">
                        <c:v>378.11279999999999</c:v>
                      </c:pt>
                      <c:pt idx="377">
                        <c:v>379.0283</c:v>
                      </c:pt>
                      <c:pt idx="378">
                        <c:v>378.92848509999999</c:v>
                      </c:pt>
                      <c:pt idx="379">
                        <c:v>378.72884690000001</c:v>
                      </c:pt>
                      <c:pt idx="380">
                        <c:v>378.59566599999999</c:v>
                      </c:pt>
                      <c:pt idx="381">
                        <c:v>378.56244149999998</c:v>
                      </c:pt>
                      <c:pt idx="382">
                        <c:v>378.32944570000001</c:v>
                      </c:pt>
                      <c:pt idx="383">
                        <c:v>378.11279999999999</c:v>
                      </c:pt>
                      <c:pt idx="384">
                        <c:v>378.11279999999999</c:v>
                      </c:pt>
                      <c:pt idx="385">
                        <c:v>378.11279999999999</c:v>
                      </c:pt>
                      <c:pt idx="386">
                        <c:v>378.11279999999999</c:v>
                      </c:pt>
                      <c:pt idx="387">
                        <c:v>378.11279999999999</c:v>
                      </c:pt>
                      <c:pt idx="388">
                        <c:v>378.11279999999999</c:v>
                      </c:pt>
                      <c:pt idx="389">
                        <c:v>378.11279999999999</c:v>
                      </c:pt>
                      <c:pt idx="390">
                        <c:v>378.11279999999999</c:v>
                      </c:pt>
                      <c:pt idx="391">
                        <c:v>378.11279999999999</c:v>
                      </c:pt>
                      <c:pt idx="392">
                        <c:v>377.88690689999999</c:v>
                      </c:pt>
                      <c:pt idx="393">
                        <c:v>377.87458409999999</c:v>
                      </c:pt>
                      <c:pt idx="394">
                        <c:v>377.83671889999999</c:v>
                      </c:pt>
                      <c:pt idx="395">
                        <c:v>377.72382570000002</c:v>
                      </c:pt>
                      <c:pt idx="396">
                        <c:v>377.67383210000003</c:v>
                      </c:pt>
                      <c:pt idx="397">
                        <c:v>377.66111419999999</c:v>
                      </c:pt>
                      <c:pt idx="398">
                        <c:v>377.64879139999999</c:v>
                      </c:pt>
                      <c:pt idx="399">
                        <c:v>377.3227167</c:v>
                      </c:pt>
                      <c:pt idx="400">
                        <c:v>377.25981710000002</c:v>
                      </c:pt>
                      <c:pt idx="401">
                        <c:v>377.20962909999997</c:v>
                      </c:pt>
                      <c:pt idx="402">
                        <c:v>377.19729999999998</c:v>
                      </c:pt>
                      <c:pt idx="403">
                        <c:v>377.32780559999998</c:v>
                      </c:pt>
                      <c:pt idx="404">
                        <c:v>377.72030280000001</c:v>
                      </c:pt>
                      <c:pt idx="405">
                        <c:v>378.11279999999999</c:v>
                      </c:pt>
                      <c:pt idx="406">
                        <c:v>378.07765719999998</c:v>
                      </c:pt>
                      <c:pt idx="407">
                        <c:v>377.79578409999999</c:v>
                      </c:pt>
                      <c:pt idx="408">
                        <c:v>377.47917310000003</c:v>
                      </c:pt>
                      <c:pt idx="409">
                        <c:v>377.46159729999999</c:v>
                      </c:pt>
                      <c:pt idx="410">
                        <c:v>377.19729999999998</c:v>
                      </c:pt>
                      <c:pt idx="411">
                        <c:v>377.19729999999998</c:v>
                      </c:pt>
                      <c:pt idx="412">
                        <c:v>378.11279999999999</c:v>
                      </c:pt>
                      <c:pt idx="413">
                        <c:v>378.11279999999999</c:v>
                      </c:pt>
                      <c:pt idx="414">
                        <c:v>378.11279999999999</c:v>
                      </c:pt>
                      <c:pt idx="415">
                        <c:v>378.11279999999999</c:v>
                      </c:pt>
                      <c:pt idx="416">
                        <c:v>378.11279999999999</c:v>
                      </c:pt>
                      <c:pt idx="417">
                        <c:v>378.11279999999999</c:v>
                      </c:pt>
                      <c:pt idx="418">
                        <c:v>378.11279999999999</c:v>
                      </c:pt>
                      <c:pt idx="419">
                        <c:v>378.11279999999999</c:v>
                      </c:pt>
                      <c:pt idx="420">
                        <c:v>377.55344680000002</c:v>
                      </c:pt>
                      <c:pt idx="421">
                        <c:v>376.2817</c:v>
                      </c:pt>
                      <c:pt idx="422">
                        <c:v>379.94380000000001</c:v>
                      </c:pt>
                      <c:pt idx="423">
                        <c:v>376.2817</c:v>
                      </c:pt>
                      <c:pt idx="424">
                        <c:v>376.5678451</c:v>
                      </c:pt>
                      <c:pt idx="425">
                        <c:v>377.25439319999998</c:v>
                      </c:pt>
                      <c:pt idx="426">
                        <c:v>377.36865089999998</c:v>
                      </c:pt>
                      <c:pt idx="427">
                        <c:v>378.11279999999999</c:v>
                      </c:pt>
                      <c:pt idx="428">
                        <c:v>378.11279999999999</c:v>
                      </c:pt>
                      <c:pt idx="429">
                        <c:v>378.11279999999999</c:v>
                      </c:pt>
                      <c:pt idx="430">
                        <c:v>378.11279999999999</c:v>
                      </c:pt>
                      <c:pt idx="431">
                        <c:v>377.4452948</c:v>
                      </c:pt>
                      <c:pt idx="432">
                        <c:v>377.27361710000002</c:v>
                      </c:pt>
                      <c:pt idx="433">
                        <c:v>377.19729999999998</c:v>
                      </c:pt>
                      <c:pt idx="434">
                        <c:v>378.11279999999999</c:v>
                      </c:pt>
                      <c:pt idx="435">
                        <c:v>378.11279999999999</c:v>
                      </c:pt>
                      <c:pt idx="436">
                        <c:v>378.11279999999999</c:v>
                      </c:pt>
                      <c:pt idx="437">
                        <c:v>378.11279999999999</c:v>
                      </c:pt>
                      <c:pt idx="438">
                        <c:v>378.11279999999999</c:v>
                      </c:pt>
                      <c:pt idx="439">
                        <c:v>378.11279999999999</c:v>
                      </c:pt>
                      <c:pt idx="440">
                        <c:v>378.11279999999999</c:v>
                      </c:pt>
                      <c:pt idx="441">
                        <c:v>378.11279999999999</c:v>
                      </c:pt>
                      <c:pt idx="442">
                        <c:v>378.11279999999999</c:v>
                      </c:pt>
                      <c:pt idx="443">
                        <c:v>378.11279999999999</c:v>
                      </c:pt>
                      <c:pt idx="444">
                        <c:v>378.11279999999999</c:v>
                      </c:pt>
                      <c:pt idx="445">
                        <c:v>378.11279999999999</c:v>
                      </c:pt>
                      <c:pt idx="446">
                        <c:v>378.11279999999999</c:v>
                      </c:pt>
                      <c:pt idx="447">
                        <c:v>378.11279999999999</c:v>
                      </c:pt>
                      <c:pt idx="448">
                        <c:v>378.11279999999999</c:v>
                      </c:pt>
                      <c:pt idx="449">
                        <c:v>377.89735810000002</c:v>
                      </c:pt>
                      <c:pt idx="450">
                        <c:v>377.8436256</c:v>
                      </c:pt>
                      <c:pt idx="451">
                        <c:v>377.78943529999998</c:v>
                      </c:pt>
                      <c:pt idx="452">
                        <c:v>377.19729999999998</c:v>
                      </c:pt>
                      <c:pt idx="453">
                        <c:v>377.40823740000002</c:v>
                      </c:pt>
                      <c:pt idx="454">
                        <c:v>378.67615080000002</c:v>
                      </c:pt>
                      <c:pt idx="455">
                        <c:v>379.0283</c:v>
                      </c:pt>
                      <c:pt idx="456">
                        <c:v>378.11279999999999</c:v>
                      </c:pt>
                      <c:pt idx="457">
                        <c:v>378.11279999999999</c:v>
                      </c:pt>
                      <c:pt idx="458">
                        <c:v>378.11279999999999</c:v>
                      </c:pt>
                      <c:pt idx="459">
                        <c:v>378.11279999999999</c:v>
                      </c:pt>
                      <c:pt idx="460">
                        <c:v>378.11279999999999</c:v>
                      </c:pt>
                      <c:pt idx="461">
                        <c:v>378.11279999999999</c:v>
                      </c:pt>
                      <c:pt idx="462">
                        <c:v>378.11279999999999</c:v>
                      </c:pt>
                      <c:pt idx="463">
                        <c:v>378.11279999999999</c:v>
                      </c:pt>
                      <c:pt idx="464">
                        <c:v>378.11279999999999</c:v>
                      </c:pt>
                      <c:pt idx="465">
                        <c:v>378.11279999999999</c:v>
                      </c:pt>
                      <c:pt idx="466">
                        <c:v>378.11279999999999</c:v>
                      </c:pt>
                      <c:pt idx="467">
                        <c:v>378.11279999999999</c:v>
                      </c:pt>
                      <c:pt idx="468">
                        <c:v>378.11279999999999</c:v>
                      </c:pt>
                      <c:pt idx="469">
                        <c:v>378.11279999999999</c:v>
                      </c:pt>
                      <c:pt idx="470">
                        <c:v>378.11279999999999</c:v>
                      </c:pt>
                      <c:pt idx="471">
                        <c:v>378.11279999999999</c:v>
                      </c:pt>
                      <c:pt idx="472">
                        <c:v>378.11279999999999</c:v>
                      </c:pt>
                      <c:pt idx="473">
                        <c:v>378.11279999999999</c:v>
                      </c:pt>
                      <c:pt idx="474">
                        <c:v>378.11279999999999</c:v>
                      </c:pt>
                      <c:pt idx="475">
                        <c:v>378.11279999999999</c:v>
                      </c:pt>
                      <c:pt idx="476">
                        <c:v>378.11279999999999</c:v>
                      </c:pt>
                      <c:pt idx="477">
                        <c:v>378.11279999999999</c:v>
                      </c:pt>
                      <c:pt idx="478">
                        <c:v>378.11279999999999</c:v>
                      </c:pt>
                      <c:pt idx="479">
                        <c:v>378.11279999999999</c:v>
                      </c:pt>
                      <c:pt idx="480">
                        <c:v>378.11279999999999</c:v>
                      </c:pt>
                      <c:pt idx="481">
                        <c:v>378.73523089999998</c:v>
                      </c:pt>
                      <c:pt idx="482">
                        <c:v>379.13864239999998</c:v>
                      </c:pt>
                      <c:pt idx="483">
                        <c:v>379.21146590000001</c:v>
                      </c:pt>
                      <c:pt idx="484">
                        <c:v>379.32138739999999</c:v>
                      </c:pt>
                      <c:pt idx="485">
                        <c:v>379.50524869999998</c:v>
                      </c:pt>
                      <c:pt idx="486">
                        <c:v>379.687408</c:v>
                      </c:pt>
                      <c:pt idx="487">
                        <c:v>379.8333111</c:v>
                      </c:pt>
                      <c:pt idx="488">
                        <c:v>379.87126940000002</c:v>
                      </c:pt>
                      <c:pt idx="489">
                        <c:v>379.94380000000001</c:v>
                      </c:pt>
                      <c:pt idx="490">
                        <c:v>376.2817</c:v>
                      </c:pt>
                      <c:pt idx="491">
                        <c:v>377.72693550000002</c:v>
                      </c:pt>
                      <c:pt idx="492">
                        <c:v>378.11279999999999</c:v>
                      </c:pt>
                      <c:pt idx="493">
                        <c:v>378.11279999999999</c:v>
                      </c:pt>
                      <c:pt idx="494">
                        <c:v>378.11279999999999</c:v>
                      </c:pt>
                      <c:pt idx="495">
                        <c:v>378.11279999999999</c:v>
                      </c:pt>
                      <c:pt idx="496">
                        <c:v>380.85939999999999</c:v>
                      </c:pt>
                      <c:pt idx="497">
                        <c:v>376.2817</c:v>
                      </c:pt>
                      <c:pt idx="498">
                        <c:v>376.34838350000001</c:v>
                      </c:pt>
                      <c:pt idx="499">
                        <c:v>377.16269610000001</c:v>
                      </c:pt>
                      <c:pt idx="500">
                        <c:v>377.29711459999999</c:v>
                      </c:pt>
                      <c:pt idx="501">
                        <c:v>377.63626449999998</c:v>
                      </c:pt>
                      <c:pt idx="502">
                        <c:v>378.86014160000002</c:v>
                      </c:pt>
                      <c:pt idx="503">
                        <c:v>379.3326586</c:v>
                      </c:pt>
                      <c:pt idx="504">
                        <c:v>379.94380000000001</c:v>
                      </c:pt>
                      <c:pt idx="505">
                        <c:v>379.35583279999997</c:v>
                      </c:pt>
                      <c:pt idx="506">
                        <c:v>379.08531729999999</c:v>
                      </c:pt>
                      <c:pt idx="507">
                        <c:v>379.03876550000001</c:v>
                      </c:pt>
                      <c:pt idx="508">
                        <c:v>378.85852729999999</c:v>
                      </c:pt>
                      <c:pt idx="509">
                        <c:v>378.7227383</c:v>
                      </c:pt>
                      <c:pt idx="510">
                        <c:v>378.00004460000002</c:v>
                      </c:pt>
                      <c:pt idx="511">
                        <c:v>377.86461730000002</c:v>
                      </c:pt>
                      <c:pt idx="512">
                        <c:v>377.54682650000001</c:v>
                      </c:pt>
                      <c:pt idx="513">
                        <c:v>377.32180010000002</c:v>
                      </c:pt>
                      <c:pt idx="514">
                        <c:v>376.2817</c:v>
                      </c:pt>
                      <c:pt idx="515">
                        <c:v>378.89082810000002</c:v>
                      </c:pt>
                      <c:pt idx="516">
                        <c:v>378.98295669999999</c:v>
                      </c:pt>
                      <c:pt idx="517">
                        <c:v>379.0283</c:v>
                      </c:pt>
                      <c:pt idx="518">
                        <c:v>379.13552149999998</c:v>
                      </c:pt>
                      <c:pt idx="519">
                        <c:v>379.22033690000001</c:v>
                      </c:pt>
                      <c:pt idx="520">
                        <c:v>379.28439530000003</c:v>
                      </c:pt>
                      <c:pt idx="521">
                        <c:v>379.70995119999998</c:v>
                      </c:pt>
                      <c:pt idx="522">
                        <c:v>379.79509639999998</c:v>
                      </c:pt>
                      <c:pt idx="523">
                        <c:v>379.85899519999998</c:v>
                      </c:pt>
                      <c:pt idx="524">
                        <c:v>379.94380000000001</c:v>
                      </c:pt>
                      <c:pt idx="525">
                        <c:v>378.74688759999998</c:v>
                      </c:pt>
                      <c:pt idx="526">
                        <c:v>378.11279999999999</c:v>
                      </c:pt>
                      <c:pt idx="527">
                        <c:v>378.11279999999999</c:v>
                      </c:pt>
                      <c:pt idx="528">
                        <c:v>378.11279999999999</c:v>
                      </c:pt>
                      <c:pt idx="529">
                        <c:v>378.11279999999999</c:v>
                      </c:pt>
                      <c:pt idx="530">
                        <c:v>378.11279999999999</c:v>
                      </c:pt>
                      <c:pt idx="531">
                        <c:v>378.11279999999999</c:v>
                      </c:pt>
                      <c:pt idx="532">
                        <c:v>378.11279999999999</c:v>
                      </c:pt>
                      <c:pt idx="533">
                        <c:v>377.19729999999998</c:v>
                      </c:pt>
                      <c:pt idx="534">
                        <c:v>378.11279999999999</c:v>
                      </c:pt>
                      <c:pt idx="535">
                        <c:v>378.11279999999999</c:v>
                      </c:pt>
                      <c:pt idx="536">
                        <c:v>378.11279999999999</c:v>
                      </c:pt>
                      <c:pt idx="537">
                        <c:v>378.11279999999999</c:v>
                      </c:pt>
                      <c:pt idx="538">
                        <c:v>378.11279999999999</c:v>
                      </c:pt>
                      <c:pt idx="539">
                        <c:v>378.11279999999999</c:v>
                      </c:pt>
                      <c:pt idx="540">
                        <c:v>378.11279999999999</c:v>
                      </c:pt>
                      <c:pt idx="541">
                        <c:v>378.11279999999999</c:v>
                      </c:pt>
                      <c:pt idx="542">
                        <c:v>378.11279999999999</c:v>
                      </c:pt>
                      <c:pt idx="543">
                        <c:v>378.11279999999999</c:v>
                      </c:pt>
                      <c:pt idx="544">
                        <c:v>378.11279999999999</c:v>
                      </c:pt>
                      <c:pt idx="545">
                        <c:v>380.25873960000001</c:v>
                      </c:pt>
                      <c:pt idx="546">
                        <c:v>380.85939999999999</c:v>
                      </c:pt>
                      <c:pt idx="547">
                        <c:v>377.19729999999998</c:v>
                      </c:pt>
                      <c:pt idx="548">
                        <c:v>377.29034789999997</c:v>
                      </c:pt>
                      <c:pt idx="549">
                        <c:v>377.38860460000001</c:v>
                      </c:pt>
                      <c:pt idx="550">
                        <c:v>377.76681009999999</c:v>
                      </c:pt>
                      <c:pt idx="551">
                        <c:v>378.52180049999998</c:v>
                      </c:pt>
                      <c:pt idx="552">
                        <c:v>379.8514624</c:v>
                      </c:pt>
                      <c:pt idx="553">
                        <c:v>379.94380000000001</c:v>
                      </c:pt>
                      <c:pt idx="554">
                        <c:v>379.87142640000002</c:v>
                      </c:pt>
                      <c:pt idx="555">
                        <c:v>379.73684250000002</c:v>
                      </c:pt>
                      <c:pt idx="556">
                        <c:v>379.72659659999999</c:v>
                      </c:pt>
                      <c:pt idx="557">
                        <c:v>379.7057787</c:v>
                      </c:pt>
                      <c:pt idx="558">
                        <c:v>379.59225570000001</c:v>
                      </c:pt>
                      <c:pt idx="559">
                        <c:v>379.5711948</c:v>
                      </c:pt>
                      <c:pt idx="560">
                        <c:v>379.55078049999997</c:v>
                      </c:pt>
                      <c:pt idx="561">
                        <c:v>379.50954830000001</c:v>
                      </c:pt>
                      <c:pt idx="562">
                        <c:v>379.43669369999998</c:v>
                      </c:pt>
                      <c:pt idx="563">
                        <c:v>379.41611899999998</c:v>
                      </c:pt>
                      <c:pt idx="564">
                        <c:v>379.29185860000001</c:v>
                      </c:pt>
                      <c:pt idx="565">
                        <c:v>379.28145230000001</c:v>
                      </c:pt>
                      <c:pt idx="566">
                        <c:v>379.09531270000002</c:v>
                      </c:pt>
                      <c:pt idx="567">
                        <c:v>379.0540805</c:v>
                      </c:pt>
                      <c:pt idx="568">
                        <c:v>379.0439121</c:v>
                      </c:pt>
                      <c:pt idx="569">
                        <c:v>378.22656610000001</c:v>
                      </c:pt>
                      <c:pt idx="570">
                        <c:v>378.12296839999999</c:v>
                      </c:pt>
                      <c:pt idx="571">
                        <c:v>378.11279999999999</c:v>
                      </c:pt>
                      <c:pt idx="572">
                        <c:v>378.11279999999999</c:v>
                      </c:pt>
                      <c:pt idx="573">
                        <c:v>378.11279999999999</c:v>
                      </c:pt>
                      <c:pt idx="574">
                        <c:v>378.11279999999999</c:v>
                      </c:pt>
                      <c:pt idx="575">
                        <c:v>378.11279999999999</c:v>
                      </c:pt>
                      <c:pt idx="576">
                        <c:v>378.11279999999999</c:v>
                      </c:pt>
                      <c:pt idx="577">
                        <c:v>378.11279999999999</c:v>
                      </c:pt>
                      <c:pt idx="578">
                        <c:v>378.11279999999999</c:v>
                      </c:pt>
                      <c:pt idx="579">
                        <c:v>376.2817</c:v>
                      </c:pt>
                      <c:pt idx="580">
                        <c:v>379.94380000000001</c:v>
                      </c:pt>
                      <c:pt idx="581">
                        <c:v>378.6304586</c:v>
                      </c:pt>
                      <c:pt idx="582">
                        <c:v>378.40063609999999</c:v>
                      </c:pt>
                      <c:pt idx="583">
                        <c:v>378.1717003</c:v>
                      </c:pt>
                      <c:pt idx="584">
                        <c:v>378.11279999999999</c:v>
                      </c:pt>
                      <c:pt idx="585">
                        <c:v>378.40846979999998</c:v>
                      </c:pt>
                      <c:pt idx="586">
                        <c:v>378.43600400000003</c:v>
                      </c:pt>
                      <c:pt idx="587">
                        <c:v>378.57028059999999</c:v>
                      </c:pt>
                      <c:pt idx="588">
                        <c:v>378.59676409999997</c:v>
                      </c:pt>
                      <c:pt idx="589">
                        <c:v>378.65140150000002</c:v>
                      </c:pt>
                      <c:pt idx="590">
                        <c:v>378.73252250000002</c:v>
                      </c:pt>
                      <c:pt idx="591">
                        <c:v>378.84011340000001</c:v>
                      </c:pt>
                      <c:pt idx="592">
                        <c:v>379.35118069999999</c:v>
                      </c:pt>
                      <c:pt idx="593">
                        <c:v>379.94380000000001</c:v>
                      </c:pt>
                      <c:pt idx="594">
                        <c:v>378.11279999999999</c:v>
                      </c:pt>
                      <c:pt idx="595">
                        <c:v>378.11279999999999</c:v>
                      </c:pt>
                      <c:pt idx="596">
                        <c:v>378.11279999999999</c:v>
                      </c:pt>
                      <c:pt idx="597">
                        <c:v>378.11279999999999</c:v>
                      </c:pt>
                      <c:pt idx="598">
                        <c:v>378.11279999999999</c:v>
                      </c:pt>
                      <c:pt idx="599">
                        <c:v>378.11279999999999</c:v>
                      </c:pt>
                      <c:pt idx="600">
                        <c:v>378.23478319999998</c:v>
                      </c:pt>
                      <c:pt idx="601">
                        <c:v>378.35484220000001</c:v>
                      </c:pt>
                      <c:pt idx="602">
                        <c:v>379.02807089999999</c:v>
                      </c:pt>
                      <c:pt idx="603">
                        <c:v>379.08906250000001</c:v>
                      </c:pt>
                      <c:pt idx="604">
                        <c:v>379.3348919</c:v>
                      </c:pt>
                      <c:pt idx="605">
                        <c:v>379.94380000000001</c:v>
                      </c:pt>
                      <c:pt idx="606">
                        <c:v>376.2817</c:v>
                      </c:pt>
                      <c:pt idx="607">
                        <c:v>379.0283</c:v>
                      </c:pt>
                      <c:pt idx="608">
                        <c:v>378.8001021</c:v>
                      </c:pt>
                      <c:pt idx="609">
                        <c:v>378.76142379999999</c:v>
                      </c:pt>
                      <c:pt idx="610">
                        <c:v>378.11279999999999</c:v>
                      </c:pt>
                      <c:pt idx="611">
                        <c:v>378.11279999999999</c:v>
                      </c:pt>
                      <c:pt idx="612">
                        <c:v>379.94380000000001</c:v>
                      </c:pt>
                      <c:pt idx="613">
                        <c:v>376.2817</c:v>
                      </c:pt>
                      <c:pt idx="614">
                        <c:v>380.85939999999999</c:v>
                      </c:pt>
                      <c:pt idx="615">
                        <c:v>377.19729999999998</c:v>
                      </c:pt>
                      <c:pt idx="616">
                        <c:v>377.19729999999998</c:v>
                      </c:pt>
                      <c:pt idx="617">
                        <c:v>377.19729999999998</c:v>
                      </c:pt>
                      <c:pt idx="618">
                        <c:v>377.19729999999998</c:v>
                      </c:pt>
                      <c:pt idx="619">
                        <c:v>377.19729999999998</c:v>
                      </c:pt>
                      <c:pt idx="620">
                        <c:v>377.9788355</c:v>
                      </c:pt>
                      <c:pt idx="621">
                        <c:v>379.0283</c:v>
                      </c:pt>
                      <c:pt idx="622">
                        <c:v>378.25567160000003</c:v>
                      </c:pt>
                      <c:pt idx="623">
                        <c:v>378.22743070000001</c:v>
                      </c:pt>
                      <c:pt idx="624">
                        <c:v>378.21269849999999</c:v>
                      </c:pt>
                      <c:pt idx="625">
                        <c:v>378.11279999999999</c:v>
                      </c:pt>
                      <c:pt idx="626">
                        <c:v>378.11279999999999</c:v>
                      </c:pt>
                      <c:pt idx="627">
                        <c:v>378.11279999999999</c:v>
                      </c:pt>
                      <c:pt idx="628">
                        <c:v>378.11279999999999</c:v>
                      </c:pt>
                      <c:pt idx="629">
                        <c:v>378.11279999999999</c:v>
                      </c:pt>
                      <c:pt idx="630">
                        <c:v>378.11279999999999</c:v>
                      </c:pt>
                      <c:pt idx="631">
                        <c:v>378.11279999999999</c:v>
                      </c:pt>
                      <c:pt idx="632">
                        <c:v>378.11279999999999</c:v>
                      </c:pt>
                      <c:pt idx="633">
                        <c:v>378.11279999999999</c:v>
                      </c:pt>
                      <c:pt idx="634">
                        <c:v>378.11279999999999</c:v>
                      </c:pt>
                      <c:pt idx="635">
                        <c:v>378.11279999999999</c:v>
                      </c:pt>
                      <c:pt idx="636">
                        <c:v>378.34735439999997</c:v>
                      </c:pt>
                      <c:pt idx="637">
                        <c:v>378.44153799999998</c:v>
                      </c:pt>
                      <c:pt idx="638">
                        <c:v>378.534265</c:v>
                      </c:pt>
                      <c:pt idx="639">
                        <c:v>378.86704379999998</c:v>
                      </c:pt>
                      <c:pt idx="640">
                        <c:v>379.14630549999998</c:v>
                      </c:pt>
                      <c:pt idx="641">
                        <c:v>379.47798010000002</c:v>
                      </c:pt>
                      <c:pt idx="642">
                        <c:v>379.80270080000003</c:v>
                      </c:pt>
                      <c:pt idx="643">
                        <c:v>379.89798860000002</c:v>
                      </c:pt>
                      <c:pt idx="644">
                        <c:v>379.94380000000001</c:v>
                      </c:pt>
                      <c:pt idx="645">
                        <c:v>379.91548089999998</c:v>
                      </c:pt>
                      <c:pt idx="646">
                        <c:v>378.68828600000001</c:v>
                      </c:pt>
                      <c:pt idx="647">
                        <c:v>378.35977029999998</c:v>
                      </c:pt>
                      <c:pt idx="648">
                        <c:v>378.30505629999999</c:v>
                      </c:pt>
                      <c:pt idx="649">
                        <c:v>378.11279999999999</c:v>
                      </c:pt>
                      <c:pt idx="650">
                        <c:v>378.11279999999999</c:v>
                      </c:pt>
                      <c:pt idx="651">
                        <c:v>378.82112860000001</c:v>
                      </c:pt>
                      <c:pt idx="652">
                        <c:v>378.93260429999998</c:v>
                      </c:pt>
                      <c:pt idx="653">
                        <c:v>378.94117110000002</c:v>
                      </c:pt>
                      <c:pt idx="654">
                        <c:v>379.0283</c:v>
                      </c:pt>
                      <c:pt idx="655">
                        <c:v>378.98038330000003</c:v>
                      </c:pt>
                      <c:pt idx="656">
                        <c:v>378.95623230000001</c:v>
                      </c:pt>
                      <c:pt idx="657">
                        <c:v>378.11279999999999</c:v>
                      </c:pt>
                      <c:pt idx="658">
                        <c:v>378.11279999999999</c:v>
                      </c:pt>
                      <c:pt idx="659">
                        <c:v>381.7749</c:v>
                      </c:pt>
                      <c:pt idx="660">
                        <c:v>378.11279999999999</c:v>
                      </c:pt>
                      <c:pt idx="661">
                        <c:v>379.0283</c:v>
                      </c:pt>
                      <c:pt idx="662">
                        <c:v>378.97945340000001</c:v>
                      </c:pt>
                      <c:pt idx="663">
                        <c:v>378.5928116</c:v>
                      </c:pt>
                      <c:pt idx="664">
                        <c:v>378.42410059999997</c:v>
                      </c:pt>
                      <c:pt idx="665">
                        <c:v>378.32904489999999</c:v>
                      </c:pt>
                      <c:pt idx="666">
                        <c:v>378.11279999999999</c:v>
                      </c:pt>
                      <c:pt idx="667">
                        <c:v>378.15003059999998</c:v>
                      </c:pt>
                      <c:pt idx="668">
                        <c:v>378.17506229999998</c:v>
                      </c:pt>
                      <c:pt idx="669">
                        <c:v>378.18697370000001</c:v>
                      </c:pt>
                      <c:pt idx="670">
                        <c:v>378.3291476</c:v>
                      </c:pt>
                      <c:pt idx="671">
                        <c:v>378.36628239999999</c:v>
                      </c:pt>
                      <c:pt idx="672">
                        <c:v>378.39145619999999</c:v>
                      </c:pt>
                      <c:pt idx="673">
                        <c:v>378.71867950000001</c:v>
                      </c:pt>
                      <c:pt idx="674">
                        <c:v>378.72499850000003</c:v>
                      </c:pt>
                      <c:pt idx="675">
                        <c:v>378.73116909999999</c:v>
                      </c:pt>
                      <c:pt idx="676">
                        <c:v>378.79299859999998</c:v>
                      </c:pt>
                      <c:pt idx="677">
                        <c:v>378.80544179999998</c:v>
                      </c:pt>
                      <c:pt idx="678">
                        <c:v>378.82429669999999</c:v>
                      </c:pt>
                      <c:pt idx="679">
                        <c:v>378.84855549999997</c:v>
                      </c:pt>
                      <c:pt idx="680">
                        <c:v>378.96647050000001</c:v>
                      </c:pt>
                      <c:pt idx="681">
                        <c:v>379.0032683</c:v>
                      </c:pt>
                      <c:pt idx="682">
                        <c:v>379.01556620000002</c:v>
                      </c:pt>
                      <c:pt idx="683">
                        <c:v>379.0283</c:v>
                      </c:pt>
                      <c:pt idx="684">
                        <c:v>378.54089679999998</c:v>
                      </c:pt>
                      <c:pt idx="685">
                        <c:v>376.2817</c:v>
                      </c:pt>
                      <c:pt idx="686">
                        <c:v>379.94380000000001</c:v>
                      </c:pt>
                      <c:pt idx="687">
                        <c:v>379.94380000000001</c:v>
                      </c:pt>
                      <c:pt idx="688">
                        <c:v>376.2817</c:v>
                      </c:pt>
                      <c:pt idx="689">
                        <c:v>376.61654340000001</c:v>
                      </c:pt>
                      <c:pt idx="690">
                        <c:v>379.0283</c:v>
                      </c:pt>
                      <c:pt idx="691">
                        <c:v>379.0283</c:v>
                      </c:pt>
                      <c:pt idx="692">
                        <c:v>379.0283</c:v>
                      </c:pt>
                      <c:pt idx="693">
                        <c:v>379.0283</c:v>
                      </c:pt>
                      <c:pt idx="694">
                        <c:v>379.0283</c:v>
                      </c:pt>
                      <c:pt idx="695">
                        <c:v>379.0283</c:v>
                      </c:pt>
                      <c:pt idx="696">
                        <c:v>379.0283</c:v>
                      </c:pt>
                      <c:pt idx="697">
                        <c:v>379.0283</c:v>
                      </c:pt>
                      <c:pt idx="698">
                        <c:v>379.0283</c:v>
                      </c:pt>
                      <c:pt idx="699">
                        <c:v>379.0283</c:v>
                      </c:pt>
                      <c:pt idx="700">
                        <c:v>379.0283</c:v>
                      </c:pt>
                      <c:pt idx="701">
                        <c:v>379.0283</c:v>
                      </c:pt>
                      <c:pt idx="702">
                        <c:v>379.0283</c:v>
                      </c:pt>
                      <c:pt idx="703">
                        <c:v>379.0283</c:v>
                      </c:pt>
                      <c:pt idx="704">
                        <c:v>379.0283</c:v>
                      </c:pt>
                      <c:pt idx="705">
                        <c:v>379.0283</c:v>
                      </c:pt>
                      <c:pt idx="706">
                        <c:v>379.0283</c:v>
                      </c:pt>
                      <c:pt idx="707">
                        <c:v>379.0283</c:v>
                      </c:pt>
                      <c:pt idx="708">
                        <c:v>379.0283</c:v>
                      </c:pt>
                      <c:pt idx="709">
                        <c:v>379.0283</c:v>
                      </c:pt>
                      <c:pt idx="710">
                        <c:v>379.0283</c:v>
                      </c:pt>
                      <c:pt idx="711">
                        <c:v>379.0283</c:v>
                      </c:pt>
                      <c:pt idx="712">
                        <c:v>379.0283</c:v>
                      </c:pt>
                      <c:pt idx="713">
                        <c:v>379.0283</c:v>
                      </c:pt>
                      <c:pt idx="714">
                        <c:v>379.0283</c:v>
                      </c:pt>
                      <c:pt idx="715">
                        <c:v>379.0283</c:v>
                      </c:pt>
                      <c:pt idx="716">
                        <c:v>379.0283</c:v>
                      </c:pt>
                      <c:pt idx="717">
                        <c:v>378.97785770000002</c:v>
                      </c:pt>
                      <c:pt idx="718">
                        <c:v>378.94431759999998</c:v>
                      </c:pt>
                      <c:pt idx="719">
                        <c:v>378.65875899999998</c:v>
                      </c:pt>
                      <c:pt idx="720">
                        <c:v>378.65050730000002</c:v>
                      </c:pt>
                      <c:pt idx="721">
                        <c:v>378.64146620000002</c:v>
                      </c:pt>
                      <c:pt idx="722">
                        <c:v>378.52433430000002</c:v>
                      </c:pt>
                      <c:pt idx="723">
                        <c:v>378.51607840000003</c:v>
                      </c:pt>
                      <c:pt idx="724">
                        <c:v>378.50703720000001</c:v>
                      </c:pt>
                      <c:pt idx="725">
                        <c:v>378.42305490000001</c:v>
                      </c:pt>
                      <c:pt idx="726">
                        <c:v>378.40687480000003</c:v>
                      </c:pt>
                      <c:pt idx="727">
                        <c:v>378.35590760000002</c:v>
                      </c:pt>
                      <c:pt idx="728">
                        <c:v>378.16317520000001</c:v>
                      </c:pt>
                      <c:pt idx="729">
                        <c:v>378.11279999999999</c:v>
                      </c:pt>
                      <c:pt idx="730">
                        <c:v>378.11279999999999</c:v>
                      </c:pt>
                      <c:pt idx="731">
                        <c:v>378.11279999999999</c:v>
                      </c:pt>
                      <c:pt idx="732">
                        <c:v>378.11279999999999</c:v>
                      </c:pt>
                      <c:pt idx="733">
                        <c:v>378.11279999999999</c:v>
                      </c:pt>
                      <c:pt idx="734">
                        <c:v>378.11279999999999</c:v>
                      </c:pt>
                      <c:pt idx="735">
                        <c:v>378.11279999999999</c:v>
                      </c:pt>
                      <c:pt idx="736">
                        <c:v>378.11279999999999</c:v>
                      </c:pt>
                      <c:pt idx="737">
                        <c:v>378.11279999999999</c:v>
                      </c:pt>
                      <c:pt idx="738">
                        <c:v>378.11279999999999</c:v>
                      </c:pt>
                      <c:pt idx="739">
                        <c:v>378.11279999999999</c:v>
                      </c:pt>
                      <c:pt idx="740">
                        <c:v>378.11279999999999</c:v>
                      </c:pt>
                      <c:pt idx="741">
                        <c:v>378.11279999999999</c:v>
                      </c:pt>
                      <c:pt idx="742">
                        <c:v>378.11279999999999</c:v>
                      </c:pt>
                      <c:pt idx="743">
                        <c:v>378.11279999999999</c:v>
                      </c:pt>
                      <c:pt idx="744">
                        <c:v>378.5035335</c:v>
                      </c:pt>
                      <c:pt idx="745">
                        <c:v>378.55616320000001</c:v>
                      </c:pt>
                      <c:pt idx="746">
                        <c:v>378.63594469999998</c:v>
                      </c:pt>
                      <c:pt idx="747">
                        <c:v>378.71428759999998</c:v>
                      </c:pt>
                      <c:pt idx="748">
                        <c:v>378.7646939</c:v>
                      </c:pt>
                      <c:pt idx="749">
                        <c:v>378.97402240000002</c:v>
                      </c:pt>
                      <c:pt idx="750">
                        <c:v>379.00054649999998</c:v>
                      </c:pt>
                      <c:pt idx="751">
                        <c:v>379.0283</c:v>
                      </c:pt>
                      <c:pt idx="752">
                        <c:v>378.11279999999999</c:v>
                      </c:pt>
                      <c:pt idx="753">
                        <c:v>380.85939999999999</c:v>
                      </c:pt>
                      <c:pt idx="754">
                        <c:v>379.0283</c:v>
                      </c:pt>
                      <c:pt idx="755">
                        <c:v>377.98882400000002</c:v>
                      </c:pt>
                      <c:pt idx="756">
                        <c:v>377.3278148</c:v>
                      </c:pt>
                      <c:pt idx="757">
                        <c:v>377.19729999999998</c:v>
                      </c:pt>
                      <c:pt idx="758">
                        <c:v>377.72402240000002</c:v>
                      </c:pt>
                      <c:pt idx="759">
                        <c:v>378.2362382</c:v>
                      </c:pt>
                      <c:pt idx="760">
                        <c:v>378.77944539999999</c:v>
                      </c:pt>
                      <c:pt idx="761">
                        <c:v>379.0283</c:v>
                      </c:pt>
                      <c:pt idx="762">
                        <c:v>379.04664559999998</c:v>
                      </c:pt>
                      <c:pt idx="763">
                        <c:v>379.79313430000002</c:v>
                      </c:pt>
                      <c:pt idx="764">
                        <c:v>379.83185980000002</c:v>
                      </c:pt>
                      <c:pt idx="765">
                        <c:v>379.94380000000001</c:v>
                      </c:pt>
                      <c:pt idx="766">
                        <c:v>376.2817</c:v>
                      </c:pt>
                      <c:pt idx="767">
                        <c:v>379.0283</c:v>
                      </c:pt>
                      <c:pt idx="768">
                        <c:v>378.6274186</c:v>
                      </c:pt>
                      <c:pt idx="769">
                        <c:v>378.60334269999998</c:v>
                      </c:pt>
                      <c:pt idx="770">
                        <c:v>378.11279999999999</c:v>
                      </c:pt>
                      <c:pt idx="771">
                        <c:v>378.11279999999999</c:v>
                      </c:pt>
                      <c:pt idx="772">
                        <c:v>378.11279999999999</c:v>
                      </c:pt>
                      <c:pt idx="773">
                        <c:v>378.11279999999999</c:v>
                      </c:pt>
                      <c:pt idx="774">
                        <c:v>378.11279999999999</c:v>
                      </c:pt>
                      <c:pt idx="775">
                        <c:v>378.11279999999999</c:v>
                      </c:pt>
                      <c:pt idx="776">
                        <c:v>378.11279999999999</c:v>
                      </c:pt>
                      <c:pt idx="777">
                        <c:v>378.11279999999999</c:v>
                      </c:pt>
                      <c:pt idx="778">
                        <c:v>378.11279999999999</c:v>
                      </c:pt>
                      <c:pt idx="779">
                        <c:v>378.11279999999999</c:v>
                      </c:pt>
                      <c:pt idx="780">
                        <c:v>378.11279999999999</c:v>
                      </c:pt>
                      <c:pt idx="781">
                        <c:v>378.11279999999999</c:v>
                      </c:pt>
                      <c:pt idx="782">
                        <c:v>378.11279999999999</c:v>
                      </c:pt>
                      <c:pt idx="783">
                        <c:v>378.11279999999999</c:v>
                      </c:pt>
                      <c:pt idx="784">
                        <c:v>378.11279999999999</c:v>
                      </c:pt>
                      <c:pt idx="785">
                        <c:v>378.11279999999999</c:v>
                      </c:pt>
                      <c:pt idx="786">
                        <c:v>378.11279999999999</c:v>
                      </c:pt>
                      <c:pt idx="787">
                        <c:v>378.11279999999999</c:v>
                      </c:pt>
                      <c:pt idx="788">
                        <c:v>378.11279999999999</c:v>
                      </c:pt>
                      <c:pt idx="789">
                        <c:v>378.11279999999999</c:v>
                      </c:pt>
                      <c:pt idx="790">
                        <c:v>378.11279999999999</c:v>
                      </c:pt>
                      <c:pt idx="791">
                        <c:v>378.11279999999999</c:v>
                      </c:pt>
                      <c:pt idx="792">
                        <c:v>378.11279999999999</c:v>
                      </c:pt>
                      <c:pt idx="793">
                        <c:v>378.11279999999999</c:v>
                      </c:pt>
                      <c:pt idx="794">
                        <c:v>378.11279999999999</c:v>
                      </c:pt>
                      <c:pt idx="795">
                        <c:v>378.11279999999999</c:v>
                      </c:pt>
                      <c:pt idx="796">
                        <c:v>378.11279999999999</c:v>
                      </c:pt>
                      <c:pt idx="797">
                        <c:v>378.11279999999999</c:v>
                      </c:pt>
                      <c:pt idx="798">
                        <c:v>378.11279999999999</c:v>
                      </c:pt>
                      <c:pt idx="799">
                        <c:v>378.11279999999999</c:v>
                      </c:pt>
                      <c:pt idx="800">
                        <c:v>378.11279999999999</c:v>
                      </c:pt>
                      <c:pt idx="801">
                        <c:v>378.11279999999999</c:v>
                      </c:pt>
                      <c:pt idx="802">
                        <c:v>378.11279999999999</c:v>
                      </c:pt>
                      <c:pt idx="803">
                        <c:v>378.11279999999999</c:v>
                      </c:pt>
                      <c:pt idx="804">
                        <c:v>378.12654620000001</c:v>
                      </c:pt>
                      <c:pt idx="805">
                        <c:v>378.14486290000002</c:v>
                      </c:pt>
                      <c:pt idx="806">
                        <c:v>378.14914750000003</c:v>
                      </c:pt>
                      <c:pt idx="807">
                        <c:v>378.21352280000002</c:v>
                      </c:pt>
                      <c:pt idx="808">
                        <c:v>378.30021340000002</c:v>
                      </c:pt>
                      <c:pt idx="809">
                        <c:v>378.30963839999998</c:v>
                      </c:pt>
                      <c:pt idx="810">
                        <c:v>378.3508425</c:v>
                      </c:pt>
                      <c:pt idx="811">
                        <c:v>378.35541319999999</c:v>
                      </c:pt>
                      <c:pt idx="812">
                        <c:v>378.37347820000002</c:v>
                      </c:pt>
                      <c:pt idx="813">
                        <c:v>378.40097050000003</c:v>
                      </c:pt>
                      <c:pt idx="814">
                        <c:v>378.42378689999998</c:v>
                      </c:pt>
                      <c:pt idx="815">
                        <c:v>378.49251770000001</c:v>
                      </c:pt>
                      <c:pt idx="816">
                        <c:v>378.4970884</c:v>
                      </c:pt>
                      <c:pt idx="817">
                        <c:v>378.61609129999999</c:v>
                      </c:pt>
                      <c:pt idx="818">
                        <c:v>378.7902575</c:v>
                      </c:pt>
                      <c:pt idx="819">
                        <c:v>378.84035110000002</c:v>
                      </c:pt>
                      <c:pt idx="820">
                        <c:v>378.86352460000001</c:v>
                      </c:pt>
                      <c:pt idx="821">
                        <c:v>378.87723410000001</c:v>
                      </c:pt>
                      <c:pt idx="822">
                        <c:v>378.93218439999998</c:v>
                      </c:pt>
                      <c:pt idx="823">
                        <c:v>378.93646890000002</c:v>
                      </c:pt>
                      <c:pt idx="824">
                        <c:v>378.9685662</c:v>
                      </c:pt>
                      <c:pt idx="825">
                        <c:v>378.98688299999998</c:v>
                      </c:pt>
                      <c:pt idx="826">
                        <c:v>378.99623709999997</c:v>
                      </c:pt>
                      <c:pt idx="827">
                        <c:v>379.00084429999998</c:v>
                      </c:pt>
                      <c:pt idx="828">
                        <c:v>379.00512880000002</c:v>
                      </c:pt>
                      <c:pt idx="829">
                        <c:v>379.01455379999999</c:v>
                      </c:pt>
                      <c:pt idx="830">
                        <c:v>379.0283</c:v>
                      </c:pt>
                      <c:pt idx="831">
                        <c:v>379.3057402</c:v>
                      </c:pt>
                      <c:pt idx="832">
                        <c:v>379.88660429999999</c:v>
                      </c:pt>
                      <c:pt idx="833">
                        <c:v>380.30450569999999</c:v>
                      </c:pt>
                      <c:pt idx="834">
                        <c:v>380.6375754</c:v>
                      </c:pt>
                      <c:pt idx="835">
                        <c:v>380.85939999999999</c:v>
                      </c:pt>
                      <c:pt idx="836">
                        <c:v>377.19729999999998</c:v>
                      </c:pt>
                      <c:pt idx="837">
                        <c:v>377.8202986</c:v>
                      </c:pt>
                      <c:pt idx="838">
                        <c:v>377.85140680000001</c:v>
                      </c:pt>
                      <c:pt idx="839">
                        <c:v>377.91847840000003</c:v>
                      </c:pt>
                      <c:pt idx="840">
                        <c:v>379.42229959999997</c:v>
                      </c:pt>
                      <c:pt idx="841">
                        <c:v>379.9126918</c:v>
                      </c:pt>
                      <c:pt idx="842">
                        <c:v>379.94380000000001</c:v>
                      </c:pt>
                      <c:pt idx="843">
                        <c:v>379.90679699999998</c:v>
                      </c:pt>
                      <c:pt idx="844">
                        <c:v>379.7313752</c:v>
                      </c:pt>
                      <c:pt idx="845">
                        <c:v>379.59076010000001</c:v>
                      </c:pt>
                      <c:pt idx="846">
                        <c:v>379.55539119999997</c:v>
                      </c:pt>
                      <c:pt idx="847">
                        <c:v>379.0283</c:v>
                      </c:pt>
                      <c:pt idx="848">
                        <c:v>378.53147610000002</c:v>
                      </c:pt>
                      <c:pt idx="849">
                        <c:v>378.40068480000002</c:v>
                      </c:pt>
                      <c:pt idx="850">
                        <c:v>378.11279999999999</c:v>
                      </c:pt>
                      <c:pt idx="851">
                        <c:v>378.11279999999999</c:v>
                      </c:pt>
                      <c:pt idx="852">
                        <c:v>376.2817</c:v>
                      </c:pt>
                      <c:pt idx="853">
                        <c:v>378.11279999999999</c:v>
                      </c:pt>
                      <c:pt idx="854">
                        <c:v>378.11279999999999</c:v>
                      </c:pt>
                      <c:pt idx="855">
                        <c:v>378.11279999999999</c:v>
                      </c:pt>
                      <c:pt idx="856">
                        <c:v>378.11279999999999</c:v>
                      </c:pt>
                      <c:pt idx="857">
                        <c:v>378.11279999999999</c:v>
                      </c:pt>
                      <c:pt idx="858">
                        <c:v>378.11279999999999</c:v>
                      </c:pt>
                      <c:pt idx="859">
                        <c:v>378.11279999999999</c:v>
                      </c:pt>
                      <c:pt idx="860">
                        <c:v>378.11279999999999</c:v>
                      </c:pt>
                      <c:pt idx="861">
                        <c:v>377.6976252</c:v>
                      </c:pt>
                      <c:pt idx="862">
                        <c:v>376.68584529999998</c:v>
                      </c:pt>
                      <c:pt idx="863">
                        <c:v>376.2817</c:v>
                      </c:pt>
                      <c:pt idx="864">
                        <c:v>379.94380000000001</c:v>
                      </c:pt>
                      <c:pt idx="865">
                        <c:v>379.36318699999998</c:v>
                      </c:pt>
                      <c:pt idx="866">
                        <c:v>379.07410290000001</c:v>
                      </c:pt>
                      <c:pt idx="867">
                        <c:v>379.05077169999998</c:v>
                      </c:pt>
                      <c:pt idx="868">
                        <c:v>379.0283</c:v>
                      </c:pt>
                      <c:pt idx="869">
                        <c:v>379.0283</c:v>
                      </c:pt>
                      <c:pt idx="870">
                        <c:v>379.0283</c:v>
                      </c:pt>
                      <c:pt idx="871">
                        <c:v>379.0283</c:v>
                      </c:pt>
                      <c:pt idx="872">
                        <c:v>379.0283</c:v>
                      </c:pt>
                      <c:pt idx="873">
                        <c:v>379.0283</c:v>
                      </c:pt>
                      <c:pt idx="874">
                        <c:v>379.0283</c:v>
                      </c:pt>
                      <c:pt idx="875">
                        <c:v>379.0283</c:v>
                      </c:pt>
                      <c:pt idx="876">
                        <c:v>379.0283</c:v>
                      </c:pt>
                      <c:pt idx="877">
                        <c:v>379.0283</c:v>
                      </c:pt>
                      <c:pt idx="878">
                        <c:v>379.0283</c:v>
                      </c:pt>
                      <c:pt idx="879">
                        <c:v>379.0283</c:v>
                      </c:pt>
                      <c:pt idx="880">
                        <c:v>379.0283</c:v>
                      </c:pt>
                      <c:pt idx="881">
                        <c:v>379.0283</c:v>
                      </c:pt>
                      <c:pt idx="882">
                        <c:v>379.0283</c:v>
                      </c:pt>
                      <c:pt idx="883">
                        <c:v>379.30286869999998</c:v>
                      </c:pt>
                      <c:pt idx="884">
                        <c:v>379.37160249999999</c:v>
                      </c:pt>
                      <c:pt idx="885">
                        <c:v>379.41731049999999</c:v>
                      </c:pt>
                      <c:pt idx="886">
                        <c:v>379.53175229999999</c:v>
                      </c:pt>
                      <c:pt idx="887">
                        <c:v>379.62334010000001</c:v>
                      </c:pt>
                      <c:pt idx="888">
                        <c:v>379.94380000000001</c:v>
                      </c:pt>
                      <c:pt idx="889">
                        <c:v>378.72323519999998</c:v>
                      </c:pt>
                      <c:pt idx="890">
                        <c:v>378.11279999999999</c:v>
                      </c:pt>
                      <c:pt idx="891">
                        <c:v>378.11279999999999</c:v>
                      </c:pt>
                      <c:pt idx="892">
                        <c:v>378.11279999999999</c:v>
                      </c:pt>
                      <c:pt idx="893">
                        <c:v>378.11279999999999</c:v>
                      </c:pt>
                      <c:pt idx="894">
                        <c:v>378.11279999999999</c:v>
                      </c:pt>
                      <c:pt idx="895">
                        <c:v>378.11279999999999</c:v>
                      </c:pt>
                      <c:pt idx="896">
                        <c:v>379.94380000000001</c:v>
                      </c:pt>
                      <c:pt idx="897">
                        <c:v>378.11279999999999</c:v>
                      </c:pt>
                      <c:pt idx="898">
                        <c:v>378.00115670000002</c:v>
                      </c:pt>
                      <c:pt idx="899">
                        <c:v>377.97885930000001</c:v>
                      </c:pt>
                      <c:pt idx="900">
                        <c:v>377.88950210000002</c:v>
                      </c:pt>
                      <c:pt idx="901">
                        <c:v>377.57684719999997</c:v>
                      </c:pt>
                      <c:pt idx="902">
                        <c:v>377.19729999999998</c:v>
                      </c:pt>
                      <c:pt idx="903">
                        <c:v>378.11279999999999</c:v>
                      </c:pt>
                      <c:pt idx="904">
                        <c:v>377.86442219999998</c:v>
                      </c:pt>
                      <c:pt idx="905">
                        <c:v>377.83343309999998</c:v>
                      </c:pt>
                      <c:pt idx="906">
                        <c:v>377.8024441</c:v>
                      </c:pt>
                      <c:pt idx="907">
                        <c:v>376.68669899999998</c:v>
                      </c:pt>
                      <c:pt idx="908">
                        <c:v>376.65401850000001</c:v>
                      </c:pt>
                      <c:pt idx="909">
                        <c:v>376.59205589999999</c:v>
                      </c:pt>
                      <c:pt idx="910">
                        <c:v>376.2817</c:v>
                      </c:pt>
                      <c:pt idx="911">
                        <c:v>379.94380000000001</c:v>
                      </c:pt>
                      <c:pt idx="912">
                        <c:v>379.84196100000003</c:v>
                      </c:pt>
                      <c:pt idx="913">
                        <c:v>379.1637293</c:v>
                      </c:pt>
                      <c:pt idx="914">
                        <c:v>379.12986769999998</c:v>
                      </c:pt>
                      <c:pt idx="915">
                        <c:v>379.09760010000002</c:v>
                      </c:pt>
                      <c:pt idx="916">
                        <c:v>379.0283</c:v>
                      </c:pt>
                      <c:pt idx="917">
                        <c:v>377.19729999999998</c:v>
                      </c:pt>
                      <c:pt idx="918">
                        <c:v>378.53320550000001</c:v>
                      </c:pt>
                      <c:pt idx="919">
                        <c:v>378.97833420000001</c:v>
                      </c:pt>
                      <c:pt idx="920">
                        <c:v>379.20117679999998</c:v>
                      </c:pt>
                      <c:pt idx="921">
                        <c:v>379.94380000000001</c:v>
                      </c:pt>
                      <c:pt idx="922">
                        <c:v>379.63887790000001</c:v>
                      </c:pt>
                      <c:pt idx="923">
                        <c:v>379.61525799999998</c:v>
                      </c:pt>
                      <c:pt idx="924">
                        <c:v>379.52149450000002</c:v>
                      </c:pt>
                      <c:pt idx="925">
                        <c:v>379.49805070000002</c:v>
                      </c:pt>
                      <c:pt idx="926">
                        <c:v>379.17041269999999</c:v>
                      </c:pt>
                      <c:pt idx="927">
                        <c:v>379.09881339999998</c:v>
                      </c:pt>
                      <c:pt idx="928">
                        <c:v>379.05192579999999</c:v>
                      </c:pt>
                      <c:pt idx="929">
                        <c:v>378.95797449999998</c:v>
                      </c:pt>
                      <c:pt idx="930">
                        <c:v>378.8640231</c:v>
                      </c:pt>
                      <c:pt idx="931">
                        <c:v>378.79370349999999</c:v>
                      </c:pt>
                      <c:pt idx="932">
                        <c:v>378.69975210000001</c:v>
                      </c:pt>
                      <c:pt idx="933">
                        <c:v>378.53529329999998</c:v>
                      </c:pt>
                      <c:pt idx="934">
                        <c:v>378.51184949999998</c:v>
                      </c:pt>
                      <c:pt idx="935">
                        <c:v>378.3475785</c:v>
                      </c:pt>
                      <c:pt idx="936">
                        <c:v>378.11279999999999</c:v>
                      </c:pt>
                      <c:pt idx="937">
                        <c:v>378.3417895</c:v>
                      </c:pt>
                      <c:pt idx="938">
                        <c:v>378.39892950000001</c:v>
                      </c:pt>
                      <c:pt idx="939">
                        <c:v>379.0283</c:v>
                      </c:pt>
                      <c:pt idx="940">
                        <c:v>380.85939999999999</c:v>
                      </c:pt>
                      <c:pt idx="941">
                        <c:v>376.2817</c:v>
                      </c:pt>
                      <c:pt idx="942">
                        <c:v>377.34961220000002</c:v>
                      </c:pt>
                      <c:pt idx="943">
                        <c:v>379.94380000000001</c:v>
                      </c:pt>
                      <c:pt idx="944">
                        <c:v>379.94380000000001</c:v>
                      </c:pt>
                      <c:pt idx="945">
                        <c:v>379.94380000000001</c:v>
                      </c:pt>
                      <c:pt idx="946">
                        <c:v>379.94380000000001</c:v>
                      </c:pt>
                      <c:pt idx="947">
                        <c:v>379.94380000000001</c:v>
                      </c:pt>
                      <c:pt idx="948">
                        <c:v>379.94380000000001</c:v>
                      </c:pt>
                      <c:pt idx="949">
                        <c:v>379.94380000000001</c:v>
                      </c:pt>
                      <c:pt idx="950">
                        <c:v>379.94380000000001</c:v>
                      </c:pt>
                      <c:pt idx="951">
                        <c:v>378.11279999999999</c:v>
                      </c:pt>
                      <c:pt idx="952">
                        <c:v>377.83272190000002</c:v>
                      </c:pt>
                      <c:pt idx="953">
                        <c:v>377.78971209999997</c:v>
                      </c:pt>
                      <c:pt idx="954">
                        <c:v>377.76812380000001</c:v>
                      </c:pt>
                      <c:pt idx="955">
                        <c:v>377.72502780000002</c:v>
                      </c:pt>
                      <c:pt idx="956">
                        <c:v>377.70352020000001</c:v>
                      </c:pt>
                      <c:pt idx="957">
                        <c:v>377.56348379999997</c:v>
                      </c:pt>
                      <c:pt idx="958">
                        <c:v>377.46653809999998</c:v>
                      </c:pt>
                      <c:pt idx="959">
                        <c:v>377.4557843</c:v>
                      </c:pt>
                      <c:pt idx="960">
                        <c:v>377.19729999999998</c:v>
                      </c:pt>
                      <c:pt idx="961">
                        <c:v>379.0283</c:v>
                      </c:pt>
                      <c:pt idx="962">
                        <c:v>378.99833439999998</c:v>
                      </c:pt>
                      <c:pt idx="963">
                        <c:v>378.93827570000002</c:v>
                      </c:pt>
                      <c:pt idx="964">
                        <c:v>378.39798710000002</c:v>
                      </c:pt>
                      <c:pt idx="965">
                        <c:v>378.11279999999999</c:v>
                      </c:pt>
                      <c:pt idx="966">
                        <c:v>378.24742459999999</c:v>
                      </c:pt>
                      <c:pt idx="967">
                        <c:v>379.0283</c:v>
                      </c:pt>
                      <c:pt idx="968">
                        <c:v>379.0283</c:v>
                      </c:pt>
                      <c:pt idx="969">
                        <c:v>379.0283</c:v>
                      </c:pt>
                      <c:pt idx="970">
                        <c:v>376.2817</c:v>
                      </c:pt>
                      <c:pt idx="971">
                        <c:v>379.94380000000001</c:v>
                      </c:pt>
                      <c:pt idx="972">
                        <c:v>377.19729999999998</c:v>
                      </c:pt>
                      <c:pt idx="973">
                        <c:v>380.85939999999999</c:v>
                      </c:pt>
                      <c:pt idx="974">
                        <c:v>377.68474179999998</c:v>
                      </c:pt>
                      <c:pt idx="975">
                        <c:v>377.19729999999998</c:v>
                      </c:pt>
                      <c:pt idx="976">
                        <c:v>377.60351079999998</c:v>
                      </c:pt>
                      <c:pt idx="977">
                        <c:v>377.80814190000001</c:v>
                      </c:pt>
                      <c:pt idx="978">
                        <c:v>379.0283</c:v>
                      </c:pt>
                      <c:pt idx="979">
                        <c:v>378.7230189</c:v>
                      </c:pt>
                      <c:pt idx="980">
                        <c:v>378.71222340000003</c:v>
                      </c:pt>
                      <c:pt idx="981">
                        <c:v>378.6795755</c:v>
                      </c:pt>
                      <c:pt idx="982">
                        <c:v>378.47248889999997</c:v>
                      </c:pt>
                      <c:pt idx="983">
                        <c:v>378.27627960000001</c:v>
                      </c:pt>
                      <c:pt idx="984">
                        <c:v>378.11279999999999</c:v>
                      </c:pt>
                      <c:pt idx="985">
                        <c:v>378.20673199999999</c:v>
                      </c:pt>
                      <c:pt idx="986">
                        <c:v>379.94380000000001</c:v>
                      </c:pt>
                      <c:pt idx="987">
                        <c:v>378.11279999999999</c:v>
                      </c:pt>
                      <c:pt idx="988">
                        <c:v>381.7749</c:v>
                      </c:pt>
                      <c:pt idx="989">
                        <c:v>377.19729999999998</c:v>
                      </c:pt>
                      <c:pt idx="990">
                        <c:v>378.13223850000003</c:v>
                      </c:pt>
                      <c:pt idx="991">
                        <c:v>379.0283</c:v>
                      </c:pt>
                      <c:pt idx="992">
                        <c:v>378.72363080000002</c:v>
                      </c:pt>
                      <c:pt idx="993">
                        <c:v>377.50266540000001</c:v>
                      </c:pt>
                      <c:pt idx="994">
                        <c:v>376.2817</c:v>
                      </c:pt>
                      <c:pt idx="995">
                        <c:v>379.94380000000001</c:v>
                      </c:pt>
                      <c:pt idx="996">
                        <c:v>379.94380000000001</c:v>
                      </c:pt>
                      <c:pt idx="997">
                        <c:v>379.94380000000001</c:v>
                      </c:pt>
                      <c:pt idx="998">
                        <c:v>378.11279999999999</c:v>
                      </c:pt>
                      <c:pt idx="999">
                        <c:v>379.0283</c:v>
                      </c:pt>
                      <c:pt idx="1000">
                        <c:v>378.6281606</c:v>
                      </c:pt>
                      <c:pt idx="1001">
                        <c:v>378.57099369999997</c:v>
                      </c:pt>
                      <c:pt idx="1002">
                        <c:v>378.11279999999999</c:v>
                      </c:pt>
                      <c:pt idx="1003">
                        <c:v>378.3387487</c:v>
                      </c:pt>
                      <c:pt idx="1004">
                        <c:v>378.36202589999999</c:v>
                      </c:pt>
                      <c:pt idx="1005">
                        <c:v>378.36771909999999</c:v>
                      </c:pt>
                      <c:pt idx="1006">
                        <c:v>378.65174780000001</c:v>
                      </c:pt>
                      <c:pt idx="1007">
                        <c:v>378.7038187</c:v>
                      </c:pt>
                      <c:pt idx="1008">
                        <c:v>378.71543409999998</c:v>
                      </c:pt>
                      <c:pt idx="1009">
                        <c:v>378.78494990000002</c:v>
                      </c:pt>
                      <c:pt idx="1010">
                        <c:v>378.89505439999999</c:v>
                      </c:pt>
                      <c:pt idx="1011">
                        <c:v>378.93559690000001</c:v>
                      </c:pt>
                      <c:pt idx="1012">
                        <c:v>378.9530881</c:v>
                      </c:pt>
                      <c:pt idx="1013">
                        <c:v>378.98784740000002</c:v>
                      </c:pt>
                      <c:pt idx="1014">
                        <c:v>379.0283</c:v>
                      </c:pt>
                      <c:pt idx="1015">
                        <c:v>379.12503600000002</c:v>
                      </c:pt>
                      <c:pt idx="1016">
                        <c:v>379.36584040000002</c:v>
                      </c:pt>
                      <c:pt idx="1017">
                        <c:v>379.38951270000001</c:v>
                      </c:pt>
                      <c:pt idx="1018">
                        <c:v>379.41373879999998</c:v>
                      </c:pt>
                      <c:pt idx="1019">
                        <c:v>379.94380000000001</c:v>
                      </c:pt>
                      <c:pt idx="1020">
                        <c:v>378.11279999999999</c:v>
                      </c:pt>
                      <c:pt idx="1021">
                        <c:v>378.11279999999999</c:v>
                      </c:pt>
                      <c:pt idx="1022">
                        <c:v>378.11279999999999</c:v>
                      </c:pt>
                      <c:pt idx="1023">
                        <c:v>378.11279999999999</c:v>
                      </c:pt>
                      <c:pt idx="1024">
                        <c:v>378.11279999999999</c:v>
                      </c:pt>
                      <c:pt idx="1025">
                        <c:v>378.11279999999999</c:v>
                      </c:pt>
                      <c:pt idx="1026">
                        <c:v>378.11279999999999</c:v>
                      </c:pt>
                      <c:pt idx="1027">
                        <c:v>378.11279999999999</c:v>
                      </c:pt>
                      <c:pt idx="1028">
                        <c:v>378.11279999999999</c:v>
                      </c:pt>
                      <c:pt idx="1029">
                        <c:v>378.1951388</c:v>
                      </c:pt>
                      <c:pt idx="1030">
                        <c:v>378.46127739999997</c:v>
                      </c:pt>
                      <c:pt idx="1031">
                        <c:v>379.0283</c:v>
                      </c:pt>
                      <c:pt idx="1032">
                        <c:v>379.0283</c:v>
                      </c:pt>
                      <c:pt idx="1033">
                        <c:v>379.0283</c:v>
                      </c:pt>
                      <c:pt idx="1034">
                        <c:v>379.0283</c:v>
                      </c:pt>
                      <c:pt idx="1035">
                        <c:v>379.0283</c:v>
                      </c:pt>
                      <c:pt idx="1036">
                        <c:v>379.0283</c:v>
                      </c:pt>
                      <c:pt idx="1037">
                        <c:v>378.55659309999999</c:v>
                      </c:pt>
                      <c:pt idx="1038">
                        <c:v>378.50119519999998</c:v>
                      </c:pt>
                      <c:pt idx="1039">
                        <c:v>378.11279999999999</c:v>
                      </c:pt>
                      <c:pt idx="1040">
                        <c:v>378.44564100000002</c:v>
                      </c:pt>
                      <c:pt idx="1041">
                        <c:v>378.63996470000001</c:v>
                      </c:pt>
                      <c:pt idx="1042">
                        <c:v>378.75098100000002</c:v>
                      </c:pt>
                      <c:pt idx="1043">
                        <c:v>378.83408029999998</c:v>
                      </c:pt>
                      <c:pt idx="1044">
                        <c:v>378.97279179999998</c:v>
                      </c:pt>
                      <c:pt idx="1045">
                        <c:v>379.05437949999998</c:v>
                      </c:pt>
                      <c:pt idx="1046">
                        <c:v>379.2208</c:v>
                      </c:pt>
                      <c:pt idx="1047">
                        <c:v>379.554057</c:v>
                      </c:pt>
                      <c:pt idx="1048">
                        <c:v>379.94380000000001</c:v>
                      </c:pt>
                      <c:pt idx="1049">
                        <c:v>377.59141920000002</c:v>
                      </c:pt>
                      <c:pt idx="1050">
                        <c:v>377.32628929999998</c:v>
                      </c:pt>
                      <c:pt idx="1051">
                        <c:v>377.19729999999998</c:v>
                      </c:pt>
                      <c:pt idx="1052">
                        <c:v>377.44765260000003</c:v>
                      </c:pt>
                      <c:pt idx="1053">
                        <c:v>377.94706919999999</c:v>
                      </c:pt>
                      <c:pt idx="1054">
                        <c:v>378.44648569999998</c:v>
                      </c:pt>
                      <c:pt idx="1055">
                        <c:v>379.0283</c:v>
                      </c:pt>
                      <c:pt idx="1056">
                        <c:v>378.98608300000001</c:v>
                      </c:pt>
                      <c:pt idx="1057">
                        <c:v>378.9664922</c:v>
                      </c:pt>
                      <c:pt idx="1058">
                        <c:v>378.88446599999997</c:v>
                      </c:pt>
                      <c:pt idx="1059">
                        <c:v>378.86247780000002</c:v>
                      </c:pt>
                      <c:pt idx="1060">
                        <c:v>378.82265819999998</c:v>
                      </c:pt>
                      <c:pt idx="1061">
                        <c:v>378.63612369999998</c:v>
                      </c:pt>
                      <c:pt idx="1062">
                        <c:v>378.41106600000001</c:v>
                      </c:pt>
                      <c:pt idx="1063">
                        <c:v>378.39035360000003</c:v>
                      </c:pt>
                      <c:pt idx="1064">
                        <c:v>378.2450791</c:v>
                      </c:pt>
                      <c:pt idx="1065">
                        <c:v>378.2256529</c:v>
                      </c:pt>
                      <c:pt idx="1066">
                        <c:v>377.19729999999998</c:v>
                      </c:pt>
                      <c:pt idx="1067">
                        <c:v>377.69920610000003</c:v>
                      </c:pt>
                      <c:pt idx="1068">
                        <c:v>378.11279999999999</c:v>
                      </c:pt>
                      <c:pt idx="1069">
                        <c:v>378.11279999999999</c:v>
                      </c:pt>
                      <c:pt idx="1070">
                        <c:v>378.11279999999999</c:v>
                      </c:pt>
                      <c:pt idx="1071">
                        <c:v>378.11279999999999</c:v>
                      </c:pt>
                      <c:pt idx="1072">
                        <c:v>378.11279999999999</c:v>
                      </c:pt>
                      <c:pt idx="1073">
                        <c:v>378.11279999999999</c:v>
                      </c:pt>
                      <c:pt idx="1074">
                        <c:v>378.11279999999999</c:v>
                      </c:pt>
                      <c:pt idx="1075">
                        <c:v>378.11279999999999</c:v>
                      </c:pt>
                      <c:pt idx="1076">
                        <c:v>378.11279999999999</c:v>
                      </c:pt>
                      <c:pt idx="1077">
                        <c:v>378.11279999999999</c:v>
                      </c:pt>
                      <c:pt idx="1078">
                        <c:v>378.11988730000002</c:v>
                      </c:pt>
                      <c:pt idx="1079">
                        <c:v>378.14243299999998</c:v>
                      </c:pt>
                      <c:pt idx="1080">
                        <c:v>378.17241890000003</c:v>
                      </c:pt>
                      <c:pt idx="1081">
                        <c:v>378.18752819999997</c:v>
                      </c:pt>
                      <c:pt idx="1082">
                        <c:v>378.60027689999998</c:v>
                      </c:pt>
                      <c:pt idx="1083">
                        <c:v>378.6379882</c:v>
                      </c:pt>
                      <c:pt idx="1084">
                        <c:v>378.69795620000002</c:v>
                      </c:pt>
                      <c:pt idx="1085">
                        <c:v>378.74304760000001</c:v>
                      </c:pt>
                      <c:pt idx="1086">
                        <c:v>378.78035349999999</c:v>
                      </c:pt>
                      <c:pt idx="1087">
                        <c:v>378.788139</c:v>
                      </c:pt>
                      <c:pt idx="1088">
                        <c:v>378.80307190000002</c:v>
                      </c:pt>
                      <c:pt idx="1089">
                        <c:v>378.81068850000003</c:v>
                      </c:pt>
                      <c:pt idx="1090">
                        <c:v>378.86315619999999</c:v>
                      </c:pt>
                      <c:pt idx="1091">
                        <c:v>378.96083929999998</c:v>
                      </c:pt>
                      <c:pt idx="1092">
                        <c:v>378.98373409999999</c:v>
                      </c:pt>
                      <c:pt idx="1093">
                        <c:v>379.0283</c:v>
                      </c:pt>
                      <c:pt idx="1094">
                        <c:v>378.7915228</c:v>
                      </c:pt>
                      <c:pt idx="1095">
                        <c:v>378.67545209999997</c:v>
                      </c:pt>
                      <c:pt idx="1096">
                        <c:v>378.37513280000002</c:v>
                      </c:pt>
                      <c:pt idx="1097">
                        <c:v>378.08355349999999</c:v>
                      </c:pt>
                      <c:pt idx="1098">
                        <c:v>377.90618469999998</c:v>
                      </c:pt>
                      <c:pt idx="1099">
                        <c:v>377.19729999999998</c:v>
                      </c:pt>
                      <c:pt idx="1100">
                        <c:v>378.89367049999998</c:v>
                      </c:pt>
                      <c:pt idx="1101">
                        <c:v>379.0283</c:v>
                      </c:pt>
                      <c:pt idx="1102">
                        <c:v>378.11279999999999</c:v>
                      </c:pt>
                      <c:pt idx="1103">
                        <c:v>377.97242660000001</c:v>
                      </c:pt>
                      <c:pt idx="1104">
                        <c:v>377.93716740000002</c:v>
                      </c:pt>
                      <c:pt idx="1105">
                        <c:v>377.91336000000001</c:v>
                      </c:pt>
                      <c:pt idx="1106">
                        <c:v>377.8774669</c:v>
                      </c:pt>
                      <c:pt idx="1107">
                        <c:v>377.80805789999999</c:v>
                      </c:pt>
                      <c:pt idx="1108">
                        <c:v>377.50268190000003</c:v>
                      </c:pt>
                      <c:pt idx="1109">
                        <c:v>377.43198749999999</c:v>
                      </c:pt>
                      <c:pt idx="1110">
                        <c:v>377.36185060000003</c:v>
                      </c:pt>
                      <c:pt idx="1111">
                        <c:v>377.33831320000002</c:v>
                      </c:pt>
                      <c:pt idx="1112">
                        <c:v>377.2679005</c:v>
                      </c:pt>
                      <c:pt idx="1113">
                        <c:v>377.20892780000003</c:v>
                      </c:pt>
                      <c:pt idx="1114">
                        <c:v>377.19729999999998</c:v>
                      </c:pt>
                      <c:pt idx="1115">
                        <c:v>380.85939999999999</c:v>
                      </c:pt>
                      <c:pt idx="1116">
                        <c:v>380.38623799999999</c:v>
                      </c:pt>
                      <c:pt idx="1117">
                        <c:v>379.93406490000001</c:v>
                      </c:pt>
                      <c:pt idx="1118">
                        <c:v>377.62437770000003</c:v>
                      </c:pt>
                      <c:pt idx="1119">
                        <c:v>377.19729999999998</c:v>
                      </c:pt>
                      <c:pt idx="1120">
                        <c:v>377.2535944</c:v>
                      </c:pt>
                      <c:pt idx="1121">
                        <c:v>377.71188130000002</c:v>
                      </c:pt>
                      <c:pt idx="1122">
                        <c:v>378.0562908</c:v>
                      </c:pt>
                      <c:pt idx="1123">
                        <c:v>378.51503589999999</c:v>
                      </c:pt>
                      <c:pt idx="1124">
                        <c:v>379.0283</c:v>
                      </c:pt>
                      <c:pt idx="1125">
                        <c:v>379.0283</c:v>
                      </c:pt>
                      <c:pt idx="1126">
                        <c:v>378.55713350000002</c:v>
                      </c:pt>
                      <c:pt idx="1127">
                        <c:v>378.52727729999998</c:v>
                      </c:pt>
                      <c:pt idx="1128">
                        <c:v>378.24994679999998</c:v>
                      </c:pt>
                      <c:pt idx="1129">
                        <c:v>378.2239874</c:v>
                      </c:pt>
                      <c:pt idx="1130">
                        <c:v>378.11279999999999</c:v>
                      </c:pt>
                      <c:pt idx="1131">
                        <c:v>378.11279999999999</c:v>
                      </c:pt>
                      <c:pt idx="1132">
                        <c:v>378.11279999999999</c:v>
                      </c:pt>
                      <c:pt idx="1133">
                        <c:v>377.94012140000001</c:v>
                      </c:pt>
                      <c:pt idx="1134">
                        <c:v>377.19729999999998</c:v>
                      </c:pt>
                      <c:pt idx="1135">
                        <c:v>377.56546839999999</c:v>
                      </c:pt>
                      <c:pt idx="1136">
                        <c:v>378.11279999999999</c:v>
                      </c:pt>
                      <c:pt idx="1137">
                        <c:v>378.11279999999999</c:v>
                      </c:pt>
                      <c:pt idx="1138">
                        <c:v>378.11279999999999</c:v>
                      </c:pt>
                      <c:pt idx="1139">
                        <c:v>378.11279999999999</c:v>
                      </c:pt>
                      <c:pt idx="1140">
                        <c:v>378.11279999999999</c:v>
                      </c:pt>
                      <c:pt idx="1141">
                        <c:v>378.11279999999999</c:v>
                      </c:pt>
                      <c:pt idx="1142">
                        <c:v>378.11279999999999</c:v>
                      </c:pt>
                      <c:pt idx="1143">
                        <c:v>378.11279999999999</c:v>
                      </c:pt>
                      <c:pt idx="1144">
                        <c:v>378.11279999999999</c:v>
                      </c:pt>
                      <c:pt idx="1145">
                        <c:v>378.11279999999999</c:v>
                      </c:pt>
                      <c:pt idx="1146">
                        <c:v>378.11279999999999</c:v>
                      </c:pt>
                      <c:pt idx="1147">
                        <c:v>378.11279999999999</c:v>
                      </c:pt>
                      <c:pt idx="1148">
                        <c:v>378.11279999999999</c:v>
                      </c:pt>
                      <c:pt idx="1149">
                        <c:v>378.11279999999999</c:v>
                      </c:pt>
                      <c:pt idx="1150">
                        <c:v>378.11279999999999</c:v>
                      </c:pt>
                      <c:pt idx="1151">
                        <c:v>378.11279999999999</c:v>
                      </c:pt>
                      <c:pt idx="1152">
                        <c:v>377.8011449</c:v>
                      </c:pt>
                      <c:pt idx="1153">
                        <c:v>377.19729999999998</c:v>
                      </c:pt>
                      <c:pt idx="1154">
                        <c:v>380.85939999999999</c:v>
                      </c:pt>
                      <c:pt idx="1155">
                        <c:v>376.2817</c:v>
                      </c:pt>
                      <c:pt idx="1156">
                        <c:v>377.22665439999997</c:v>
                      </c:pt>
                      <c:pt idx="1157">
                        <c:v>378.60140480000001</c:v>
                      </c:pt>
                      <c:pt idx="1158">
                        <c:v>379.94380000000001</c:v>
                      </c:pt>
                      <c:pt idx="1159">
                        <c:v>378.28016960000002</c:v>
                      </c:pt>
                      <c:pt idx="1160">
                        <c:v>378.11279999999999</c:v>
                      </c:pt>
                      <c:pt idx="1161">
                        <c:v>378.17143670000002</c:v>
                      </c:pt>
                      <c:pt idx="1162">
                        <c:v>378.81518449999999</c:v>
                      </c:pt>
                      <c:pt idx="1163">
                        <c:v>379.0283</c:v>
                      </c:pt>
                      <c:pt idx="1164">
                        <c:v>378.11279999999999</c:v>
                      </c:pt>
                      <c:pt idx="1165">
                        <c:v>378.11279999999999</c:v>
                      </c:pt>
                      <c:pt idx="1166">
                        <c:v>378.11279999999999</c:v>
                      </c:pt>
                      <c:pt idx="1167">
                        <c:v>378.11279999999999</c:v>
                      </c:pt>
                      <c:pt idx="1168">
                        <c:v>378.11279999999999</c:v>
                      </c:pt>
                      <c:pt idx="1169">
                        <c:v>378.11279999999999</c:v>
                      </c:pt>
                      <c:pt idx="1170">
                        <c:v>378.11279999999999</c:v>
                      </c:pt>
                      <c:pt idx="1171">
                        <c:v>378.11279999999999</c:v>
                      </c:pt>
                      <c:pt idx="1172">
                        <c:v>379.94380000000001</c:v>
                      </c:pt>
                      <c:pt idx="1173">
                        <c:v>376.2817</c:v>
                      </c:pt>
                      <c:pt idx="1174">
                        <c:v>379.94380000000001</c:v>
                      </c:pt>
                      <c:pt idx="1175">
                        <c:v>376.2817</c:v>
                      </c:pt>
                      <c:pt idx="1176">
                        <c:v>379.94380000000001</c:v>
                      </c:pt>
                      <c:pt idx="1177">
                        <c:v>379.65812629999999</c:v>
                      </c:pt>
                      <c:pt idx="1178">
                        <c:v>378.72172560000001</c:v>
                      </c:pt>
                      <c:pt idx="1179">
                        <c:v>378.5798772</c:v>
                      </c:pt>
                      <c:pt idx="1180">
                        <c:v>378.5445454</c:v>
                      </c:pt>
                      <c:pt idx="1181">
                        <c:v>378.32838509999999</c:v>
                      </c:pt>
                      <c:pt idx="1182">
                        <c:v>378.11279999999999</c:v>
                      </c:pt>
                      <c:pt idx="1183">
                        <c:v>378.15264239999999</c:v>
                      </c:pt>
                      <c:pt idx="1184">
                        <c:v>379.0283</c:v>
                      </c:pt>
                      <c:pt idx="1185">
                        <c:v>378.89180720000002</c:v>
                      </c:pt>
                      <c:pt idx="1186">
                        <c:v>378.33824679999998</c:v>
                      </c:pt>
                      <c:pt idx="1187">
                        <c:v>378.11279999999999</c:v>
                      </c:pt>
                      <c:pt idx="1188">
                        <c:v>378.11279999999999</c:v>
                      </c:pt>
                      <c:pt idx="1189">
                        <c:v>378.11279999999999</c:v>
                      </c:pt>
                      <c:pt idx="1190">
                        <c:v>378.11279999999999</c:v>
                      </c:pt>
                      <c:pt idx="1191">
                        <c:v>378.11279999999999</c:v>
                      </c:pt>
                      <c:pt idx="1192">
                        <c:v>378.11279999999999</c:v>
                      </c:pt>
                      <c:pt idx="1193">
                        <c:v>378.49538660000002</c:v>
                      </c:pt>
                      <c:pt idx="1194">
                        <c:v>378.64007620000001</c:v>
                      </c:pt>
                      <c:pt idx="1195">
                        <c:v>378.68816149999998</c:v>
                      </c:pt>
                      <c:pt idx="1196">
                        <c:v>379.0283</c:v>
                      </c:pt>
                      <c:pt idx="1197">
                        <c:v>379.0283</c:v>
                      </c:pt>
                      <c:pt idx="1198">
                        <c:v>379.0283</c:v>
                      </c:pt>
                      <c:pt idx="1199">
                        <c:v>379.0283</c:v>
                      </c:pt>
                      <c:pt idx="1200">
                        <c:v>378.84530590000003</c:v>
                      </c:pt>
                      <c:pt idx="1201">
                        <c:v>378.60988400000002</c:v>
                      </c:pt>
                      <c:pt idx="1202">
                        <c:v>377.9807103</c:v>
                      </c:pt>
                      <c:pt idx="1203">
                        <c:v>377.85136030000001</c:v>
                      </c:pt>
                      <c:pt idx="1204">
                        <c:v>377.82525750000002</c:v>
                      </c:pt>
                      <c:pt idx="1205">
                        <c:v>377.24993710000001</c:v>
                      </c:pt>
                      <c:pt idx="1206">
                        <c:v>377.19729999999998</c:v>
                      </c:pt>
                      <c:pt idx="1207">
                        <c:v>377.34976899999998</c:v>
                      </c:pt>
                      <c:pt idx="1208">
                        <c:v>379.0283</c:v>
                      </c:pt>
                      <c:pt idx="1209">
                        <c:v>379.0283</c:v>
                      </c:pt>
                      <c:pt idx="1210">
                        <c:v>379.0283</c:v>
                      </c:pt>
                      <c:pt idx="1211">
                        <c:v>379.0283</c:v>
                      </c:pt>
                      <c:pt idx="1212">
                        <c:v>379.0283</c:v>
                      </c:pt>
                      <c:pt idx="1213">
                        <c:v>379.0283</c:v>
                      </c:pt>
                      <c:pt idx="1214">
                        <c:v>379.0283</c:v>
                      </c:pt>
                      <c:pt idx="1215">
                        <c:v>379.0283</c:v>
                      </c:pt>
                      <c:pt idx="1216">
                        <c:v>378.67384290000001</c:v>
                      </c:pt>
                      <c:pt idx="1217">
                        <c:v>378.61487740000001</c:v>
                      </c:pt>
                      <c:pt idx="1218">
                        <c:v>378.55753600000003</c:v>
                      </c:pt>
                      <c:pt idx="1219">
                        <c:v>378.14251890000003</c:v>
                      </c:pt>
                      <c:pt idx="1220">
                        <c:v>378.11279999999999</c:v>
                      </c:pt>
                      <c:pt idx="1221">
                        <c:v>379.0283</c:v>
                      </c:pt>
                      <c:pt idx="1222">
                        <c:v>378.68082129999999</c:v>
                      </c:pt>
                      <c:pt idx="1223">
                        <c:v>378.6614179</c:v>
                      </c:pt>
                      <c:pt idx="1224">
                        <c:v>378.51520629999999</c:v>
                      </c:pt>
                      <c:pt idx="1225">
                        <c:v>378.11279999999999</c:v>
                      </c:pt>
                      <c:pt idx="1226">
                        <c:v>380.85939999999999</c:v>
                      </c:pt>
                      <c:pt idx="1227">
                        <c:v>377.19729999999998</c:v>
                      </c:pt>
                      <c:pt idx="1228">
                        <c:v>377.19729999999998</c:v>
                      </c:pt>
                      <c:pt idx="1229">
                        <c:v>377.19729999999998</c:v>
                      </c:pt>
                      <c:pt idx="1230">
                        <c:v>377.19729999999998</c:v>
                      </c:pt>
                      <c:pt idx="1231">
                        <c:v>377.19729999999998</c:v>
                      </c:pt>
                      <c:pt idx="1232">
                        <c:v>377.19729999999998</c:v>
                      </c:pt>
                      <c:pt idx="1233">
                        <c:v>377.19729999999998</c:v>
                      </c:pt>
                      <c:pt idx="1234">
                        <c:v>378.11279999999999</c:v>
                      </c:pt>
                      <c:pt idx="1235">
                        <c:v>378.11279999999999</c:v>
                      </c:pt>
                      <c:pt idx="1236">
                        <c:v>378.11279999999999</c:v>
                      </c:pt>
                      <c:pt idx="1237">
                        <c:v>378.03468090000001</c:v>
                      </c:pt>
                      <c:pt idx="1238">
                        <c:v>377.44289529999998</c:v>
                      </c:pt>
                      <c:pt idx="1239">
                        <c:v>377.19729999999998</c:v>
                      </c:pt>
                      <c:pt idx="1240">
                        <c:v>379.0283</c:v>
                      </c:pt>
                      <c:pt idx="1241">
                        <c:v>378.99717120000003</c:v>
                      </c:pt>
                      <c:pt idx="1242">
                        <c:v>378.96633850000001</c:v>
                      </c:pt>
                      <c:pt idx="1243">
                        <c:v>378.95872159999999</c:v>
                      </c:pt>
                      <c:pt idx="1244">
                        <c:v>378.92836949999997</c:v>
                      </c:pt>
                      <c:pt idx="1245">
                        <c:v>378.92027200000001</c:v>
                      </c:pt>
                      <c:pt idx="1246">
                        <c:v>378.9052767</c:v>
                      </c:pt>
                      <c:pt idx="1247">
                        <c:v>378.83611739999998</c:v>
                      </c:pt>
                      <c:pt idx="1248">
                        <c:v>378.69767969999998</c:v>
                      </c:pt>
                      <c:pt idx="1249">
                        <c:v>378.28200889999999</c:v>
                      </c:pt>
                      <c:pt idx="1250">
                        <c:v>378.1743386</c:v>
                      </c:pt>
                      <c:pt idx="1251">
                        <c:v>378.11279999999999</c:v>
                      </c:pt>
                      <c:pt idx="1252">
                        <c:v>378.65317299999998</c:v>
                      </c:pt>
                      <c:pt idx="1253">
                        <c:v>378.76105849999999</c:v>
                      </c:pt>
                      <c:pt idx="1254">
                        <c:v>378.86602599999998</c:v>
                      </c:pt>
                      <c:pt idx="1255">
                        <c:v>379.0283</c:v>
                      </c:pt>
                      <c:pt idx="1256">
                        <c:v>379.0283</c:v>
                      </c:pt>
                      <c:pt idx="1257">
                        <c:v>379.0283</c:v>
                      </c:pt>
                      <c:pt idx="1258">
                        <c:v>379.00843609999998</c:v>
                      </c:pt>
                      <c:pt idx="1259">
                        <c:v>378.82927310000002</c:v>
                      </c:pt>
                      <c:pt idx="1260">
                        <c:v>378.70989070000002</c:v>
                      </c:pt>
                      <c:pt idx="1261">
                        <c:v>378.57062459999997</c:v>
                      </c:pt>
                      <c:pt idx="1262">
                        <c:v>378.43230399999999</c:v>
                      </c:pt>
                      <c:pt idx="1263">
                        <c:v>378.41134540000002</c:v>
                      </c:pt>
                      <c:pt idx="1264">
                        <c:v>378.3715977</c:v>
                      </c:pt>
                      <c:pt idx="1265">
                        <c:v>378.2930379</c:v>
                      </c:pt>
                      <c:pt idx="1266">
                        <c:v>378.23326709999998</c:v>
                      </c:pt>
                      <c:pt idx="1267">
                        <c:v>378.11279999999999</c:v>
                      </c:pt>
                      <c:pt idx="1268">
                        <c:v>377.31548290000001</c:v>
                      </c:pt>
                      <c:pt idx="1269">
                        <c:v>377.19729999999998</c:v>
                      </c:pt>
                      <c:pt idx="1270">
                        <c:v>377.4122314</c:v>
                      </c:pt>
                      <c:pt idx="1271">
                        <c:v>377.4505997</c:v>
                      </c:pt>
                      <c:pt idx="1272">
                        <c:v>377.95690980000001</c:v>
                      </c:pt>
                      <c:pt idx="1273">
                        <c:v>379.1500709</c:v>
                      </c:pt>
                      <c:pt idx="1274">
                        <c:v>379.4030813</c:v>
                      </c:pt>
                      <c:pt idx="1275">
                        <c:v>379.43946069999998</c:v>
                      </c:pt>
                      <c:pt idx="1276">
                        <c:v>379.76468749999998</c:v>
                      </c:pt>
                      <c:pt idx="1277">
                        <c:v>379.94380000000001</c:v>
                      </c:pt>
                      <c:pt idx="1278">
                        <c:v>376.2817</c:v>
                      </c:pt>
                      <c:pt idx="1279">
                        <c:v>378.95146849999998</c:v>
                      </c:pt>
                      <c:pt idx="1280">
                        <c:v>380.85939999999999</c:v>
                      </c:pt>
                      <c:pt idx="1281">
                        <c:v>380.75087259999998</c:v>
                      </c:pt>
                      <c:pt idx="1282">
                        <c:v>379.88831670000002</c:v>
                      </c:pt>
                      <c:pt idx="1283">
                        <c:v>379.46256770000002</c:v>
                      </c:pt>
                      <c:pt idx="1284">
                        <c:v>378.81463939999998</c:v>
                      </c:pt>
                      <c:pt idx="1285">
                        <c:v>377.19729999999998</c:v>
                      </c:pt>
                      <c:pt idx="1286">
                        <c:v>377.19729999999998</c:v>
                      </c:pt>
                      <c:pt idx="1287">
                        <c:v>377.19729999999998</c:v>
                      </c:pt>
                      <c:pt idx="1288">
                        <c:v>377.19729999999998</c:v>
                      </c:pt>
                      <c:pt idx="1289">
                        <c:v>377.19729999999998</c:v>
                      </c:pt>
                      <c:pt idx="1290">
                        <c:v>377.19729999999998</c:v>
                      </c:pt>
                      <c:pt idx="1291">
                        <c:v>377.19729999999998</c:v>
                      </c:pt>
                      <c:pt idx="1292">
                        <c:v>377.19729999999998</c:v>
                      </c:pt>
                      <c:pt idx="1293">
                        <c:v>377.19729999999998</c:v>
                      </c:pt>
                      <c:pt idx="1294">
                        <c:v>377.19729999999998</c:v>
                      </c:pt>
                      <c:pt idx="1295">
                        <c:v>377.19729999999998</c:v>
                      </c:pt>
                      <c:pt idx="1296">
                        <c:v>377.19729999999998</c:v>
                      </c:pt>
                      <c:pt idx="1297">
                        <c:v>377.19729999999998</c:v>
                      </c:pt>
                      <c:pt idx="1298">
                        <c:v>377.19729999999998</c:v>
                      </c:pt>
                      <c:pt idx="1299">
                        <c:v>377.19729999999998</c:v>
                      </c:pt>
                      <c:pt idx="1300">
                        <c:v>377.19729999999998</c:v>
                      </c:pt>
                      <c:pt idx="1301">
                        <c:v>379.0283</c:v>
                      </c:pt>
                      <c:pt idx="1302">
                        <c:v>378.74272459999997</c:v>
                      </c:pt>
                      <c:pt idx="1303">
                        <c:v>378.72595130000002</c:v>
                      </c:pt>
                      <c:pt idx="1304">
                        <c:v>378.69234160000002</c:v>
                      </c:pt>
                      <c:pt idx="1305">
                        <c:v>378.6839549</c:v>
                      </c:pt>
                      <c:pt idx="1306">
                        <c:v>378.66711859999998</c:v>
                      </c:pt>
                      <c:pt idx="1307">
                        <c:v>378.47398140000001</c:v>
                      </c:pt>
                      <c:pt idx="1308">
                        <c:v>378.46559480000002</c:v>
                      </c:pt>
                      <c:pt idx="1309">
                        <c:v>378.42360259999998</c:v>
                      </c:pt>
                      <c:pt idx="1310">
                        <c:v>378.26400799999999</c:v>
                      </c:pt>
                      <c:pt idx="1311">
                        <c:v>378.20517519999999</c:v>
                      </c:pt>
                      <c:pt idx="1312">
                        <c:v>378.18840189999997</c:v>
                      </c:pt>
                      <c:pt idx="1313">
                        <c:v>378.11279999999999</c:v>
                      </c:pt>
                      <c:pt idx="1314">
                        <c:v>378.11279999999999</c:v>
                      </c:pt>
                      <c:pt idx="1315">
                        <c:v>378.11279999999999</c:v>
                      </c:pt>
                      <c:pt idx="1316">
                        <c:v>378.11279999999999</c:v>
                      </c:pt>
                      <c:pt idx="1317">
                        <c:v>378.11279999999999</c:v>
                      </c:pt>
                      <c:pt idx="1318">
                        <c:v>378.11279999999999</c:v>
                      </c:pt>
                      <c:pt idx="1319">
                        <c:v>378.11279999999999</c:v>
                      </c:pt>
                      <c:pt idx="1320">
                        <c:v>378.11279999999999</c:v>
                      </c:pt>
                      <c:pt idx="1321">
                        <c:v>378.11279999999999</c:v>
                      </c:pt>
                      <c:pt idx="1322">
                        <c:v>378.11279999999999</c:v>
                      </c:pt>
                      <c:pt idx="1323">
                        <c:v>378.11279999999999</c:v>
                      </c:pt>
                      <c:pt idx="1324">
                        <c:v>378.11279999999999</c:v>
                      </c:pt>
                      <c:pt idx="1325">
                        <c:v>378.11279999999999</c:v>
                      </c:pt>
                      <c:pt idx="1326">
                        <c:v>378.11279999999999</c:v>
                      </c:pt>
                      <c:pt idx="1327">
                        <c:v>378.11279999999999</c:v>
                      </c:pt>
                      <c:pt idx="1328">
                        <c:v>378.28202490000001</c:v>
                      </c:pt>
                      <c:pt idx="1329">
                        <c:v>378.34359549999999</c:v>
                      </c:pt>
                      <c:pt idx="1330">
                        <c:v>378.45137290000002</c:v>
                      </c:pt>
                      <c:pt idx="1331">
                        <c:v>378.66668140000002</c:v>
                      </c:pt>
                      <c:pt idx="1332">
                        <c:v>378.92832759999999</c:v>
                      </c:pt>
                      <c:pt idx="1333">
                        <c:v>379.05134570000001</c:v>
                      </c:pt>
                      <c:pt idx="1334">
                        <c:v>379.06682489999997</c:v>
                      </c:pt>
                      <c:pt idx="1335">
                        <c:v>379.78993889999998</c:v>
                      </c:pt>
                      <c:pt idx="1336">
                        <c:v>379.94380000000001</c:v>
                      </c:pt>
                      <c:pt idx="1337">
                        <c:v>379.89550989999998</c:v>
                      </c:pt>
                      <c:pt idx="1338">
                        <c:v>379.84740049999999</c:v>
                      </c:pt>
                      <c:pt idx="1339">
                        <c:v>379.67865619999998</c:v>
                      </c:pt>
                      <c:pt idx="1340">
                        <c:v>379.60650420000002</c:v>
                      </c:pt>
                      <c:pt idx="1341">
                        <c:v>379.55839479999997</c:v>
                      </c:pt>
                      <c:pt idx="1342">
                        <c:v>379.48604999999998</c:v>
                      </c:pt>
                      <c:pt idx="1343">
                        <c:v>379.43794059999999</c:v>
                      </c:pt>
                      <c:pt idx="1344">
                        <c:v>379.293251</c:v>
                      </c:pt>
                      <c:pt idx="1345">
                        <c:v>379.0283</c:v>
                      </c:pt>
                      <c:pt idx="1346">
                        <c:v>379.0283</c:v>
                      </c:pt>
                      <c:pt idx="1347">
                        <c:v>379.18614209999998</c:v>
                      </c:pt>
                      <c:pt idx="1348">
                        <c:v>379.375742</c:v>
                      </c:pt>
                      <c:pt idx="1349">
                        <c:v>379.88077370000002</c:v>
                      </c:pt>
                      <c:pt idx="1350">
                        <c:v>379.94380000000001</c:v>
                      </c:pt>
                      <c:pt idx="1351">
                        <c:v>379.94380000000001</c:v>
                      </c:pt>
                      <c:pt idx="1352">
                        <c:v>379.94380000000001</c:v>
                      </c:pt>
                      <c:pt idx="1353">
                        <c:v>379.94380000000001</c:v>
                      </c:pt>
                      <c:pt idx="1354">
                        <c:v>379.94380000000001</c:v>
                      </c:pt>
                      <c:pt idx="1355">
                        <c:v>379.94380000000001</c:v>
                      </c:pt>
                      <c:pt idx="1356">
                        <c:v>382.69040000000001</c:v>
                      </c:pt>
                      <c:pt idx="1357">
                        <c:v>379.0283</c:v>
                      </c:pt>
                      <c:pt idx="1358">
                        <c:v>377.7263749</c:v>
                      </c:pt>
                      <c:pt idx="1359">
                        <c:v>377.6041821</c:v>
                      </c:pt>
                      <c:pt idx="1360">
                        <c:v>377.27855840000001</c:v>
                      </c:pt>
                      <c:pt idx="1361">
                        <c:v>377.19729999999998</c:v>
                      </c:pt>
                      <c:pt idx="1362">
                        <c:v>380.85939999999999</c:v>
                      </c:pt>
                      <c:pt idx="1363">
                        <c:v>379.0283</c:v>
                      </c:pt>
                      <c:pt idx="1364">
                        <c:v>379.0283</c:v>
                      </c:pt>
                      <c:pt idx="1365">
                        <c:v>379.0283</c:v>
                      </c:pt>
                      <c:pt idx="1366">
                        <c:v>379.0283</c:v>
                      </c:pt>
                      <c:pt idx="1367">
                        <c:v>379.0283</c:v>
                      </c:pt>
                      <c:pt idx="1368">
                        <c:v>379.0283</c:v>
                      </c:pt>
                      <c:pt idx="1369">
                        <c:v>379.0283</c:v>
                      </c:pt>
                      <c:pt idx="1370">
                        <c:v>378.14538019999998</c:v>
                      </c:pt>
                      <c:pt idx="1371">
                        <c:v>377.94803150000001</c:v>
                      </c:pt>
                      <c:pt idx="1372">
                        <c:v>377.06663200000003</c:v>
                      </c:pt>
                      <c:pt idx="1373">
                        <c:v>376.67414150000002</c:v>
                      </c:pt>
                      <c:pt idx="1374">
                        <c:v>376.3795897</c:v>
                      </c:pt>
                      <c:pt idx="1375">
                        <c:v>376.2817</c:v>
                      </c:pt>
                      <c:pt idx="1376">
                        <c:v>379.94380000000001</c:v>
                      </c:pt>
                      <c:pt idx="1377">
                        <c:v>379.0283</c:v>
                      </c:pt>
                      <c:pt idx="1378">
                        <c:v>379.32097779999998</c:v>
                      </c:pt>
                      <c:pt idx="1379">
                        <c:v>379.36599389999998</c:v>
                      </c:pt>
                      <c:pt idx="1380">
                        <c:v>379.38097679999998</c:v>
                      </c:pt>
                      <c:pt idx="1381">
                        <c:v>379.4561387</c:v>
                      </c:pt>
                      <c:pt idx="1382">
                        <c:v>379.50109479999998</c:v>
                      </c:pt>
                      <c:pt idx="1383">
                        <c:v>379.94380000000001</c:v>
                      </c:pt>
                      <c:pt idx="1384">
                        <c:v>378.11279999999999</c:v>
                      </c:pt>
                      <c:pt idx="1385">
                        <c:v>377.49428979999999</c:v>
                      </c:pt>
                      <c:pt idx="1386">
                        <c:v>377.22200379999998</c:v>
                      </c:pt>
                      <c:pt idx="1387">
                        <c:v>377.19729999999998</c:v>
                      </c:pt>
                      <c:pt idx="1388">
                        <c:v>379.0283</c:v>
                      </c:pt>
                      <c:pt idx="1389">
                        <c:v>379.0283</c:v>
                      </c:pt>
                      <c:pt idx="1390">
                        <c:v>379.0283</c:v>
                      </c:pt>
                      <c:pt idx="1391">
                        <c:v>379.0283</c:v>
                      </c:pt>
                      <c:pt idx="1392">
                        <c:v>379.0283</c:v>
                      </c:pt>
                      <c:pt idx="1393">
                        <c:v>379.01436969999997</c:v>
                      </c:pt>
                      <c:pt idx="1394">
                        <c:v>378.11279999999999</c:v>
                      </c:pt>
                      <c:pt idx="1395">
                        <c:v>378.23092380000003</c:v>
                      </c:pt>
                      <c:pt idx="1396">
                        <c:v>378.3877334</c:v>
                      </c:pt>
                      <c:pt idx="1397">
                        <c:v>378.407984</c:v>
                      </c:pt>
                      <c:pt idx="1398">
                        <c:v>378.585059</c:v>
                      </c:pt>
                      <c:pt idx="1399">
                        <c:v>378.64423160000001</c:v>
                      </c:pt>
                      <c:pt idx="1400">
                        <c:v>379.0283</c:v>
                      </c:pt>
                      <c:pt idx="1401">
                        <c:v>380.85939999999999</c:v>
                      </c:pt>
                      <c:pt idx="1402">
                        <c:v>377.19729999999998</c:v>
                      </c:pt>
                      <c:pt idx="1403">
                        <c:v>379.94380000000001</c:v>
                      </c:pt>
                      <c:pt idx="1404">
                        <c:v>379.31849010000002</c:v>
                      </c:pt>
                      <c:pt idx="1405">
                        <c:v>379.0283</c:v>
                      </c:pt>
                      <c:pt idx="1406">
                        <c:v>380.85939999999999</c:v>
                      </c:pt>
                      <c:pt idx="1407">
                        <c:v>377.19729999999998</c:v>
                      </c:pt>
                      <c:pt idx="1408">
                        <c:v>378.20423219999998</c:v>
                      </c:pt>
                      <c:pt idx="1409">
                        <c:v>378.57059320000002</c:v>
                      </c:pt>
                      <c:pt idx="1410">
                        <c:v>380.85939999999999</c:v>
                      </c:pt>
                      <c:pt idx="1411">
                        <c:v>377.19729999999998</c:v>
                      </c:pt>
                      <c:pt idx="1412">
                        <c:v>377.67505590000002</c:v>
                      </c:pt>
                      <c:pt idx="1413">
                        <c:v>377.83391019999999</c:v>
                      </c:pt>
                      <c:pt idx="1414">
                        <c:v>378.31102970000001</c:v>
                      </c:pt>
                      <c:pt idx="1415">
                        <c:v>379.0283</c:v>
                      </c:pt>
                      <c:pt idx="1416">
                        <c:v>379.0283</c:v>
                      </c:pt>
                      <c:pt idx="1417">
                        <c:v>379.0283</c:v>
                      </c:pt>
                      <c:pt idx="1418">
                        <c:v>379.0283</c:v>
                      </c:pt>
                      <c:pt idx="1419">
                        <c:v>379.0283</c:v>
                      </c:pt>
                      <c:pt idx="1420">
                        <c:v>379.0283</c:v>
                      </c:pt>
                      <c:pt idx="1421">
                        <c:v>379.0283</c:v>
                      </c:pt>
                      <c:pt idx="1422">
                        <c:v>379.0283</c:v>
                      </c:pt>
                      <c:pt idx="1423">
                        <c:v>379.0283</c:v>
                      </c:pt>
                      <c:pt idx="1424">
                        <c:v>379.0283</c:v>
                      </c:pt>
                      <c:pt idx="1425">
                        <c:v>379.0283</c:v>
                      </c:pt>
                      <c:pt idx="1426">
                        <c:v>379.0283</c:v>
                      </c:pt>
                      <c:pt idx="1427">
                        <c:v>379.0283</c:v>
                      </c:pt>
                      <c:pt idx="1428">
                        <c:v>379.0283</c:v>
                      </c:pt>
                      <c:pt idx="1429">
                        <c:v>379.0283</c:v>
                      </c:pt>
                      <c:pt idx="1430">
                        <c:v>379.0283</c:v>
                      </c:pt>
                      <c:pt idx="1431">
                        <c:v>379.0283</c:v>
                      </c:pt>
                      <c:pt idx="1432">
                        <c:v>379.0283</c:v>
                      </c:pt>
                      <c:pt idx="1433">
                        <c:v>379.0283</c:v>
                      </c:pt>
                      <c:pt idx="1434">
                        <c:v>379.0283</c:v>
                      </c:pt>
                      <c:pt idx="1435">
                        <c:v>379.1418031</c:v>
                      </c:pt>
                      <c:pt idx="1436">
                        <c:v>379.94380000000001</c:v>
                      </c:pt>
                      <c:pt idx="1437">
                        <c:v>379.80625420000001</c:v>
                      </c:pt>
                      <c:pt idx="1438">
                        <c:v>379.77591219999999</c:v>
                      </c:pt>
                      <c:pt idx="1439">
                        <c:v>379.0283</c:v>
                      </c:pt>
                      <c:pt idx="1440">
                        <c:v>379.0283</c:v>
                      </c:pt>
                      <c:pt idx="1441">
                        <c:v>379.0283</c:v>
                      </c:pt>
                      <c:pt idx="1442">
                        <c:v>379.0283</c:v>
                      </c:pt>
                      <c:pt idx="1443">
                        <c:v>378.8099373</c:v>
                      </c:pt>
                      <c:pt idx="1444">
                        <c:v>377.71064840000003</c:v>
                      </c:pt>
                      <c:pt idx="1445">
                        <c:v>377.19729999999998</c:v>
                      </c:pt>
                      <c:pt idx="1446">
                        <c:v>380.85939999999999</c:v>
                      </c:pt>
                      <c:pt idx="1447">
                        <c:v>380.14726109999998</c:v>
                      </c:pt>
                      <c:pt idx="1448">
                        <c:v>379.79139500000002</c:v>
                      </c:pt>
                      <c:pt idx="1449">
                        <c:v>379.53707789999999</c:v>
                      </c:pt>
                      <c:pt idx="1450">
                        <c:v>379.0276806</c:v>
                      </c:pt>
                      <c:pt idx="1451">
                        <c:v>378.11279999999999</c:v>
                      </c:pt>
                      <c:pt idx="1452">
                        <c:v>378.41802339999998</c:v>
                      </c:pt>
                      <c:pt idx="1453">
                        <c:v>378.48834040000003</c:v>
                      </c:pt>
                      <c:pt idx="1454">
                        <c:v>378.53539439999997</c:v>
                      </c:pt>
                      <c:pt idx="1455">
                        <c:v>379.94380000000001</c:v>
                      </c:pt>
                      <c:pt idx="1456">
                        <c:v>379.5847665</c:v>
                      </c:pt>
                      <c:pt idx="1457">
                        <c:v>378.66927099999998</c:v>
                      </c:pt>
                      <c:pt idx="1458">
                        <c:v>378.6513458</c:v>
                      </c:pt>
                      <c:pt idx="1459">
                        <c:v>378.59715729999999</c:v>
                      </c:pt>
                      <c:pt idx="1460">
                        <c:v>378.11279999999999</c:v>
                      </c:pt>
                      <c:pt idx="1461">
                        <c:v>379.94380000000001</c:v>
                      </c:pt>
                      <c:pt idx="1462">
                        <c:v>379.0283</c:v>
                      </c:pt>
                      <c:pt idx="1463">
                        <c:v>382.69040000000001</c:v>
                      </c:pt>
                      <c:pt idx="1464">
                        <c:v>379.0283</c:v>
                      </c:pt>
                      <c:pt idx="1465">
                        <c:v>382.69040000000001</c:v>
                      </c:pt>
                      <c:pt idx="1466">
                        <c:v>378.11279999999999</c:v>
                      </c:pt>
                      <c:pt idx="1467">
                        <c:v>378.11279999999999</c:v>
                      </c:pt>
                      <c:pt idx="1468">
                        <c:v>378.11279999999999</c:v>
                      </c:pt>
                      <c:pt idx="1469">
                        <c:v>378.11279999999999</c:v>
                      </c:pt>
                      <c:pt idx="1470">
                        <c:v>378.11279999999999</c:v>
                      </c:pt>
                      <c:pt idx="1471">
                        <c:v>378.11279999999999</c:v>
                      </c:pt>
                      <c:pt idx="1472">
                        <c:v>381.7749</c:v>
                      </c:pt>
                      <c:pt idx="1473">
                        <c:v>380.9468632</c:v>
                      </c:pt>
                      <c:pt idx="1474">
                        <c:v>380.90298280000002</c:v>
                      </c:pt>
                      <c:pt idx="1475">
                        <c:v>380.77308570000002</c:v>
                      </c:pt>
                      <c:pt idx="1476">
                        <c:v>378.11279999999999</c:v>
                      </c:pt>
                      <c:pt idx="1477">
                        <c:v>379.94380000000001</c:v>
                      </c:pt>
                      <c:pt idx="1478">
                        <c:v>379.94380000000001</c:v>
                      </c:pt>
                      <c:pt idx="1479">
                        <c:v>379.94380000000001</c:v>
                      </c:pt>
                      <c:pt idx="1480">
                        <c:v>379.0283</c:v>
                      </c:pt>
                      <c:pt idx="1481">
                        <c:v>382.69040000000001</c:v>
                      </c:pt>
                      <c:pt idx="1482">
                        <c:v>382.01567970000002</c:v>
                      </c:pt>
                      <c:pt idx="1483">
                        <c:v>381.14560879999999</c:v>
                      </c:pt>
                      <c:pt idx="1484">
                        <c:v>380.9547857</c:v>
                      </c:pt>
                      <c:pt idx="1485">
                        <c:v>379.0283</c:v>
                      </c:pt>
                      <c:pt idx="1486">
                        <c:v>381.48962519999998</c:v>
                      </c:pt>
                      <c:pt idx="1487">
                        <c:v>381.7749</c:v>
                      </c:pt>
                      <c:pt idx="1488">
                        <c:v>381.6842474</c:v>
                      </c:pt>
                      <c:pt idx="1489">
                        <c:v>381.62993749999998</c:v>
                      </c:pt>
                      <c:pt idx="1490">
                        <c:v>380.45149959999998</c:v>
                      </c:pt>
                      <c:pt idx="1491">
                        <c:v>380.39677269999999</c:v>
                      </c:pt>
                      <c:pt idx="1492">
                        <c:v>380.28801679999998</c:v>
                      </c:pt>
                      <c:pt idx="1493">
                        <c:v>380.2519552</c:v>
                      </c:pt>
                      <c:pt idx="1494">
                        <c:v>379.94380000000001</c:v>
                      </c:pt>
                      <c:pt idx="1495">
                        <c:v>383.60590000000002</c:v>
                      </c:pt>
                      <c:pt idx="1496">
                        <c:v>379.94380000000001</c:v>
                      </c:pt>
                      <c:pt idx="1497">
                        <c:v>379.0283</c:v>
                      </c:pt>
                      <c:pt idx="1498">
                        <c:v>382.69040000000001</c:v>
                      </c:pt>
                      <c:pt idx="1499">
                        <c:v>382.36869100000001</c:v>
                      </c:pt>
                      <c:pt idx="1500">
                        <c:v>382.27223120000002</c:v>
                      </c:pt>
                      <c:pt idx="1501">
                        <c:v>382.14419650000002</c:v>
                      </c:pt>
                      <c:pt idx="1502">
                        <c:v>380.85939999999999</c:v>
                      </c:pt>
                      <c:pt idx="1503">
                        <c:v>380.5535304</c:v>
                      </c:pt>
                      <c:pt idx="1504">
                        <c:v>380.35082940000001</c:v>
                      </c:pt>
                      <c:pt idx="1505">
                        <c:v>379.94380000000001</c:v>
                      </c:pt>
                      <c:pt idx="1506">
                        <c:v>383.60590000000002</c:v>
                      </c:pt>
                      <c:pt idx="1507">
                        <c:v>381.968097</c:v>
                      </c:pt>
                      <c:pt idx="1508">
                        <c:v>381.58237430000003</c:v>
                      </c:pt>
                      <c:pt idx="1509">
                        <c:v>379.94380000000001</c:v>
                      </c:pt>
                      <c:pt idx="1510">
                        <c:v>382.69040000000001</c:v>
                      </c:pt>
                      <c:pt idx="1511">
                        <c:v>381.67318460000001</c:v>
                      </c:pt>
                      <c:pt idx="1512">
                        <c:v>381.3878646</c:v>
                      </c:pt>
                      <c:pt idx="1513">
                        <c:v>381.3050192</c:v>
                      </c:pt>
                      <c:pt idx="1514">
                        <c:v>380.85939999999999</c:v>
                      </c:pt>
                      <c:pt idx="1515">
                        <c:v>381.5422059</c:v>
                      </c:pt>
                      <c:pt idx="1516">
                        <c:v>381.58007040000001</c:v>
                      </c:pt>
                      <c:pt idx="1517">
                        <c:v>381.58750220000002</c:v>
                      </c:pt>
                      <c:pt idx="1518">
                        <c:v>381.7749</c:v>
                      </c:pt>
                      <c:pt idx="1519">
                        <c:v>381.72245850000002</c:v>
                      </c:pt>
                      <c:pt idx="1520">
                        <c:v>381.67646789999998</c:v>
                      </c:pt>
                      <c:pt idx="1521">
                        <c:v>381.6633645</c:v>
                      </c:pt>
                      <c:pt idx="1522">
                        <c:v>381.56493239999998</c:v>
                      </c:pt>
                      <c:pt idx="1523">
                        <c:v>381.56155439999998</c:v>
                      </c:pt>
                      <c:pt idx="1524">
                        <c:v>381.55832900000001</c:v>
                      </c:pt>
                      <c:pt idx="1525">
                        <c:v>381.4992858</c:v>
                      </c:pt>
                      <c:pt idx="1526">
                        <c:v>381.48605279999998</c:v>
                      </c:pt>
                      <c:pt idx="1527">
                        <c:v>381.38777490000001</c:v>
                      </c:pt>
                      <c:pt idx="1528">
                        <c:v>381.3221284</c:v>
                      </c:pt>
                      <c:pt idx="1529">
                        <c:v>381.31887669999998</c:v>
                      </c:pt>
                      <c:pt idx="1530">
                        <c:v>381.3121979</c:v>
                      </c:pt>
                      <c:pt idx="1531">
                        <c:v>381.30574869999998</c:v>
                      </c:pt>
                      <c:pt idx="1532">
                        <c:v>381.1449447</c:v>
                      </c:pt>
                      <c:pt idx="1533">
                        <c:v>381.13841839999998</c:v>
                      </c:pt>
                      <c:pt idx="1534">
                        <c:v>381.05306510000003</c:v>
                      </c:pt>
                      <c:pt idx="1535">
                        <c:v>380.96771009999998</c:v>
                      </c:pt>
                      <c:pt idx="1536">
                        <c:v>380.94142620000002</c:v>
                      </c:pt>
                      <c:pt idx="1537">
                        <c:v>380.85939999999999</c:v>
                      </c:pt>
                      <c:pt idx="1538">
                        <c:v>381.7749</c:v>
                      </c:pt>
                      <c:pt idx="1539">
                        <c:v>382.68898089999999</c:v>
                      </c:pt>
                      <c:pt idx="1540">
                        <c:v>382.871083</c:v>
                      </c:pt>
                      <c:pt idx="1541">
                        <c:v>383.1467538</c:v>
                      </c:pt>
                      <c:pt idx="1542">
                        <c:v>383.60590000000002</c:v>
                      </c:pt>
                      <c:pt idx="1543">
                        <c:v>381.7749</c:v>
                      </c:pt>
                      <c:pt idx="1544">
                        <c:v>381.7749</c:v>
                      </c:pt>
                      <c:pt idx="1545">
                        <c:v>381.7749</c:v>
                      </c:pt>
                      <c:pt idx="1546">
                        <c:v>381.7749</c:v>
                      </c:pt>
                      <c:pt idx="1547">
                        <c:v>381.7749</c:v>
                      </c:pt>
                      <c:pt idx="1548">
                        <c:v>381.7749</c:v>
                      </c:pt>
                      <c:pt idx="1549">
                        <c:v>380.85939999999999</c:v>
                      </c:pt>
                      <c:pt idx="1550">
                        <c:v>382.69040000000001</c:v>
                      </c:pt>
                      <c:pt idx="1551">
                        <c:v>382.1367022</c:v>
                      </c:pt>
                      <c:pt idx="1552">
                        <c:v>382.11192089999997</c:v>
                      </c:pt>
                      <c:pt idx="1553">
                        <c:v>382.06441640000003</c:v>
                      </c:pt>
                      <c:pt idx="1554">
                        <c:v>381.7749</c:v>
                      </c:pt>
                      <c:pt idx="1555">
                        <c:v>381.4111671</c:v>
                      </c:pt>
                      <c:pt idx="1556">
                        <c:v>381.28613919999998</c:v>
                      </c:pt>
                      <c:pt idx="1557">
                        <c:v>381.23565639999998</c:v>
                      </c:pt>
                      <c:pt idx="1558">
                        <c:v>381.19789780000002</c:v>
                      </c:pt>
                      <c:pt idx="1559">
                        <c:v>381.16023330000002</c:v>
                      </c:pt>
                      <c:pt idx="1560">
                        <c:v>380.85939999999999</c:v>
                      </c:pt>
                      <c:pt idx="1561">
                        <c:v>384.5215</c:v>
                      </c:pt>
                      <c:pt idx="1562">
                        <c:v>380.85939999999999</c:v>
                      </c:pt>
                      <c:pt idx="1563">
                        <c:v>381.02056750000003</c:v>
                      </c:pt>
                      <c:pt idx="1564">
                        <c:v>381.06409530000002</c:v>
                      </c:pt>
                      <c:pt idx="1565">
                        <c:v>381.0753583</c:v>
                      </c:pt>
                      <c:pt idx="1566">
                        <c:v>381.09611230000002</c:v>
                      </c:pt>
                      <c:pt idx="1567">
                        <c:v>381.63465339999999</c:v>
                      </c:pt>
                      <c:pt idx="1568">
                        <c:v>381.6457441</c:v>
                      </c:pt>
                      <c:pt idx="1569">
                        <c:v>381.7749</c:v>
                      </c:pt>
                      <c:pt idx="1570">
                        <c:v>381.7749</c:v>
                      </c:pt>
                      <c:pt idx="1571">
                        <c:v>381.7749</c:v>
                      </c:pt>
                      <c:pt idx="1572">
                        <c:v>381.7749</c:v>
                      </c:pt>
                      <c:pt idx="1573">
                        <c:v>381.7749</c:v>
                      </c:pt>
                      <c:pt idx="1574">
                        <c:v>381.7749</c:v>
                      </c:pt>
                      <c:pt idx="1575">
                        <c:v>381.31355380000002</c:v>
                      </c:pt>
                      <c:pt idx="1576">
                        <c:v>380.85939999999999</c:v>
                      </c:pt>
                      <c:pt idx="1577">
                        <c:v>382.69040000000001</c:v>
                      </c:pt>
                      <c:pt idx="1578">
                        <c:v>382.25320579999999</c:v>
                      </c:pt>
                      <c:pt idx="1579">
                        <c:v>382.08000340000001</c:v>
                      </c:pt>
                      <c:pt idx="1580">
                        <c:v>382.04712410000002</c:v>
                      </c:pt>
                      <c:pt idx="1581">
                        <c:v>381.98098169999997</c:v>
                      </c:pt>
                      <c:pt idx="1582">
                        <c:v>381.7749</c:v>
                      </c:pt>
                      <c:pt idx="1583">
                        <c:v>380.23666780000002</c:v>
                      </c:pt>
                      <c:pt idx="1584">
                        <c:v>380.16127749999998</c:v>
                      </c:pt>
                      <c:pt idx="1585">
                        <c:v>379.97992349999998</c:v>
                      </c:pt>
                      <c:pt idx="1586">
                        <c:v>379.0283</c:v>
                      </c:pt>
                      <c:pt idx="1587">
                        <c:v>382.69040000000001</c:v>
                      </c:pt>
                      <c:pt idx="1588">
                        <c:v>381.7749</c:v>
                      </c:pt>
                      <c:pt idx="1589">
                        <c:v>382.69040000000001</c:v>
                      </c:pt>
                      <c:pt idx="1590">
                        <c:v>381.7749</c:v>
                      </c:pt>
                      <c:pt idx="1591">
                        <c:v>381.7749</c:v>
                      </c:pt>
                      <c:pt idx="1592">
                        <c:v>381.7749</c:v>
                      </c:pt>
                      <c:pt idx="1593">
                        <c:v>381.7749</c:v>
                      </c:pt>
                      <c:pt idx="1594">
                        <c:v>381.7749</c:v>
                      </c:pt>
                      <c:pt idx="1595">
                        <c:v>381.7749</c:v>
                      </c:pt>
                      <c:pt idx="1596">
                        <c:v>381.7749</c:v>
                      </c:pt>
                      <c:pt idx="1597">
                        <c:v>381.7749</c:v>
                      </c:pt>
                      <c:pt idx="1598">
                        <c:v>381.753151</c:v>
                      </c:pt>
                      <c:pt idx="1599">
                        <c:v>381.40477490000001</c:v>
                      </c:pt>
                      <c:pt idx="1600">
                        <c:v>380.85939999999999</c:v>
                      </c:pt>
                      <c:pt idx="1601">
                        <c:v>382.69040000000001</c:v>
                      </c:pt>
                      <c:pt idx="1602">
                        <c:v>382.37115510000001</c:v>
                      </c:pt>
                      <c:pt idx="1603">
                        <c:v>382.29241020000001</c:v>
                      </c:pt>
                      <c:pt idx="1604">
                        <c:v>382.06278229999998</c:v>
                      </c:pt>
                      <c:pt idx="1605">
                        <c:v>381.7749</c:v>
                      </c:pt>
                      <c:pt idx="1606">
                        <c:v>381.7749</c:v>
                      </c:pt>
                      <c:pt idx="1607">
                        <c:v>381.7749</c:v>
                      </c:pt>
                      <c:pt idx="1608">
                        <c:v>381.7749</c:v>
                      </c:pt>
                      <c:pt idx="1609">
                        <c:v>381.7749</c:v>
                      </c:pt>
                      <c:pt idx="1610">
                        <c:v>381.7749</c:v>
                      </c:pt>
                      <c:pt idx="1611">
                        <c:v>381.7749</c:v>
                      </c:pt>
                      <c:pt idx="1612">
                        <c:v>381.7749</c:v>
                      </c:pt>
                      <c:pt idx="1613">
                        <c:v>381.7749</c:v>
                      </c:pt>
                      <c:pt idx="1614">
                        <c:v>381.7749</c:v>
                      </c:pt>
                      <c:pt idx="1615">
                        <c:v>381.7749</c:v>
                      </c:pt>
                      <c:pt idx="1616">
                        <c:v>381.7749</c:v>
                      </c:pt>
                      <c:pt idx="1617">
                        <c:v>381.7749</c:v>
                      </c:pt>
                      <c:pt idx="1618">
                        <c:v>381.7749</c:v>
                      </c:pt>
                      <c:pt idx="1619">
                        <c:v>381.7749</c:v>
                      </c:pt>
                      <c:pt idx="1620">
                        <c:v>381.7749</c:v>
                      </c:pt>
                      <c:pt idx="1621">
                        <c:v>380.85939999999999</c:v>
                      </c:pt>
                      <c:pt idx="1622">
                        <c:v>380.96944380000002</c:v>
                      </c:pt>
                      <c:pt idx="1623">
                        <c:v>381.0346601</c:v>
                      </c:pt>
                      <c:pt idx="1624">
                        <c:v>381.3394821</c:v>
                      </c:pt>
                      <c:pt idx="1625">
                        <c:v>381.53409699999997</c:v>
                      </c:pt>
                      <c:pt idx="1626">
                        <c:v>381.5993024</c:v>
                      </c:pt>
                      <c:pt idx="1627">
                        <c:v>381.64430399999998</c:v>
                      </c:pt>
                      <c:pt idx="1628">
                        <c:v>381.70952039999997</c:v>
                      </c:pt>
                      <c:pt idx="1629">
                        <c:v>381.7749</c:v>
                      </c:pt>
                      <c:pt idx="1630">
                        <c:v>381.79774259999999</c:v>
                      </c:pt>
                      <c:pt idx="1631">
                        <c:v>382.6446919</c:v>
                      </c:pt>
                      <c:pt idx="1632">
                        <c:v>382.69040000000001</c:v>
                      </c:pt>
                      <c:pt idx="1633">
                        <c:v>380.85939999999999</c:v>
                      </c:pt>
                      <c:pt idx="1634">
                        <c:v>382.69040000000001</c:v>
                      </c:pt>
                      <c:pt idx="1635">
                        <c:v>381.7749</c:v>
                      </c:pt>
                      <c:pt idx="1636">
                        <c:v>379.94380000000001</c:v>
                      </c:pt>
                      <c:pt idx="1637">
                        <c:v>383.60590000000002</c:v>
                      </c:pt>
                      <c:pt idx="1638">
                        <c:v>379.94380000000001</c:v>
                      </c:pt>
                      <c:pt idx="1639">
                        <c:v>383.60590000000002</c:v>
                      </c:pt>
                      <c:pt idx="1640">
                        <c:v>381.7749</c:v>
                      </c:pt>
                      <c:pt idx="1641">
                        <c:v>382.25361839999999</c:v>
                      </c:pt>
                      <c:pt idx="1642">
                        <c:v>382.28448459999998</c:v>
                      </c:pt>
                      <c:pt idx="1643">
                        <c:v>382.28999909999999</c:v>
                      </c:pt>
                      <c:pt idx="1644">
                        <c:v>382.3105645</c:v>
                      </c:pt>
                      <c:pt idx="1645">
                        <c:v>382.69040000000001</c:v>
                      </c:pt>
                      <c:pt idx="1646">
                        <c:v>382.5004199</c:v>
                      </c:pt>
                      <c:pt idx="1647">
                        <c:v>382.48635589999998</c:v>
                      </c:pt>
                      <c:pt idx="1648">
                        <c:v>382.39477140000002</c:v>
                      </c:pt>
                      <c:pt idx="1649">
                        <c:v>382.38754649999998</c:v>
                      </c:pt>
                      <c:pt idx="1650">
                        <c:v>381.97206970000002</c:v>
                      </c:pt>
                      <c:pt idx="1651">
                        <c:v>381.7749</c:v>
                      </c:pt>
                      <c:pt idx="1652">
                        <c:v>381.7749</c:v>
                      </c:pt>
                      <c:pt idx="1653">
                        <c:v>381.7749</c:v>
                      </c:pt>
                      <c:pt idx="1654">
                        <c:v>381.7749</c:v>
                      </c:pt>
                      <c:pt idx="1655">
                        <c:v>381.7749</c:v>
                      </c:pt>
                      <c:pt idx="1656">
                        <c:v>381.7749</c:v>
                      </c:pt>
                      <c:pt idx="1657">
                        <c:v>381.7749</c:v>
                      </c:pt>
                      <c:pt idx="1658">
                        <c:v>381.7749</c:v>
                      </c:pt>
                      <c:pt idx="1659">
                        <c:v>381.7749</c:v>
                      </c:pt>
                      <c:pt idx="1660">
                        <c:v>381.7749</c:v>
                      </c:pt>
                      <c:pt idx="1661">
                        <c:v>381.7749</c:v>
                      </c:pt>
                      <c:pt idx="1662">
                        <c:v>381.7749</c:v>
                      </c:pt>
                      <c:pt idx="1663">
                        <c:v>381.7749</c:v>
                      </c:pt>
                      <c:pt idx="1664">
                        <c:v>381.7749</c:v>
                      </c:pt>
                      <c:pt idx="1665">
                        <c:v>381.7749</c:v>
                      </c:pt>
                      <c:pt idx="1666">
                        <c:v>381.7749</c:v>
                      </c:pt>
                      <c:pt idx="1667">
                        <c:v>381.7749</c:v>
                      </c:pt>
                      <c:pt idx="1668">
                        <c:v>381.7749</c:v>
                      </c:pt>
                      <c:pt idx="1669">
                        <c:v>381.7749</c:v>
                      </c:pt>
                      <c:pt idx="1670">
                        <c:v>381.7749</c:v>
                      </c:pt>
                      <c:pt idx="1671">
                        <c:v>381.7749</c:v>
                      </c:pt>
                      <c:pt idx="1672">
                        <c:v>381.7749</c:v>
                      </c:pt>
                      <c:pt idx="1673">
                        <c:v>381.7749</c:v>
                      </c:pt>
                      <c:pt idx="1674">
                        <c:v>381.7749</c:v>
                      </c:pt>
                      <c:pt idx="1675">
                        <c:v>381.7749</c:v>
                      </c:pt>
                      <c:pt idx="1676">
                        <c:v>381.7749</c:v>
                      </c:pt>
                      <c:pt idx="1677">
                        <c:v>381.7749</c:v>
                      </c:pt>
                      <c:pt idx="1678">
                        <c:v>381.7749</c:v>
                      </c:pt>
                      <c:pt idx="1679">
                        <c:v>381.7749</c:v>
                      </c:pt>
                      <c:pt idx="1680">
                        <c:v>381.7749</c:v>
                      </c:pt>
                      <c:pt idx="1681">
                        <c:v>381.7749</c:v>
                      </c:pt>
                      <c:pt idx="1682">
                        <c:v>381.7749</c:v>
                      </c:pt>
                      <c:pt idx="1683">
                        <c:v>381.7749</c:v>
                      </c:pt>
                      <c:pt idx="1684">
                        <c:v>381.7749</c:v>
                      </c:pt>
                      <c:pt idx="1685">
                        <c:v>381.7749</c:v>
                      </c:pt>
                      <c:pt idx="1686">
                        <c:v>381.7749</c:v>
                      </c:pt>
                      <c:pt idx="1687">
                        <c:v>381.7749</c:v>
                      </c:pt>
                      <c:pt idx="1688">
                        <c:v>381.7749</c:v>
                      </c:pt>
                      <c:pt idx="1689">
                        <c:v>381.7749</c:v>
                      </c:pt>
                      <c:pt idx="1690">
                        <c:v>381.7749</c:v>
                      </c:pt>
                      <c:pt idx="1691">
                        <c:v>381.7749</c:v>
                      </c:pt>
                      <c:pt idx="1692">
                        <c:v>381.7749</c:v>
                      </c:pt>
                      <c:pt idx="1693">
                        <c:v>381.7749</c:v>
                      </c:pt>
                      <c:pt idx="1694">
                        <c:v>381.7749</c:v>
                      </c:pt>
                      <c:pt idx="1695">
                        <c:v>381.7749</c:v>
                      </c:pt>
                      <c:pt idx="1696">
                        <c:v>381.7749</c:v>
                      </c:pt>
                      <c:pt idx="1697">
                        <c:v>381.7749</c:v>
                      </c:pt>
                      <c:pt idx="1698">
                        <c:v>381.7749</c:v>
                      </c:pt>
                      <c:pt idx="1699">
                        <c:v>381.7749</c:v>
                      </c:pt>
                      <c:pt idx="1700">
                        <c:v>381.7749</c:v>
                      </c:pt>
                      <c:pt idx="1701">
                        <c:v>381.7749</c:v>
                      </c:pt>
                      <c:pt idx="1702">
                        <c:v>381.7749</c:v>
                      </c:pt>
                      <c:pt idx="1703">
                        <c:v>381.7749</c:v>
                      </c:pt>
                      <c:pt idx="1704">
                        <c:v>381.7749</c:v>
                      </c:pt>
                      <c:pt idx="1705">
                        <c:v>381.7749</c:v>
                      </c:pt>
                      <c:pt idx="1706">
                        <c:v>381.7749</c:v>
                      </c:pt>
                      <c:pt idx="1707">
                        <c:v>381.7749</c:v>
                      </c:pt>
                      <c:pt idx="1708">
                        <c:v>381.7749</c:v>
                      </c:pt>
                      <c:pt idx="1709">
                        <c:v>381.7749</c:v>
                      </c:pt>
                      <c:pt idx="1710">
                        <c:v>381.7749</c:v>
                      </c:pt>
                      <c:pt idx="1711">
                        <c:v>381.7749</c:v>
                      </c:pt>
                      <c:pt idx="1712">
                        <c:v>381.7749</c:v>
                      </c:pt>
                      <c:pt idx="1713">
                        <c:v>381.7749</c:v>
                      </c:pt>
                      <c:pt idx="1714">
                        <c:v>381.7749</c:v>
                      </c:pt>
                      <c:pt idx="1715">
                        <c:v>381.7749</c:v>
                      </c:pt>
                      <c:pt idx="1716">
                        <c:v>381.7749</c:v>
                      </c:pt>
                      <c:pt idx="1717">
                        <c:v>381.7749</c:v>
                      </c:pt>
                      <c:pt idx="1718">
                        <c:v>381.7749</c:v>
                      </c:pt>
                      <c:pt idx="1719">
                        <c:v>381.7749</c:v>
                      </c:pt>
                      <c:pt idx="1720">
                        <c:v>381.7749</c:v>
                      </c:pt>
                      <c:pt idx="1721">
                        <c:v>381.7749</c:v>
                      </c:pt>
                      <c:pt idx="1722">
                        <c:v>381.7749</c:v>
                      </c:pt>
                      <c:pt idx="1723">
                        <c:v>381.7749</c:v>
                      </c:pt>
                      <c:pt idx="1724">
                        <c:v>381.7749</c:v>
                      </c:pt>
                      <c:pt idx="1725">
                        <c:v>381.7749</c:v>
                      </c:pt>
                      <c:pt idx="1726">
                        <c:v>381.7749</c:v>
                      </c:pt>
                      <c:pt idx="1727">
                        <c:v>381.7749</c:v>
                      </c:pt>
                      <c:pt idx="1728">
                        <c:v>381.7749</c:v>
                      </c:pt>
                      <c:pt idx="1729">
                        <c:v>381.7749</c:v>
                      </c:pt>
                      <c:pt idx="1730">
                        <c:v>381.7749</c:v>
                      </c:pt>
                      <c:pt idx="1731">
                        <c:v>381.7749</c:v>
                      </c:pt>
                      <c:pt idx="1732">
                        <c:v>381.7749</c:v>
                      </c:pt>
                      <c:pt idx="1733">
                        <c:v>381.7749</c:v>
                      </c:pt>
                      <c:pt idx="1734">
                        <c:v>381.7749</c:v>
                      </c:pt>
                      <c:pt idx="1735">
                        <c:v>381.7749</c:v>
                      </c:pt>
                      <c:pt idx="1736">
                        <c:v>381.7749</c:v>
                      </c:pt>
                      <c:pt idx="1737">
                        <c:v>381.7749</c:v>
                      </c:pt>
                      <c:pt idx="1738">
                        <c:v>381.7749</c:v>
                      </c:pt>
                      <c:pt idx="1739">
                        <c:v>381.7749</c:v>
                      </c:pt>
                      <c:pt idx="1740">
                        <c:v>381.7749</c:v>
                      </c:pt>
                      <c:pt idx="1741">
                        <c:v>381.7749</c:v>
                      </c:pt>
                      <c:pt idx="1742">
                        <c:v>381.7749</c:v>
                      </c:pt>
                      <c:pt idx="1743">
                        <c:v>381.7749</c:v>
                      </c:pt>
                      <c:pt idx="1744">
                        <c:v>381.7749</c:v>
                      </c:pt>
                      <c:pt idx="1745">
                        <c:v>381.7749</c:v>
                      </c:pt>
                      <c:pt idx="1746">
                        <c:v>381.7749</c:v>
                      </c:pt>
                      <c:pt idx="1747">
                        <c:v>381.7749</c:v>
                      </c:pt>
                      <c:pt idx="1748">
                        <c:v>381.4121591</c:v>
                      </c:pt>
                      <c:pt idx="1749">
                        <c:v>381.04648839999999</c:v>
                      </c:pt>
                      <c:pt idx="1750">
                        <c:v>380.67514139999997</c:v>
                      </c:pt>
                      <c:pt idx="1751">
                        <c:v>380.31514709999999</c:v>
                      </c:pt>
                      <c:pt idx="1752">
                        <c:v>379.94380000000001</c:v>
                      </c:pt>
                      <c:pt idx="1753">
                        <c:v>380.8556969</c:v>
                      </c:pt>
                      <c:pt idx="1754">
                        <c:v>381.7749</c:v>
                      </c:pt>
                      <c:pt idx="1755">
                        <c:v>381.7749</c:v>
                      </c:pt>
                      <c:pt idx="1756">
                        <c:v>381.7749</c:v>
                      </c:pt>
                      <c:pt idx="1757">
                        <c:v>381.7749</c:v>
                      </c:pt>
                      <c:pt idx="1758">
                        <c:v>381.7749</c:v>
                      </c:pt>
                      <c:pt idx="1759">
                        <c:v>381.7749</c:v>
                      </c:pt>
                      <c:pt idx="1760">
                        <c:v>381.7749</c:v>
                      </c:pt>
                      <c:pt idx="1761">
                        <c:v>381.7749</c:v>
                      </c:pt>
                      <c:pt idx="1762">
                        <c:v>381.7749</c:v>
                      </c:pt>
                      <c:pt idx="1763">
                        <c:v>381.7749</c:v>
                      </c:pt>
                      <c:pt idx="1764">
                        <c:v>381.7749</c:v>
                      </c:pt>
                      <c:pt idx="1765">
                        <c:v>381.7749</c:v>
                      </c:pt>
                      <c:pt idx="1766">
                        <c:v>381.7749</c:v>
                      </c:pt>
                      <c:pt idx="1767">
                        <c:v>381.7749</c:v>
                      </c:pt>
                      <c:pt idx="1768">
                        <c:v>381.7749</c:v>
                      </c:pt>
                      <c:pt idx="1769">
                        <c:v>381.7749</c:v>
                      </c:pt>
                      <c:pt idx="1770">
                        <c:v>381.7749</c:v>
                      </c:pt>
                      <c:pt idx="1771">
                        <c:v>381.7749</c:v>
                      </c:pt>
                      <c:pt idx="1772">
                        <c:v>381.7749</c:v>
                      </c:pt>
                      <c:pt idx="1773">
                        <c:v>381.7749</c:v>
                      </c:pt>
                      <c:pt idx="1774">
                        <c:v>381.7749</c:v>
                      </c:pt>
                      <c:pt idx="1775">
                        <c:v>381.7749</c:v>
                      </c:pt>
                      <c:pt idx="1776">
                        <c:v>381.7749</c:v>
                      </c:pt>
                      <c:pt idx="1777">
                        <c:v>381.7749</c:v>
                      </c:pt>
                      <c:pt idx="1778">
                        <c:v>381.7749</c:v>
                      </c:pt>
                      <c:pt idx="1779">
                        <c:v>381.7749</c:v>
                      </c:pt>
                      <c:pt idx="1780">
                        <c:v>381.7749</c:v>
                      </c:pt>
                      <c:pt idx="1781">
                        <c:v>381.7749</c:v>
                      </c:pt>
                      <c:pt idx="1782">
                        <c:v>381.7749</c:v>
                      </c:pt>
                      <c:pt idx="1783">
                        <c:v>381.7749</c:v>
                      </c:pt>
                      <c:pt idx="1784">
                        <c:v>381.7749</c:v>
                      </c:pt>
                      <c:pt idx="1785">
                        <c:v>381.7749</c:v>
                      </c:pt>
                      <c:pt idx="1786">
                        <c:v>381.7749</c:v>
                      </c:pt>
                      <c:pt idx="1787">
                        <c:v>381.7749</c:v>
                      </c:pt>
                      <c:pt idx="1788">
                        <c:v>381.7749</c:v>
                      </c:pt>
                      <c:pt idx="1789">
                        <c:v>381.7749</c:v>
                      </c:pt>
                      <c:pt idx="1790">
                        <c:v>381.7749</c:v>
                      </c:pt>
                      <c:pt idx="1791">
                        <c:v>381.7749</c:v>
                      </c:pt>
                      <c:pt idx="1792">
                        <c:v>381.7749</c:v>
                      </c:pt>
                      <c:pt idx="1793">
                        <c:v>381.7749</c:v>
                      </c:pt>
                      <c:pt idx="1794">
                        <c:v>381.7749</c:v>
                      </c:pt>
                      <c:pt idx="1795">
                        <c:v>381.7749</c:v>
                      </c:pt>
                      <c:pt idx="1796">
                        <c:v>381.7749</c:v>
                      </c:pt>
                      <c:pt idx="1797">
                        <c:v>381.7749</c:v>
                      </c:pt>
                      <c:pt idx="1798">
                        <c:v>381.7749</c:v>
                      </c:pt>
                      <c:pt idx="1799">
                        <c:v>381.7749</c:v>
                      </c:pt>
                      <c:pt idx="1800">
                        <c:v>381.7749</c:v>
                      </c:pt>
                      <c:pt idx="1801">
                        <c:v>381.7749</c:v>
                      </c:pt>
                      <c:pt idx="1802">
                        <c:v>381.7749</c:v>
                      </c:pt>
                      <c:pt idx="1803">
                        <c:v>381.7749</c:v>
                      </c:pt>
                      <c:pt idx="1804">
                        <c:v>381.7749</c:v>
                      </c:pt>
                      <c:pt idx="1805">
                        <c:v>381.7749</c:v>
                      </c:pt>
                      <c:pt idx="1806">
                        <c:v>381.7749</c:v>
                      </c:pt>
                      <c:pt idx="1807">
                        <c:v>381.7749</c:v>
                      </c:pt>
                      <c:pt idx="1808">
                        <c:v>381.7749</c:v>
                      </c:pt>
                      <c:pt idx="1809">
                        <c:v>381.7749</c:v>
                      </c:pt>
                      <c:pt idx="1810">
                        <c:v>381.7749</c:v>
                      </c:pt>
                      <c:pt idx="1811">
                        <c:v>381.7749</c:v>
                      </c:pt>
                      <c:pt idx="1812">
                        <c:v>381.7749</c:v>
                      </c:pt>
                      <c:pt idx="1813">
                        <c:v>381.7749</c:v>
                      </c:pt>
                      <c:pt idx="1814">
                        <c:v>381.7749</c:v>
                      </c:pt>
                      <c:pt idx="1815">
                        <c:v>381.7749</c:v>
                      </c:pt>
                      <c:pt idx="1816">
                        <c:v>381.7749</c:v>
                      </c:pt>
                      <c:pt idx="1817">
                        <c:v>381.7749</c:v>
                      </c:pt>
                      <c:pt idx="1818">
                        <c:v>381.7749</c:v>
                      </c:pt>
                      <c:pt idx="1819">
                        <c:v>381.7749</c:v>
                      </c:pt>
                      <c:pt idx="1820">
                        <c:v>381.7749</c:v>
                      </c:pt>
                      <c:pt idx="1821">
                        <c:v>381.7749</c:v>
                      </c:pt>
                      <c:pt idx="1822">
                        <c:v>381.7749</c:v>
                      </c:pt>
                      <c:pt idx="1823">
                        <c:v>381.7749</c:v>
                      </c:pt>
                      <c:pt idx="1824">
                        <c:v>381.7749</c:v>
                      </c:pt>
                      <c:pt idx="1825">
                        <c:v>381.7749</c:v>
                      </c:pt>
                      <c:pt idx="1826">
                        <c:v>381.7749</c:v>
                      </c:pt>
                      <c:pt idx="1827">
                        <c:v>381.7749</c:v>
                      </c:pt>
                      <c:pt idx="1828">
                        <c:v>381.7749</c:v>
                      </c:pt>
                      <c:pt idx="1829">
                        <c:v>381.7749</c:v>
                      </c:pt>
                      <c:pt idx="1830">
                        <c:v>381.7749</c:v>
                      </c:pt>
                      <c:pt idx="1831">
                        <c:v>381.7749</c:v>
                      </c:pt>
                      <c:pt idx="1832">
                        <c:v>381.7749</c:v>
                      </c:pt>
                      <c:pt idx="1833">
                        <c:v>381.7749</c:v>
                      </c:pt>
                      <c:pt idx="1834">
                        <c:v>381.7749</c:v>
                      </c:pt>
                      <c:pt idx="1835">
                        <c:v>381.7749</c:v>
                      </c:pt>
                      <c:pt idx="1836">
                        <c:v>381.7749</c:v>
                      </c:pt>
                      <c:pt idx="1837">
                        <c:v>381.7749</c:v>
                      </c:pt>
                      <c:pt idx="1838">
                        <c:v>381.7749</c:v>
                      </c:pt>
                      <c:pt idx="1839">
                        <c:v>381.7749</c:v>
                      </c:pt>
                      <c:pt idx="1840">
                        <c:v>381.7749</c:v>
                      </c:pt>
                      <c:pt idx="1841">
                        <c:v>381.7749</c:v>
                      </c:pt>
                      <c:pt idx="1842">
                        <c:v>381.7749</c:v>
                      </c:pt>
                      <c:pt idx="1843">
                        <c:v>381.7749</c:v>
                      </c:pt>
                      <c:pt idx="1844">
                        <c:v>381.7749</c:v>
                      </c:pt>
                      <c:pt idx="1845">
                        <c:v>381.7749</c:v>
                      </c:pt>
                      <c:pt idx="1846">
                        <c:v>381.7749</c:v>
                      </c:pt>
                      <c:pt idx="1847">
                        <c:v>381.7749</c:v>
                      </c:pt>
                      <c:pt idx="1848">
                        <c:v>381.7749</c:v>
                      </c:pt>
                      <c:pt idx="1849">
                        <c:v>381.7749</c:v>
                      </c:pt>
                      <c:pt idx="1850">
                        <c:v>381.7749</c:v>
                      </c:pt>
                      <c:pt idx="1851">
                        <c:v>381.7749</c:v>
                      </c:pt>
                      <c:pt idx="1852">
                        <c:v>381.7749</c:v>
                      </c:pt>
                      <c:pt idx="1853">
                        <c:v>381.7749</c:v>
                      </c:pt>
                      <c:pt idx="1854">
                        <c:v>381.7749</c:v>
                      </c:pt>
                      <c:pt idx="1855">
                        <c:v>381.7749</c:v>
                      </c:pt>
                      <c:pt idx="1856">
                        <c:v>381.7749</c:v>
                      </c:pt>
                      <c:pt idx="1857">
                        <c:v>381.7749</c:v>
                      </c:pt>
                      <c:pt idx="1858">
                        <c:v>381.7749</c:v>
                      </c:pt>
                      <c:pt idx="1859">
                        <c:v>381.7749</c:v>
                      </c:pt>
                      <c:pt idx="1860">
                        <c:v>381.7749</c:v>
                      </c:pt>
                      <c:pt idx="1861">
                        <c:v>381.7749</c:v>
                      </c:pt>
                      <c:pt idx="1862">
                        <c:v>381.7749</c:v>
                      </c:pt>
                      <c:pt idx="1863">
                        <c:v>381.7749</c:v>
                      </c:pt>
                      <c:pt idx="1864">
                        <c:v>381.7749</c:v>
                      </c:pt>
                      <c:pt idx="1865">
                        <c:v>381.7749</c:v>
                      </c:pt>
                      <c:pt idx="1866">
                        <c:v>381.7749</c:v>
                      </c:pt>
                      <c:pt idx="1867">
                        <c:v>381.7749</c:v>
                      </c:pt>
                      <c:pt idx="1868">
                        <c:v>381.7749</c:v>
                      </c:pt>
                      <c:pt idx="1869">
                        <c:v>381.7749</c:v>
                      </c:pt>
                      <c:pt idx="1870">
                        <c:v>381.7749</c:v>
                      </c:pt>
                      <c:pt idx="1871">
                        <c:v>381.7749</c:v>
                      </c:pt>
                      <c:pt idx="1872">
                        <c:v>381.7749</c:v>
                      </c:pt>
                      <c:pt idx="1873">
                        <c:v>381.7749</c:v>
                      </c:pt>
                      <c:pt idx="1874">
                        <c:v>381.7749</c:v>
                      </c:pt>
                      <c:pt idx="1875">
                        <c:v>381.7749</c:v>
                      </c:pt>
                      <c:pt idx="1876">
                        <c:v>381.7749</c:v>
                      </c:pt>
                      <c:pt idx="1877">
                        <c:v>381.7749</c:v>
                      </c:pt>
                      <c:pt idx="1878">
                        <c:v>381.7749</c:v>
                      </c:pt>
                      <c:pt idx="1879">
                        <c:v>381.7749</c:v>
                      </c:pt>
                      <c:pt idx="1880">
                        <c:v>381.7749</c:v>
                      </c:pt>
                      <c:pt idx="1881">
                        <c:v>381.7749</c:v>
                      </c:pt>
                      <c:pt idx="1882">
                        <c:v>381.7749</c:v>
                      </c:pt>
                      <c:pt idx="1883">
                        <c:v>381.7749</c:v>
                      </c:pt>
                      <c:pt idx="1884">
                        <c:v>381.7749</c:v>
                      </c:pt>
                      <c:pt idx="1885">
                        <c:v>381.7749</c:v>
                      </c:pt>
                      <c:pt idx="1886">
                        <c:v>381.7749</c:v>
                      </c:pt>
                      <c:pt idx="1887">
                        <c:v>381.7749</c:v>
                      </c:pt>
                      <c:pt idx="1888">
                        <c:v>381.7749</c:v>
                      </c:pt>
                      <c:pt idx="1889">
                        <c:v>381.7749</c:v>
                      </c:pt>
                      <c:pt idx="1890">
                        <c:v>381.7749</c:v>
                      </c:pt>
                      <c:pt idx="1891">
                        <c:v>381.7749</c:v>
                      </c:pt>
                      <c:pt idx="1892">
                        <c:v>381.7749</c:v>
                      </c:pt>
                      <c:pt idx="1893">
                        <c:v>381.7749</c:v>
                      </c:pt>
                      <c:pt idx="1894">
                        <c:v>381.7749</c:v>
                      </c:pt>
                      <c:pt idx="1895">
                        <c:v>381.75443669999999</c:v>
                      </c:pt>
                      <c:pt idx="1896">
                        <c:v>381.74392210000002</c:v>
                      </c:pt>
                      <c:pt idx="1897">
                        <c:v>381.7337316</c:v>
                      </c:pt>
                      <c:pt idx="1898">
                        <c:v>381.71318589999998</c:v>
                      </c:pt>
                      <c:pt idx="1899">
                        <c:v>381.70299540000002</c:v>
                      </c:pt>
                      <c:pt idx="1900">
                        <c:v>381.69255800000002</c:v>
                      </c:pt>
                      <c:pt idx="1901">
                        <c:v>381.68244979999997</c:v>
                      </c:pt>
                      <c:pt idx="1902">
                        <c:v>381.6412813</c:v>
                      </c:pt>
                      <c:pt idx="1903">
                        <c:v>381.63100850000001</c:v>
                      </c:pt>
                      <c:pt idx="1904">
                        <c:v>381.62057620000002</c:v>
                      </c:pt>
                      <c:pt idx="1905">
                        <c:v>381.6001129</c:v>
                      </c:pt>
                      <c:pt idx="1906">
                        <c:v>381.58968060000001</c:v>
                      </c:pt>
                      <c:pt idx="1907">
                        <c:v>381.57956730000001</c:v>
                      </c:pt>
                      <c:pt idx="1908">
                        <c:v>381.56921210000002</c:v>
                      </c:pt>
                      <c:pt idx="1909">
                        <c:v>381.55886220000002</c:v>
                      </c:pt>
                      <c:pt idx="1910">
                        <c:v>381.5486717</c:v>
                      </c:pt>
                      <c:pt idx="1911">
                        <c:v>381.53823940000001</c:v>
                      </c:pt>
                      <c:pt idx="1912">
                        <c:v>381.5176937</c:v>
                      </c:pt>
                      <c:pt idx="1913">
                        <c:v>381.50750319999997</c:v>
                      </c:pt>
                      <c:pt idx="1914">
                        <c:v>381.49706579999997</c:v>
                      </c:pt>
                      <c:pt idx="1915">
                        <c:v>381.48695759999998</c:v>
                      </c:pt>
                      <c:pt idx="1916">
                        <c:v>381.47668479999999</c:v>
                      </c:pt>
                      <c:pt idx="1917">
                        <c:v>381.46632959999999</c:v>
                      </c:pt>
                      <c:pt idx="1918">
                        <c:v>381.45606199999997</c:v>
                      </c:pt>
                      <c:pt idx="1919">
                        <c:v>381.44578910000001</c:v>
                      </c:pt>
                      <c:pt idx="1920">
                        <c:v>381.42508400000003</c:v>
                      </c:pt>
                      <c:pt idx="1921">
                        <c:v>381.41497070000003</c:v>
                      </c:pt>
                      <c:pt idx="1922">
                        <c:v>381.4044561</c:v>
                      </c:pt>
                      <c:pt idx="1923">
                        <c:v>381.39105560000002</c:v>
                      </c:pt>
                      <c:pt idx="1924">
                        <c:v>381.38391560000002</c:v>
                      </c:pt>
                      <c:pt idx="1925">
                        <c:v>381.37380230000002</c:v>
                      </c:pt>
                      <c:pt idx="1926">
                        <c:v>381.36336999999997</c:v>
                      </c:pt>
                      <c:pt idx="1927">
                        <c:v>381.32227870000003</c:v>
                      </c:pt>
                      <c:pt idx="1928">
                        <c:v>381.23978240000002</c:v>
                      </c:pt>
                      <c:pt idx="1929">
                        <c:v>381.22959179999998</c:v>
                      </c:pt>
                      <c:pt idx="1930">
                        <c:v>381.21947849999998</c:v>
                      </c:pt>
                      <c:pt idx="1931">
                        <c:v>381.19885570000002</c:v>
                      </c:pt>
                      <c:pt idx="1932">
                        <c:v>381.18842339999998</c:v>
                      </c:pt>
                      <c:pt idx="1933">
                        <c:v>381.17831009999998</c:v>
                      </c:pt>
                      <c:pt idx="1934">
                        <c:v>381.16803720000001</c:v>
                      </c:pt>
                      <c:pt idx="1935">
                        <c:v>381.1474144</c:v>
                      </c:pt>
                      <c:pt idx="1936">
                        <c:v>381.13714160000001</c:v>
                      </c:pt>
                      <c:pt idx="1937">
                        <c:v>381.12663220000002</c:v>
                      </c:pt>
                      <c:pt idx="1938">
                        <c:v>381.106246</c:v>
                      </c:pt>
                      <c:pt idx="1939">
                        <c:v>381.09581370000001</c:v>
                      </c:pt>
                      <c:pt idx="1940">
                        <c:v>381.08570040000001</c:v>
                      </c:pt>
                      <c:pt idx="1941">
                        <c:v>381.0649181</c:v>
                      </c:pt>
                      <c:pt idx="1942">
                        <c:v>381.05480469999998</c:v>
                      </c:pt>
                      <c:pt idx="1943">
                        <c:v>381.04437250000001</c:v>
                      </c:pt>
                      <c:pt idx="1944">
                        <c:v>381.02383200000003</c:v>
                      </c:pt>
                      <c:pt idx="1945">
                        <c:v>381.0137186</c:v>
                      </c:pt>
                      <c:pt idx="1946">
                        <c:v>381.00328630000001</c:v>
                      </c:pt>
                      <c:pt idx="1947">
                        <c:v>380.982823</c:v>
                      </c:pt>
                      <c:pt idx="1948">
                        <c:v>380.97239070000001</c:v>
                      </c:pt>
                      <c:pt idx="1949">
                        <c:v>380.9622774</c:v>
                      </c:pt>
                      <c:pt idx="1950">
                        <c:v>380.9414951</c:v>
                      </c:pt>
                      <c:pt idx="1951">
                        <c:v>380.93138169999997</c:v>
                      </c:pt>
                      <c:pt idx="1952">
                        <c:v>380.92110889999998</c:v>
                      </c:pt>
                      <c:pt idx="1953">
                        <c:v>380.90048610000002</c:v>
                      </c:pt>
                      <c:pt idx="1954">
                        <c:v>380.89005379999998</c:v>
                      </c:pt>
                      <c:pt idx="1955">
                        <c:v>380.86950819999998</c:v>
                      </c:pt>
                      <c:pt idx="1956">
                        <c:v>380.85939999999999</c:v>
                      </c:pt>
                      <c:pt idx="1957">
                        <c:v>380.88562159999998</c:v>
                      </c:pt>
                      <c:pt idx="1958">
                        <c:v>380.89868009999998</c:v>
                      </c:pt>
                      <c:pt idx="1959">
                        <c:v>380.91203940000003</c:v>
                      </c:pt>
                      <c:pt idx="1960">
                        <c:v>380.93805170000002</c:v>
                      </c:pt>
                      <c:pt idx="1961">
                        <c:v>380.9643714</c:v>
                      </c:pt>
                      <c:pt idx="1962">
                        <c:v>380.97712259999997</c:v>
                      </c:pt>
                      <c:pt idx="1963">
                        <c:v>380.99038380000002</c:v>
                      </c:pt>
                      <c:pt idx="1964">
                        <c:v>381.01639610000001</c:v>
                      </c:pt>
                      <c:pt idx="1965">
                        <c:v>381.0296573</c:v>
                      </c:pt>
                      <c:pt idx="1966">
                        <c:v>381.04251310000001</c:v>
                      </c:pt>
                      <c:pt idx="1967">
                        <c:v>381.06872809999999</c:v>
                      </c:pt>
                      <c:pt idx="1968">
                        <c:v>381.08178659999999</c:v>
                      </c:pt>
                      <c:pt idx="1969">
                        <c:v>381.09484509999999</c:v>
                      </c:pt>
                      <c:pt idx="1970">
                        <c:v>381.12096209999999</c:v>
                      </c:pt>
                      <c:pt idx="1971">
                        <c:v>381.13422329999997</c:v>
                      </c:pt>
                      <c:pt idx="1972">
                        <c:v>381.14717710000002</c:v>
                      </c:pt>
                      <c:pt idx="1973">
                        <c:v>381.17349680000001</c:v>
                      </c:pt>
                      <c:pt idx="1974">
                        <c:v>381.18645070000002</c:v>
                      </c:pt>
                      <c:pt idx="1975">
                        <c:v>381.19950920000002</c:v>
                      </c:pt>
                      <c:pt idx="1976">
                        <c:v>381.22562620000002</c:v>
                      </c:pt>
                      <c:pt idx="1977">
                        <c:v>381.23867810000002</c:v>
                      </c:pt>
                      <c:pt idx="1978">
                        <c:v>381.2518412</c:v>
                      </c:pt>
                      <c:pt idx="1979">
                        <c:v>381.26510239999999</c:v>
                      </c:pt>
                      <c:pt idx="1980">
                        <c:v>381.31732979999998</c:v>
                      </c:pt>
                      <c:pt idx="1981">
                        <c:v>381.33049290000002</c:v>
                      </c:pt>
                      <c:pt idx="1982">
                        <c:v>381.35670800000003</c:v>
                      </c:pt>
                      <c:pt idx="1983">
                        <c:v>381.36089299999998</c:v>
                      </c:pt>
                      <c:pt idx="1984">
                        <c:v>381.36945909999997</c:v>
                      </c:pt>
                      <c:pt idx="1985">
                        <c:v>381.38261569999997</c:v>
                      </c:pt>
                      <c:pt idx="1986">
                        <c:v>381.40873269999997</c:v>
                      </c:pt>
                      <c:pt idx="1987">
                        <c:v>381.42179119999997</c:v>
                      </c:pt>
                      <c:pt idx="1988">
                        <c:v>381.43505240000002</c:v>
                      </c:pt>
                      <c:pt idx="1989">
                        <c:v>381.44800620000001</c:v>
                      </c:pt>
                      <c:pt idx="1990">
                        <c:v>381.47412320000001</c:v>
                      </c:pt>
                      <c:pt idx="1991">
                        <c:v>381.4873844</c:v>
                      </c:pt>
                      <c:pt idx="1992">
                        <c:v>381.50024020000001</c:v>
                      </c:pt>
                      <c:pt idx="1993">
                        <c:v>381.52645530000001</c:v>
                      </c:pt>
                      <c:pt idx="1994">
                        <c:v>381.53971639999997</c:v>
                      </c:pt>
                      <c:pt idx="1995">
                        <c:v>381.55257219999999</c:v>
                      </c:pt>
                      <c:pt idx="1996">
                        <c:v>381.57878729999999</c:v>
                      </c:pt>
                      <c:pt idx="1997">
                        <c:v>381.59184579999999</c:v>
                      </c:pt>
                      <c:pt idx="1998">
                        <c:v>381.60510699999998</c:v>
                      </c:pt>
                      <c:pt idx="1999">
                        <c:v>381.63121740000003</c:v>
                      </c:pt>
                      <c:pt idx="2000">
                        <c:v>381.64417780000002</c:v>
                      </c:pt>
                      <c:pt idx="2001">
                        <c:v>381.65722979999998</c:v>
                      </c:pt>
                      <c:pt idx="2002">
                        <c:v>381.68334670000002</c:v>
                      </c:pt>
                      <c:pt idx="2003">
                        <c:v>381.69671260000001</c:v>
                      </c:pt>
                      <c:pt idx="2004">
                        <c:v>381.70956180000002</c:v>
                      </c:pt>
                      <c:pt idx="2005">
                        <c:v>381.72282300000001</c:v>
                      </c:pt>
                      <c:pt idx="2006">
                        <c:v>381.74873730000002</c:v>
                      </c:pt>
                      <c:pt idx="2007">
                        <c:v>381.76179569999999</c:v>
                      </c:pt>
                      <c:pt idx="2008">
                        <c:v>381.7880108</c:v>
                      </c:pt>
                      <c:pt idx="2009">
                        <c:v>381.89257020000002</c:v>
                      </c:pt>
                      <c:pt idx="2010">
                        <c:v>381.90583140000001</c:v>
                      </c:pt>
                      <c:pt idx="2011">
                        <c:v>381.91879180000001</c:v>
                      </c:pt>
                      <c:pt idx="2012">
                        <c:v>381.94490230000002</c:v>
                      </c:pt>
                      <c:pt idx="2013">
                        <c:v>381.95816350000001</c:v>
                      </c:pt>
                      <c:pt idx="2014">
                        <c:v>381.97112390000001</c:v>
                      </c:pt>
                      <c:pt idx="2015">
                        <c:v>381.9841758</c:v>
                      </c:pt>
                      <c:pt idx="2016">
                        <c:v>381.9972343</c:v>
                      </c:pt>
                      <c:pt idx="2017">
                        <c:v>382.0102928</c:v>
                      </c:pt>
                      <c:pt idx="2018">
                        <c:v>382.02345589999999</c:v>
                      </c:pt>
                      <c:pt idx="2019">
                        <c:v>382.03661249999999</c:v>
                      </c:pt>
                      <c:pt idx="2020">
                        <c:v>382.04956629999998</c:v>
                      </c:pt>
                      <c:pt idx="2021">
                        <c:v>382.06282750000003</c:v>
                      </c:pt>
                      <c:pt idx="2022">
                        <c:v>382.07568329999998</c:v>
                      </c:pt>
                      <c:pt idx="2023">
                        <c:v>382.10189839999998</c:v>
                      </c:pt>
                      <c:pt idx="2024">
                        <c:v>382.11495689999998</c:v>
                      </c:pt>
                      <c:pt idx="2025">
                        <c:v>382.12801539999998</c:v>
                      </c:pt>
                      <c:pt idx="2026">
                        <c:v>382.154335</c:v>
                      </c:pt>
                      <c:pt idx="2027">
                        <c:v>382.16728890000002</c:v>
                      </c:pt>
                      <c:pt idx="2028">
                        <c:v>382.18034740000002</c:v>
                      </c:pt>
                      <c:pt idx="2029">
                        <c:v>382.20645780000001</c:v>
                      </c:pt>
                      <c:pt idx="2030">
                        <c:v>382.21951630000001</c:v>
                      </c:pt>
                      <c:pt idx="2031">
                        <c:v>382.2327775</c:v>
                      </c:pt>
                      <c:pt idx="2032">
                        <c:v>382.24573789999999</c:v>
                      </c:pt>
                      <c:pt idx="2033">
                        <c:v>382.25878990000001</c:v>
                      </c:pt>
                      <c:pt idx="2034">
                        <c:v>382.2720511</c:v>
                      </c:pt>
                      <c:pt idx="2035">
                        <c:v>382.2850115</c:v>
                      </c:pt>
                      <c:pt idx="2036">
                        <c:v>382.33723889999999</c:v>
                      </c:pt>
                      <c:pt idx="2037">
                        <c:v>382.35029739999999</c:v>
                      </c:pt>
                      <c:pt idx="2038">
                        <c:v>382.40283210000001</c:v>
                      </c:pt>
                      <c:pt idx="2039">
                        <c:v>382.41578600000003</c:v>
                      </c:pt>
                      <c:pt idx="2040">
                        <c:v>382.42904720000001</c:v>
                      </c:pt>
                      <c:pt idx="2041">
                        <c:v>382.45516409999999</c:v>
                      </c:pt>
                      <c:pt idx="2042">
                        <c:v>382.46801340000002</c:v>
                      </c:pt>
                      <c:pt idx="2043">
                        <c:v>382.4811765</c:v>
                      </c:pt>
                      <c:pt idx="2044">
                        <c:v>382.5334039</c:v>
                      </c:pt>
                      <c:pt idx="2045">
                        <c:v>382.559619</c:v>
                      </c:pt>
                      <c:pt idx="2046">
                        <c:v>382.57288019999999</c:v>
                      </c:pt>
                      <c:pt idx="2047">
                        <c:v>382.58573589999997</c:v>
                      </c:pt>
                      <c:pt idx="2048">
                        <c:v>382.61185289999997</c:v>
                      </c:pt>
                      <c:pt idx="2049">
                        <c:v>382.62500949999998</c:v>
                      </c:pt>
                      <c:pt idx="2050">
                        <c:v>382.63827070000002</c:v>
                      </c:pt>
                      <c:pt idx="2051">
                        <c:v>382.66438770000002</c:v>
                      </c:pt>
                      <c:pt idx="2052">
                        <c:v>382.67734150000001</c:v>
                      </c:pt>
                      <c:pt idx="2053">
                        <c:v>382.69040000000001</c:v>
                      </c:pt>
                      <c:pt idx="2054">
                        <c:v>382.67837150000003</c:v>
                      </c:pt>
                      <c:pt idx="2055">
                        <c:v>382.66615619999999</c:v>
                      </c:pt>
                      <c:pt idx="2056">
                        <c:v>382.65432040000002</c:v>
                      </c:pt>
                      <c:pt idx="2057">
                        <c:v>382.6421052</c:v>
                      </c:pt>
                      <c:pt idx="2058">
                        <c:v>382.61795169999999</c:v>
                      </c:pt>
                      <c:pt idx="2059">
                        <c:v>382.60611590000002</c:v>
                      </c:pt>
                      <c:pt idx="2060">
                        <c:v>382.59390070000001</c:v>
                      </c:pt>
                      <c:pt idx="2061">
                        <c:v>382.58196249999997</c:v>
                      </c:pt>
                      <c:pt idx="2062">
                        <c:v>382.56993990000001</c:v>
                      </c:pt>
                      <c:pt idx="2063">
                        <c:v>382.47343460000002</c:v>
                      </c:pt>
                      <c:pt idx="2064">
                        <c:v>382.4613157</c:v>
                      </c:pt>
                      <c:pt idx="2065">
                        <c:v>382.44947389999999</c:v>
                      </c:pt>
                      <c:pt idx="2066">
                        <c:v>382.43725860000001</c:v>
                      </c:pt>
                      <c:pt idx="2067">
                        <c:v>382.42542279999998</c:v>
                      </c:pt>
                      <c:pt idx="2068">
                        <c:v>382.41320760000002</c:v>
                      </c:pt>
                      <c:pt idx="2069">
                        <c:v>382.40117900000001</c:v>
                      </c:pt>
                      <c:pt idx="2070">
                        <c:v>382.38924079999998</c:v>
                      </c:pt>
                      <c:pt idx="2071">
                        <c:v>382.37721829999998</c:v>
                      </c:pt>
                      <c:pt idx="2072">
                        <c:v>382.3651898</c:v>
                      </c:pt>
                      <c:pt idx="2073">
                        <c:v>382.35297450000002</c:v>
                      </c:pt>
                      <c:pt idx="2074">
                        <c:v>382.32901379999998</c:v>
                      </c:pt>
                      <c:pt idx="2075">
                        <c:v>382.3169853</c:v>
                      </c:pt>
                      <c:pt idx="2076">
                        <c:v>382.30495669999999</c:v>
                      </c:pt>
                      <c:pt idx="2077">
                        <c:v>382.28080929999999</c:v>
                      </c:pt>
                      <c:pt idx="2078">
                        <c:v>382.2687808</c:v>
                      </c:pt>
                      <c:pt idx="2079">
                        <c:v>382.25656550000002</c:v>
                      </c:pt>
                      <c:pt idx="2080">
                        <c:v>382.24472370000001</c:v>
                      </c:pt>
                      <c:pt idx="2081">
                        <c:v>382.23250849999999</c:v>
                      </c:pt>
                      <c:pt idx="2082">
                        <c:v>382.2205763</c:v>
                      </c:pt>
                      <c:pt idx="2083">
                        <c:v>382.2085477</c:v>
                      </c:pt>
                      <c:pt idx="2084">
                        <c:v>382.18449670000001</c:v>
                      </c:pt>
                      <c:pt idx="2085">
                        <c:v>382.17237180000001</c:v>
                      </c:pt>
                      <c:pt idx="2086">
                        <c:v>382.16025289999999</c:v>
                      </c:pt>
                      <c:pt idx="2087">
                        <c:v>382.11223510000002</c:v>
                      </c:pt>
                      <c:pt idx="2088">
                        <c:v>382.1083802</c:v>
                      </c:pt>
                      <c:pt idx="2089">
                        <c:v>382.1001162</c:v>
                      </c:pt>
                      <c:pt idx="2090">
                        <c:v>382.07587239999998</c:v>
                      </c:pt>
                      <c:pt idx="2091">
                        <c:v>382.06403060000002</c:v>
                      </c:pt>
                      <c:pt idx="2092">
                        <c:v>382.05181540000001</c:v>
                      </c:pt>
                      <c:pt idx="2093">
                        <c:v>382.03988320000002</c:v>
                      </c:pt>
                      <c:pt idx="2094">
                        <c:v>382.01582610000003</c:v>
                      </c:pt>
                      <c:pt idx="2095">
                        <c:v>382.00361090000001</c:v>
                      </c:pt>
                      <c:pt idx="2096">
                        <c:v>381.99177509999998</c:v>
                      </c:pt>
                      <c:pt idx="2097">
                        <c:v>381.94338390000001</c:v>
                      </c:pt>
                      <c:pt idx="2098">
                        <c:v>381.93144569999998</c:v>
                      </c:pt>
                      <c:pt idx="2099">
                        <c:v>381.91941709999998</c:v>
                      </c:pt>
                      <c:pt idx="2100">
                        <c:v>381.90739459999998</c:v>
                      </c:pt>
                      <c:pt idx="2101">
                        <c:v>381.89517940000002</c:v>
                      </c:pt>
                      <c:pt idx="2102">
                        <c:v>381.88333749999998</c:v>
                      </c:pt>
                      <c:pt idx="2103">
                        <c:v>381.85900340000001</c:v>
                      </c:pt>
                      <c:pt idx="2104">
                        <c:v>381.84716159999999</c:v>
                      </c:pt>
                      <c:pt idx="2105">
                        <c:v>381.83494630000001</c:v>
                      </c:pt>
                      <c:pt idx="2106">
                        <c:v>381.8231045</c:v>
                      </c:pt>
                      <c:pt idx="2107">
                        <c:v>381.7989571</c:v>
                      </c:pt>
                      <c:pt idx="2108">
                        <c:v>381.78674180000002</c:v>
                      </c:pt>
                      <c:pt idx="2109">
                        <c:v>381.7749</c:v>
                      </c:pt>
                      <c:pt idx="2110">
                        <c:v>381.73454720000001</c:v>
                      </c:pt>
                      <c:pt idx="2111">
                        <c:v>381.69512950000001</c:v>
                      </c:pt>
                      <c:pt idx="2112">
                        <c:v>381.65477670000001</c:v>
                      </c:pt>
                      <c:pt idx="2113">
                        <c:v>381.6156575</c:v>
                      </c:pt>
                      <c:pt idx="2114">
                        <c:v>381.53620530000001</c:v>
                      </c:pt>
                      <c:pt idx="2115">
                        <c:v>381.496151</c:v>
                      </c:pt>
                      <c:pt idx="2116">
                        <c:v>381.45579809999998</c:v>
                      </c:pt>
                      <c:pt idx="2117">
                        <c:v>381.37634600000001</c:v>
                      </c:pt>
                      <c:pt idx="2118">
                        <c:v>381.3372268</c:v>
                      </c:pt>
                      <c:pt idx="2119">
                        <c:v>381.21710350000001</c:v>
                      </c:pt>
                      <c:pt idx="2120">
                        <c:v>381.13763139999998</c:v>
                      </c:pt>
                      <c:pt idx="2121">
                        <c:v>381.09789540000003</c:v>
                      </c:pt>
                      <c:pt idx="2122">
                        <c:v>381.08547920000001</c:v>
                      </c:pt>
                      <c:pt idx="2123">
                        <c:v>381.05847779999999</c:v>
                      </c:pt>
                      <c:pt idx="2124">
                        <c:v>380.89923520000002</c:v>
                      </c:pt>
                      <c:pt idx="2125">
                        <c:v>380.85888240000003</c:v>
                      </c:pt>
                      <c:pt idx="2126">
                        <c:v>380.78004709999999</c:v>
                      </c:pt>
                      <c:pt idx="2127">
                        <c:v>380.7396943</c:v>
                      </c:pt>
                      <c:pt idx="2128">
                        <c:v>380.69963990000002</c:v>
                      </c:pt>
                      <c:pt idx="2129">
                        <c:v>380.62018769999997</c:v>
                      </c:pt>
                      <c:pt idx="2130">
                        <c:v>380.58106859999998</c:v>
                      </c:pt>
                      <c:pt idx="2131">
                        <c:v>380.54071570000002</c:v>
                      </c:pt>
                      <c:pt idx="2132">
                        <c:v>380.50068119999997</c:v>
                      </c:pt>
                      <c:pt idx="2133">
                        <c:v>380.48762820000002</c:v>
                      </c:pt>
                      <c:pt idx="2134">
                        <c:v>380.46156209999998</c:v>
                      </c:pt>
                      <c:pt idx="2135">
                        <c:v>380.42182600000001</c:v>
                      </c:pt>
                      <c:pt idx="2136">
                        <c:v>380.38147320000002</c:v>
                      </c:pt>
                      <c:pt idx="2137">
                        <c:v>380.342354</c:v>
                      </c:pt>
                      <c:pt idx="2138">
                        <c:v>380.30200120000001</c:v>
                      </c:pt>
                      <c:pt idx="2139">
                        <c:v>380.26258350000001</c:v>
                      </c:pt>
                      <c:pt idx="2140">
                        <c:v>380.22223070000001</c:v>
                      </c:pt>
                      <c:pt idx="2141">
                        <c:v>380.18313139999998</c:v>
                      </c:pt>
                      <c:pt idx="2142">
                        <c:v>380.103341</c:v>
                      </c:pt>
                      <c:pt idx="2143">
                        <c:v>380.06298809999998</c:v>
                      </c:pt>
                      <c:pt idx="2144">
                        <c:v>380.02388889999997</c:v>
                      </c:pt>
                      <c:pt idx="2145">
                        <c:v>379.94380000000001</c:v>
                      </c:pt>
                      <c:pt idx="2146">
                        <c:v>380.30766890000001</c:v>
                      </c:pt>
                      <c:pt idx="2147">
                        <c:v>380.68017079999998</c:v>
                      </c:pt>
                      <c:pt idx="2148">
                        <c:v>381.7749</c:v>
                      </c:pt>
                      <c:pt idx="2149">
                        <c:v>381.7749</c:v>
                      </c:pt>
                      <c:pt idx="2150">
                        <c:v>381.7749</c:v>
                      </c:pt>
                      <c:pt idx="2151">
                        <c:v>381.7749</c:v>
                      </c:pt>
                      <c:pt idx="2152">
                        <c:v>381.7749</c:v>
                      </c:pt>
                      <c:pt idx="2153">
                        <c:v>381.7749</c:v>
                      </c:pt>
                      <c:pt idx="2154">
                        <c:v>381.7749</c:v>
                      </c:pt>
                      <c:pt idx="2155">
                        <c:v>381.7749</c:v>
                      </c:pt>
                      <c:pt idx="2156">
                        <c:v>381.7749</c:v>
                      </c:pt>
                      <c:pt idx="2157">
                        <c:v>381.7749</c:v>
                      </c:pt>
                      <c:pt idx="2158">
                        <c:v>381.7749</c:v>
                      </c:pt>
                      <c:pt idx="2159">
                        <c:v>381.7749</c:v>
                      </c:pt>
                      <c:pt idx="2160">
                        <c:v>381.7749</c:v>
                      </c:pt>
                      <c:pt idx="2161">
                        <c:v>381.7749</c:v>
                      </c:pt>
                      <c:pt idx="2162">
                        <c:v>381.7749</c:v>
                      </c:pt>
                      <c:pt idx="2163">
                        <c:v>381.7749</c:v>
                      </c:pt>
                      <c:pt idx="2164">
                        <c:v>381.7749</c:v>
                      </c:pt>
                      <c:pt idx="2165">
                        <c:v>381.7749</c:v>
                      </c:pt>
                      <c:pt idx="2166">
                        <c:v>381.7749</c:v>
                      </c:pt>
                      <c:pt idx="2167">
                        <c:v>381.7749</c:v>
                      </c:pt>
                      <c:pt idx="2168">
                        <c:v>381.7749</c:v>
                      </c:pt>
                      <c:pt idx="2169">
                        <c:v>381.7749</c:v>
                      </c:pt>
                      <c:pt idx="2170">
                        <c:v>381.7749</c:v>
                      </c:pt>
                      <c:pt idx="2171">
                        <c:v>381.7749</c:v>
                      </c:pt>
                      <c:pt idx="2172">
                        <c:v>381.7749</c:v>
                      </c:pt>
                      <c:pt idx="2173">
                        <c:v>381.7749</c:v>
                      </c:pt>
                      <c:pt idx="2174">
                        <c:v>381.7749</c:v>
                      </c:pt>
                      <c:pt idx="2175">
                        <c:v>381.7749</c:v>
                      </c:pt>
                      <c:pt idx="2176">
                        <c:v>381.7749</c:v>
                      </c:pt>
                      <c:pt idx="2177">
                        <c:v>381.7749</c:v>
                      </c:pt>
                      <c:pt idx="2178">
                        <c:v>381.7749</c:v>
                      </c:pt>
                      <c:pt idx="2179">
                        <c:v>381.7749</c:v>
                      </c:pt>
                      <c:pt idx="2180">
                        <c:v>381.7749</c:v>
                      </c:pt>
                      <c:pt idx="2181">
                        <c:v>381.7749</c:v>
                      </c:pt>
                      <c:pt idx="2182">
                        <c:v>381.7749</c:v>
                      </c:pt>
                      <c:pt idx="2183">
                        <c:v>381.7749</c:v>
                      </c:pt>
                      <c:pt idx="2184">
                        <c:v>381.7749</c:v>
                      </c:pt>
                      <c:pt idx="2185">
                        <c:v>381.7749</c:v>
                      </c:pt>
                      <c:pt idx="2186">
                        <c:v>381.7749</c:v>
                      </c:pt>
                      <c:pt idx="2187">
                        <c:v>381.7749</c:v>
                      </c:pt>
                      <c:pt idx="2188">
                        <c:v>381.7749</c:v>
                      </c:pt>
                      <c:pt idx="2189">
                        <c:v>381.7749</c:v>
                      </c:pt>
                      <c:pt idx="2190">
                        <c:v>381.7749</c:v>
                      </c:pt>
                      <c:pt idx="2191">
                        <c:v>381.7749</c:v>
                      </c:pt>
                      <c:pt idx="2192">
                        <c:v>381.7749</c:v>
                      </c:pt>
                      <c:pt idx="2193">
                        <c:v>381.7749</c:v>
                      </c:pt>
                      <c:pt idx="2194">
                        <c:v>381.7749</c:v>
                      </c:pt>
                      <c:pt idx="2195">
                        <c:v>381.7749</c:v>
                      </c:pt>
                      <c:pt idx="2196">
                        <c:v>381.7749</c:v>
                      </c:pt>
                      <c:pt idx="2197">
                        <c:v>381.7749</c:v>
                      </c:pt>
                      <c:pt idx="2198">
                        <c:v>381.7749</c:v>
                      </c:pt>
                      <c:pt idx="2199">
                        <c:v>381.7749</c:v>
                      </c:pt>
                      <c:pt idx="2200">
                        <c:v>381.7749</c:v>
                      </c:pt>
                      <c:pt idx="2201">
                        <c:v>381.7749</c:v>
                      </c:pt>
                      <c:pt idx="2202">
                        <c:v>381.7749</c:v>
                      </c:pt>
                      <c:pt idx="2203">
                        <c:v>381.7749</c:v>
                      </c:pt>
                      <c:pt idx="2204">
                        <c:v>381.7749</c:v>
                      </c:pt>
                      <c:pt idx="2205">
                        <c:v>381.7749</c:v>
                      </c:pt>
                      <c:pt idx="2206">
                        <c:v>381.7749</c:v>
                      </c:pt>
                      <c:pt idx="2207">
                        <c:v>381.7749</c:v>
                      </c:pt>
                      <c:pt idx="2208">
                        <c:v>381.7749</c:v>
                      </c:pt>
                      <c:pt idx="2209">
                        <c:v>381.7749</c:v>
                      </c:pt>
                      <c:pt idx="2210">
                        <c:v>381.7749</c:v>
                      </c:pt>
                      <c:pt idx="2211">
                        <c:v>381.7749</c:v>
                      </c:pt>
                      <c:pt idx="2212">
                        <c:v>381.7749</c:v>
                      </c:pt>
                      <c:pt idx="2213">
                        <c:v>381.7749</c:v>
                      </c:pt>
                      <c:pt idx="2214">
                        <c:v>381.7749</c:v>
                      </c:pt>
                      <c:pt idx="2215">
                        <c:v>381.7749</c:v>
                      </c:pt>
                      <c:pt idx="2216">
                        <c:v>381.7749</c:v>
                      </c:pt>
                      <c:pt idx="2217">
                        <c:v>381.7749</c:v>
                      </c:pt>
                      <c:pt idx="2218">
                        <c:v>381.7749</c:v>
                      </c:pt>
                      <c:pt idx="2219">
                        <c:v>381.7749</c:v>
                      </c:pt>
                      <c:pt idx="2220">
                        <c:v>381.7749</c:v>
                      </c:pt>
                      <c:pt idx="2221">
                        <c:v>381.7749</c:v>
                      </c:pt>
                      <c:pt idx="2222">
                        <c:v>381.7749</c:v>
                      </c:pt>
                      <c:pt idx="2223">
                        <c:v>381.7749</c:v>
                      </c:pt>
                      <c:pt idx="2224">
                        <c:v>381.7749</c:v>
                      </c:pt>
                      <c:pt idx="2225">
                        <c:v>381.7749</c:v>
                      </c:pt>
                      <c:pt idx="2226">
                        <c:v>381.7749</c:v>
                      </c:pt>
                      <c:pt idx="2227">
                        <c:v>381.7749</c:v>
                      </c:pt>
                      <c:pt idx="2228">
                        <c:v>381.7749</c:v>
                      </c:pt>
                      <c:pt idx="2229">
                        <c:v>381.7749</c:v>
                      </c:pt>
                      <c:pt idx="2230">
                        <c:v>381.7749</c:v>
                      </c:pt>
                      <c:pt idx="2231">
                        <c:v>381.7749</c:v>
                      </c:pt>
                      <c:pt idx="2232">
                        <c:v>381.7749</c:v>
                      </c:pt>
                      <c:pt idx="2233">
                        <c:v>381.7749</c:v>
                      </c:pt>
                      <c:pt idx="2234">
                        <c:v>381.7749</c:v>
                      </c:pt>
                      <c:pt idx="2235">
                        <c:v>381.7749</c:v>
                      </c:pt>
                      <c:pt idx="2236">
                        <c:v>381.7749</c:v>
                      </c:pt>
                      <c:pt idx="2237">
                        <c:v>381.7749</c:v>
                      </c:pt>
                      <c:pt idx="2238">
                        <c:v>381.7749</c:v>
                      </c:pt>
                      <c:pt idx="2239">
                        <c:v>381.7749</c:v>
                      </c:pt>
                      <c:pt idx="2240">
                        <c:v>381.7749</c:v>
                      </c:pt>
                      <c:pt idx="2241">
                        <c:v>381.7749</c:v>
                      </c:pt>
                      <c:pt idx="2242">
                        <c:v>381.7749</c:v>
                      </c:pt>
                      <c:pt idx="2243">
                        <c:v>381.7749</c:v>
                      </c:pt>
                      <c:pt idx="2244">
                        <c:v>381.7749</c:v>
                      </c:pt>
                      <c:pt idx="2245">
                        <c:v>381.7749</c:v>
                      </c:pt>
                      <c:pt idx="2246">
                        <c:v>381.7749</c:v>
                      </c:pt>
                      <c:pt idx="2247">
                        <c:v>381.7749</c:v>
                      </c:pt>
                      <c:pt idx="2248">
                        <c:v>381.7749</c:v>
                      </c:pt>
                      <c:pt idx="2249">
                        <c:v>381.7749</c:v>
                      </c:pt>
                      <c:pt idx="2250">
                        <c:v>381.7749</c:v>
                      </c:pt>
                      <c:pt idx="2251">
                        <c:v>381.7749</c:v>
                      </c:pt>
                      <c:pt idx="2252">
                        <c:v>381.7749</c:v>
                      </c:pt>
                      <c:pt idx="2253">
                        <c:v>381.7749</c:v>
                      </c:pt>
                      <c:pt idx="2254">
                        <c:v>381.7749</c:v>
                      </c:pt>
                      <c:pt idx="2255">
                        <c:v>381.7749</c:v>
                      </c:pt>
                      <c:pt idx="2256">
                        <c:v>381.7749</c:v>
                      </c:pt>
                      <c:pt idx="2257">
                        <c:v>381.7749</c:v>
                      </c:pt>
                      <c:pt idx="2258">
                        <c:v>381.7749</c:v>
                      </c:pt>
                      <c:pt idx="2259">
                        <c:v>381.7749</c:v>
                      </c:pt>
                      <c:pt idx="2260">
                        <c:v>381.7749</c:v>
                      </c:pt>
                      <c:pt idx="2261">
                        <c:v>381.7749</c:v>
                      </c:pt>
                      <c:pt idx="2262">
                        <c:v>381.7749</c:v>
                      </c:pt>
                      <c:pt idx="2263">
                        <c:v>381.7749</c:v>
                      </c:pt>
                      <c:pt idx="2264">
                        <c:v>381.7749</c:v>
                      </c:pt>
                      <c:pt idx="2265">
                        <c:v>381.745183</c:v>
                      </c:pt>
                      <c:pt idx="2266">
                        <c:v>381.59733629999999</c:v>
                      </c:pt>
                      <c:pt idx="2267">
                        <c:v>381.33203880000002</c:v>
                      </c:pt>
                      <c:pt idx="2268">
                        <c:v>381.30210039999997</c:v>
                      </c:pt>
                      <c:pt idx="2269">
                        <c:v>381.27307730000001</c:v>
                      </c:pt>
                      <c:pt idx="2270">
                        <c:v>381.24291740000001</c:v>
                      </c:pt>
                      <c:pt idx="2271">
                        <c:v>381.21389429999999</c:v>
                      </c:pt>
                      <c:pt idx="2272">
                        <c:v>381.12546680000003</c:v>
                      </c:pt>
                      <c:pt idx="2273">
                        <c:v>381.00708600000002</c:v>
                      </c:pt>
                      <c:pt idx="2274">
                        <c:v>380.9179646</c:v>
                      </c:pt>
                      <c:pt idx="2275">
                        <c:v>380.74109470000002</c:v>
                      </c:pt>
                      <c:pt idx="2276">
                        <c:v>380.62340790000002</c:v>
                      </c:pt>
                      <c:pt idx="2277">
                        <c:v>380.53452270000002</c:v>
                      </c:pt>
                      <c:pt idx="2278">
                        <c:v>380.38735500000001</c:v>
                      </c:pt>
                      <c:pt idx="2279">
                        <c:v>379.94380000000001</c:v>
                      </c:pt>
                      <c:pt idx="2280">
                        <c:v>383.60590000000002</c:v>
                      </c:pt>
                      <c:pt idx="2281">
                        <c:v>383.37667479999999</c:v>
                      </c:pt>
                      <c:pt idx="2282">
                        <c:v>383.09127960000001</c:v>
                      </c:pt>
                      <c:pt idx="2283">
                        <c:v>382.97579519999999</c:v>
                      </c:pt>
                      <c:pt idx="2284">
                        <c:v>382.69040000000001</c:v>
                      </c:pt>
                      <c:pt idx="2285">
                        <c:v>383.90899739999998</c:v>
                      </c:pt>
                      <c:pt idx="2286">
                        <c:v>384.5215</c:v>
                      </c:pt>
                      <c:pt idx="2287">
                        <c:v>382.69040000000001</c:v>
                      </c:pt>
                      <c:pt idx="2288">
                        <c:v>382.64802270000001</c:v>
                      </c:pt>
                      <c:pt idx="2289">
                        <c:v>382.60564119999998</c:v>
                      </c:pt>
                      <c:pt idx="2290">
                        <c:v>382.5632597</c:v>
                      </c:pt>
                      <c:pt idx="2291">
                        <c:v>382.4954917</c:v>
                      </c:pt>
                      <c:pt idx="2292">
                        <c:v>382.47843310000002</c:v>
                      </c:pt>
                      <c:pt idx="2293">
                        <c:v>382.06303070000001</c:v>
                      </c:pt>
                      <c:pt idx="2294">
                        <c:v>382.01225340000002</c:v>
                      </c:pt>
                      <c:pt idx="2295">
                        <c:v>381.94455319999997</c:v>
                      </c:pt>
                      <c:pt idx="2296">
                        <c:v>381.92749459999999</c:v>
                      </c:pt>
                      <c:pt idx="2297">
                        <c:v>381.8767173</c:v>
                      </c:pt>
                      <c:pt idx="2298">
                        <c:v>381.84279939999999</c:v>
                      </c:pt>
                      <c:pt idx="2299">
                        <c:v>381.80055349999998</c:v>
                      </c:pt>
                      <c:pt idx="2300">
                        <c:v>381.7749</c:v>
                      </c:pt>
                      <c:pt idx="2301">
                        <c:v>381.7749</c:v>
                      </c:pt>
                      <c:pt idx="2302">
                        <c:v>381.7749</c:v>
                      </c:pt>
                      <c:pt idx="2303">
                        <c:v>381.7749</c:v>
                      </c:pt>
                      <c:pt idx="2304">
                        <c:v>381.7749</c:v>
                      </c:pt>
                      <c:pt idx="2305">
                        <c:v>381.87354749999997</c:v>
                      </c:pt>
                      <c:pt idx="2306">
                        <c:v>382.0471182</c:v>
                      </c:pt>
                      <c:pt idx="2307">
                        <c:v>382.19577629999998</c:v>
                      </c:pt>
                      <c:pt idx="2308">
                        <c:v>382.21971109999998</c:v>
                      </c:pt>
                      <c:pt idx="2309">
                        <c:v>382.26972169999999</c:v>
                      </c:pt>
                      <c:pt idx="2310">
                        <c:v>382.39366539999997</c:v>
                      </c:pt>
                      <c:pt idx="2311">
                        <c:v>382.61665260000001</c:v>
                      </c:pt>
                      <c:pt idx="2312">
                        <c:v>382.69040000000001</c:v>
                      </c:pt>
                      <c:pt idx="2313">
                        <c:v>382.16487760000001</c:v>
                      </c:pt>
                      <c:pt idx="2314">
                        <c:v>381.96122969999999</c:v>
                      </c:pt>
                      <c:pt idx="2315">
                        <c:v>381.7749</c:v>
                      </c:pt>
                      <c:pt idx="2316">
                        <c:v>382.29774579999997</c:v>
                      </c:pt>
                      <c:pt idx="2317">
                        <c:v>382.38613620000001</c:v>
                      </c:pt>
                      <c:pt idx="2318">
                        <c:v>382.47252170000002</c:v>
                      </c:pt>
                      <c:pt idx="2319">
                        <c:v>382.64655670000002</c:v>
                      </c:pt>
                      <c:pt idx="2320">
                        <c:v>383.0824068</c:v>
                      </c:pt>
                      <c:pt idx="2321">
                        <c:v>383.25648539999997</c:v>
                      </c:pt>
                      <c:pt idx="2322">
                        <c:v>383.3455295</c:v>
                      </c:pt>
                      <c:pt idx="2323">
                        <c:v>383.43121769999999</c:v>
                      </c:pt>
                      <c:pt idx="2324">
                        <c:v>383.51825700000001</c:v>
                      </c:pt>
                      <c:pt idx="2325">
                        <c:v>383.60525259999997</c:v>
                      </c:pt>
                      <c:pt idx="2326">
                        <c:v>383.69364300000001</c:v>
                      </c:pt>
                      <c:pt idx="2327">
                        <c:v>383.78068230000002</c:v>
                      </c:pt>
                      <c:pt idx="2328">
                        <c:v>383.86772159999998</c:v>
                      </c:pt>
                      <c:pt idx="2329">
                        <c:v>383.9547609</c:v>
                      </c:pt>
                      <c:pt idx="2330">
                        <c:v>384.12949320000001</c:v>
                      </c:pt>
                      <c:pt idx="2331">
                        <c:v>384.47830399999998</c:v>
                      </c:pt>
                      <c:pt idx="2332">
                        <c:v>384.56399219999997</c:v>
                      </c:pt>
                      <c:pt idx="2333">
                        <c:v>384.65303640000002</c:v>
                      </c:pt>
                      <c:pt idx="2334">
                        <c:v>384.91345680000001</c:v>
                      </c:pt>
                      <c:pt idx="2335">
                        <c:v>385.08818910000002</c:v>
                      </c:pt>
                      <c:pt idx="2336">
                        <c:v>385.174531</c:v>
                      </c:pt>
                      <c:pt idx="2337">
                        <c:v>385.2622677</c:v>
                      </c:pt>
                      <c:pt idx="2338">
                        <c:v>385.2629215</c:v>
                      </c:pt>
                      <c:pt idx="2339">
                        <c:v>385.34860959999997</c:v>
                      </c:pt>
                      <c:pt idx="2340">
                        <c:v>385.43700000000001</c:v>
                      </c:pt>
                      <c:pt idx="2341">
                        <c:v>381.80424090000002</c:v>
                      </c:pt>
                      <c:pt idx="2342">
                        <c:v>381.7749</c:v>
                      </c:pt>
                      <c:pt idx="2343">
                        <c:v>381.74466660000002</c:v>
                      </c:pt>
                      <c:pt idx="2344">
                        <c:v>381.71394470000001</c:v>
                      </c:pt>
                      <c:pt idx="2345">
                        <c:v>381.59182049999998</c:v>
                      </c:pt>
                      <c:pt idx="2346">
                        <c:v>381.53110939999999</c:v>
                      </c:pt>
                      <c:pt idx="2347">
                        <c:v>380.79851680000002</c:v>
                      </c:pt>
                      <c:pt idx="2348">
                        <c:v>380.64589969999997</c:v>
                      </c:pt>
                      <c:pt idx="2349">
                        <c:v>380.6154373</c:v>
                      </c:pt>
                      <c:pt idx="2350">
                        <c:v>380.58448659999999</c:v>
                      </c:pt>
                      <c:pt idx="2351">
                        <c:v>380.55423789999998</c:v>
                      </c:pt>
                      <c:pt idx="2352">
                        <c:v>380.40139190000002</c:v>
                      </c:pt>
                      <c:pt idx="2353">
                        <c:v>380.37115840000001</c:v>
                      </c:pt>
                      <c:pt idx="2354">
                        <c:v>380.15760130000001</c:v>
                      </c:pt>
                      <c:pt idx="2355">
                        <c:v>380.09640180000002</c:v>
                      </c:pt>
                      <c:pt idx="2356">
                        <c:v>379.97427759999999</c:v>
                      </c:pt>
                      <c:pt idx="2357">
                        <c:v>379.94380000000001</c:v>
                      </c:pt>
                      <c:pt idx="2358">
                        <c:v>380.85935000000001</c:v>
                      </c:pt>
                      <c:pt idx="2359">
                        <c:v>381.7749</c:v>
                      </c:pt>
                      <c:pt idx="2360">
                        <c:v>381.79103149999997</c:v>
                      </c:pt>
                      <c:pt idx="2361">
                        <c:v>381.88546050000002</c:v>
                      </c:pt>
                      <c:pt idx="2362">
                        <c:v>381.9328605</c:v>
                      </c:pt>
                      <c:pt idx="2363">
                        <c:v>381.98013420000001</c:v>
                      </c:pt>
                      <c:pt idx="2364">
                        <c:v>381.99602099999998</c:v>
                      </c:pt>
                      <c:pt idx="2365">
                        <c:v>382.02741579999997</c:v>
                      </c:pt>
                      <c:pt idx="2366">
                        <c:v>382.09057630000001</c:v>
                      </c:pt>
                      <c:pt idx="2367">
                        <c:v>382.12221579999999</c:v>
                      </c:pt>
                      <c:pt idx="2368">
                        <c:v>382.13797629999999</c:v>
                      </c:pt>
                      <c:pt idx="2369">
                        <c:v>382.18525</c:v>
                      </c:pt>
                      <c:pt idx="2370">
                        <c:v>382.23277630000001</c:v>
                      </c:pt>
                      <c:pt idx="2371">
                        <c:v>382.29581050000002</c:v>
                      </c:pt>
                      <c:pt idx="2372">
                        <c:v>382.37484999999998</c:v>
                      </c:pt>
                      <c:pt idx="2373">
                        <c:v>382.46940530000001</c:v>
                      </c:pt>
                      <c:pt idx="2374">
                        <c:v>382.54832629999999</c:v>
                      </c:pt>
                      <c:pt idx="2375">
                        <c:v>382.62723949999997</c:v>
                      </c:pt>
                      <c:pt idx="2376">
                        <c:v>382.69040000000001</c:v>
                      </c:pt>
                      <c:pt idx="2377">
                        <c:v>382.58803360000002</c:v>
                      </c:pt>
                      <c:pt idx="2378">
                        <c:v>382.38497910000001</c:v>
                      </c:pt>
                      <c:pt idx="2379">
                        <c:v>381.97876819999999</c:v>
                      </c:pt>
                      <c:pt idx="2380">
                        <c:v>381.7749</c:v>
                      </c:pt>
                      <c:pt idx="2381">
                        <c:v>381.7749</c:v>
                      </c:pt>
                      <c:pt idx="2382">
                        <c:v>381.7749</c:v>
                      </c:pt>
                      <c:pt idx="2383">
                        <c:v>381.7749</c:v>
                      </c:pt>
                      <c:pt idx="2384">
                        <c:v>381.7749</c:v>
                      </c:pt>
                      <c:pt idx="2385">
                        <c:v>381.7749</c:v>
                      </c:pt>
                      <c:pt idx="2386">
                        <c:v>381.7749</c:v>
                      </c:pt>
                      <c:pt idx="2387">
                        <c:v>381.7749</c:v>
                      </c:pt>
                      <c:pt idx="2388">
                        <c:v>381.7749</c:v>
                      </c:pt>
                      <c:pt idx="2389">
                        <c:v>381.7749</c:v>
                      </c:pt>
                      <c:pt idx="2390">
                        <c:v>381.7749</c:v>
                      </c:pt>
                      <c:pt idx="2391">
                        <c:v>381.7749</c:v>
                      </c:pt>
                      <c:pt idx="2392">
                        <c:v>381.7749</c:v>
                      </c:pt>
                      <c:pt idx="2393">
                        <c:v>381.7749</c:v>
                      </c:pt>
                      <c:pt idx="2394">
                        <c:v>381.7749</c:v>
                      </c:pt>
                      <c:pt idx="2395">
                        <c:v>381.7749</c:v>
                      </c:pt>
                      <c:pt idx="2396">
                        <c:v>381.7749</c:v>
                      </c:pt>
                      <c:pt idx="2397">
                        <c:v>381.7749</c:v>
                      </c:pt>
                      <c:pt idx="2398">
                        <c:v>381.7749</c:v>
                      </c:pt>
                      <c:pt idx="2399">
                        <c:v>381.7749</c:v>
                      </c:pt>
                      <c:pt idx="2400">
                        <c:v>381.7749</c:v>
                      </c:pt>
                      <c:pt idx="2401">
                        <c:v>381.7749</c:v>
                      </c:pt>
                      <c:pt idx="2402">
                        <c:v>381.9276969</c:v>
                      </c:pt>
                      <c:pt idx="2403">
                        <c:v>383.60590000000002</c:v>
                      </c:pt>
                      <c:pt idx="2404">
                        <c:v>381.7749</c:v>
                      </c:pt>
                      <c:pt idx="2405">
                        <c:v>382.35382049999998</c:v>
                      </c:pt>
                      <c:pt idx="2406">
                        <c:v>382.69040000000001</c:v>
                      </c:pt>
                      <c:pt idx="2407">
                        <c:v>382.6987871</c:v>
                      </c:pt>
                      <c:pt idx="2408">
                        <c:v>382.72375099999999</c:v>
                      </c:pt>
                      <c:pt idx="2409">
                        <c:v>382.74917269999997</c:v>
                      </c:pt>
                      <c:pt idx="2410">
                        <c:v>382.7911039</c:v>
                      </c:pt>
                      <c:pt idx="2411">
                        <c:v>382.799554</c:v>
                      </c:pt>
                      <c:pt idx="2412">
                        <c:v>382.83309819999999</c:v>
                      </c:pt>
                      <c:pt idx="2413">
                        <c:v>382.89193390000003</c:v>
                      </c:pt>
                      <c:pt idx="2414">
                        <c:v>382.91709520000001</c:v>
                      </c:pt>
                      <c:pt idx="2415">
                        <c:v>382.9339324</c:v>
                      </c:pt>
                      <c:pt idx="2416">
                        <c:v>382.9507696</c:v>
                      </c:pt>
                      <c:pt idx="2417">
                        <c:v>382.9674766</c:v>
                      </c:pt>
                      <c:pt idx="2418">
                        <c:v>383.00947500000001</c:v>
                      </c:pt>
                      <c:pt idx="2419">
                        <c:v>383.0346993</c:v>
                      </c:pt>
                      <c:pt idx="2420">
                        <c:v>383.10205230000003</c:v>
                      </c:pt>
                      <c:pt idx="2421">
                        <c:v>383.12707920000003</c:v>
                      </c:pt>
                      <c:pt idx="2422">
                        <c:v>383.19430190000003</c:v>
                      </c:pt>
                      <c:pt idx="2423">
                        <c:v>383.22804350000001</c:v>
                      </c:pt>
                      <c:pt idx="2424">
                        <c:v>383.37912879999999</c:v>
                      </c:pt>
                      <c:pt idx="2425">
                        <c:v>383.38744869999999</c:v>
                      </c:pt>
                      <c:pt idx="2426">
                        <c:v>383.40428589999999</c:v>
                      </c:pt>
                      <c:pt idx="2427">
                        <c:v>383.67304259999997</c:v>
                      </c:pt>
                      <c:pt idx="2428">
                        <c:v>384.5215</c:v>
                      </c:pt>
                      <c:pt idx="2429">
                        <c:v>380.85939999999999</c:v>
                      </c:pt>
                      <c:pt idx="2430">
                        <c:v>381.7749</c:v>
                      </c:pt>
                      <c:pt idx="2431">
                        <c:v>379.94380000000001</c:v>
                      </c:pt>
                      <c:pt idx="2432">
                        <c:v>382.69040000000001</c:v>
                      </c:pt>
                      <c:pt idx="2433">
                        <c:v>380.85939999999999</c:v>
                      </c:pt>
                      <c:pt idx="2434">
                        <c:v>381.7749</c:v>
                      </c:pt>
                      <c:pt idx="2435">
                        <c:v>381.7749</c:v>
                      </c:pt>
                      <c:pt idx="2436">
                        <c:v>381.7749</c:v>
                      </c:pt>
                      <c:pt idx="2437">
                        <c:v>379.94380000000001</c:v>
                      </c:pt>
                      <c:pt idx="2438">
                        <c:v>381.7749</c:v>
                      </c:pt>
                      <c:pt idx="2439">
                        <c:v>381.67902099999998</c:v>
                      </c:pt>
                      <c:pt idx="2440">
                        <c:v>379.94380000000001</c:v>
                      </c:pt>
                      <c:pt idx="2441">
                        <c:v>383.60590000000002</c:v>
                      </c:pt>
                      <c:pt idx="2442">
                        <c:v>379.94380000000001</c:v>
                      </c:pt>
                      <c:pt idx="2443">
                        <c:v>380.85939999999999</c:v>
                      </c:pt>
                      <c:pt idx="2444">
                        <c:v>380.85939999999999</c:v>
                      </c:pt>
                      <c:pt idx="2445">
                        <c:v>380.85939999999999</c:v>
                      </c:pt>
                      <c:pt idx="2446">
                        <c:v>380.85939999999999</c:v>
                      </c:pt>
                      <c:pt idx="2447">
                        <c:v>381.7749</c:v>
                      </c:pt>
                      <c:pt idx="2448">
                        <c:v>380.3997708</c:v>
                      </c:pt>
                      <c:pt idx="2449">
                        <c:v>379.0283</c:v>
                      </c:pt>
                      <c:pt idx="2450">
                        <c:v>382.69040000000001</c:v>
                      </c:pt>
                      <c:pt idx="2451">
                        <c:v>382.69040000000001</c:v>
                      </c:pt>
                      <c:pt idx="2452">
                        <c:v>382.69040000000001</c:v>
                      </c:pt>
                      <c:pt idx="2453">
                        <c:v>382.69040000000001</c:v>
                      </c:pt>
                      <c:pt idx="2454">
                        <c:v>382.69040000000001</c:v>
                      </c:pt>
                      <c:pt idx="2455">
                        <c:v>382.69040000000001</c:v>
                      </c:pt>
                      <c:pt idx="2456">
                        <c:v>382.69040000000001</c:v>
                      </c:pt>
                      <c:pt idx="2457">
                        <c:v>382.69040000000001</c:v>
                      </c:pt>
                      <c:pt idx="2458">
                        <c:v>382.69040000000001</c:v>
                      </c:pt>
                      <c:pt idx="2459">
                        <c:v>382.69040000000001</c:v>
                      </c:pt>
                      <c:pt idx="2460">
                        <c:v>382.69040000000001</c:v>
                      </c:pt>
                      <c:pt idx="2461">
                        <c:v>379.0283</c:v>
                      </c:pt>
                      <c:pt idx="2462">
                        <c:v>379.04258110000001</c:v>
                      </c:pt>
                      <c:pt idx="2463">
                        <c:v>379.05720100000002</c:v>
                      </c:pt>
                      <c:pt idx="2464">
                        <c:v>379.07159739999997</c:v>
                      </c:pt>
                      <c:pt idx="2465">
                        <c:v>379.1146713</c:v>
                      </c:pt>
                      <c:pt idx="2466">
                        <c:v>379.12906779999997</c:v>
                      </c:pt>
                      <c:pt idx="2467">
                        <c:v>379.15796879999999</c:v>
                      </c:pt>
                      <c:pt idx="2468">
                        <c:v>379.17258870000001</c:v>
                      </c:pt>
                      <c:pt idx="2469">
                        <c:v>379.25907539999997</c:v>
                      </c:pt>
                      <c:pt idx="2470">
                        <c:v>379.35995129999998</c:v>
                      </c:pt>
                      <c:pt idx="2471">
                        <c:v>379.46082719999998</c:v>
                      </c:pt>
                      <c:pt idx="2472">
                        <c:v>379.4897282</c:v>
                      </c:pt>
                      <c:pt idx="2473">
                        <c:v>379.51840570000002</c:v>
                      </c:pt>
                      <c:pt idx="2474">
                        <c:v>379.5329175</c:v>
                      </c:pt>
                      <c:pt idx="2475">
                        <c:v>379.56159500000001</c:v>
                      </c:pt>
                      <c:pt idx="2476">
                        <c:v>379.59049599999997</c:v>
                      </c:pt>
                      <c:pt idx="2477">
                        <c:v>379.6196276</c:v>
                      </c:pt>
                      <c:pt idx="2478">
                        <c:v>379.64818980000001</c:v>
                      </c:pt>
                      <c:pt idx="2479">
                        <c:v>379.66269440000002</c:v>
                      </c:pt>
                      <c:pt idx="2480">
                        <c:v>379.67709079999997</c:v>
                      </c:pt>
                      <c:pt idx="2481">
                        <c:v>379.69148719999998</c:v>
                      </c:pt>
                      <c:pt idx="2482">
                        <c:v>379.69160260000001</c:v>
                      </c:pt>
                      <c:pt idx="2483">
                        <c:v>379.70588359999999</c:v>
                      </c:pt>
                      <c:pt idx="2484">
                        <c:v>379.7635775</c:v>
                      </c:pt>
                      <c:pt idx="2485">
                        <c:v>379.82137949999998</c:v>
                      </c:pt>
                      <c:pt idx="2486">
                        <c:v>379.82149479999998</c:v>
                      </c:pt>
                      <c:pt idx="2487">
                        <c:v>379.83566050000002</c:v>
                      </c:pt>
                      <c:pt idx="2488">
                        <c:v>379.85005699999999</c:v>
                      </c:pt>
                      <c:pt idx="2489">
                        <c:v>379.8644534</c:v>
                      </c:pt>
                      <c:pt idx="2490">
                        <c:v>379.89324620000002</c:v>
                      </c:pt>
                      <c:pt idx="2491">
                        <c:v>379.93665179999999</c:v>
                      </c:pt>
                      <c:pt idx="2492">
                        <c:v>379.96544460000001</c:v>
                      </c:pt>
                      <c:pt idx="2493">
                        <c:v>379.97984109999999</c:v>
                      </c:pt>
                      <c:pt idx="2494">
                        <c:v>379.99423030000003</c:v>
                      </c:pt>
                      <c:pt idx="2495">
                        <c:v>380.00862669999998</c:v>
                      </c:pt>
                      <c:pt idx="2496">
                        <c:v>380.00874210000001</c:v>
                      </c:pt>
                      <c:pt idx="2497">
                        <c:v>380.03775839999997</c:v>
                      </c:pt>
                      <c:pt idx="2498">
                        <c:v>380.05203949999998</c:v>
                      </c:pt>
                      <c:pt idx="2499">
                        <c:v>380.06643589999999</c:v>
                      </c:pt>
                      <c:pt idx="2500">
                        <c:v>380.0808323</c:v>
                      </c:pt>
                      <c:pt idx="2501">
                        <c:v>380.09522149999998</c:v>
                      </c:pt>
                      <c:pt idx="2502">
                        <c:v>380.10950980000001</c:v>
                      </c:pt>
                      <c:pt idx="2503">
                        <c:v>380.13851899999997</c:v>
                      </c:pt>
                      <c:pt idx="2504">
                        <c:v>380.15291539999998</c:v>
                      </c:pt>
                      <c:pt idx="2505">
                        <c:v>380.16719649999999</c:v>
                      </c:pt>
                      <c:pt idx="2506">
                        <c:v>380.21049390000002</c:v>
                      </c:pt>
                      <c:pt idx="2507">
                        <c:v>380.22500559999997</c:v>
                      </c:pt>
                      <c:pt idx="2508">
                        <c:v>380.26841839999997</c:v>
                      </c:pt>
                      <c:pt idx="2509">
                        <c:v>380.29709589999999</c:v>
                      </c:pt>
                      <c:pt idx="2510">
                        <c:v>380.3257734</c:v>
                      </c:pt>
                      <c:pt idx="2511">
                        <c:v>380.3547825</c:v>
                      </c:pt>
                      <c:pt idx="2512">
                        <c:v>380.38346009999998</c:v>
                      </c:pt>
                      <c:pt idx="2513">
                        <c:v>380.41236830000003</c:v>
                      </c:pt>
                      <c:pt idx="2514">
                        <c:v>380.42675750000001</c:v>
                      </c:pt>
                      <c:pt idx="2515">
                        <c:v>380.47028560000001</c:v>
                      </c:pt>
                      <c:pt idx="2516">
                        <c:v>380.49896310000003</c:v>
                      </c:pt>
                      <c:pt idx="2517">
                        <c:v>380.51324419999997</c:v>
                      </c:pt>
                      <c:pt idx="2518">
                        <c:v>380.52764059999998</c:v>
                      </c:pt>
                      <c:pt idx="2519">
                        <c:v>380.5422605</c:v>
                      </c:pt>
                      <c:pt idx="2520">
                        <c:v>380.57093800000001</c:v>
                      </c:pt>
                      <c:pt idx="2521">
                        <c:v>380.61412009999998</c:v>
                      </c:pt>
                      <c:pt idx="2522">
                        <c:v>380.62863179999999</c:v>
                      </c:pt>
                      <c:pt idx="2523">
                        <c:v>380.67192929999999</c:v>
                      </c:pt>
                      <c:pt idx="2524">
                        <c:v>380.70094560000001</c:v>
                      </c:pt>
                      <c:pt idx="2525">
                        <c:v>380.71511129999999</c:v>
                      </c:pt>
                      <c:pt idx="2526">
                        <c:v>380.74401230000001</c:v>
                      </c:pt>
                      <c:pt idx="2527">
                        <c:v>380.75830059999998</c:v>
                      </c:pt>
                      <c:pt idx="2528">
                        <c:v>380.85939999999999</c:v>
                      </c:pt>
                      <c:pt idx="2529">
                        <c:v>380.85939999999999</c:v>
                      </c:pt>
                      <c:pt idx="2530">
                        <c:v>380.85939999999999</c:v>
                      </c:pt>
                      <c:pt idx="2531">
                        <c:v>380.85939999999999</c:v>
                      </c:pt>
                      <c:pt idx="2532">
                        <c:v>380.85939999999999</c:v>
                      </c:pt>
                      <c:pt idx="2533">
                        <c:v>380.85939999999999</c:v>
                      </c:pt>
                      <c:pt idx="2534">
                        <c:v>380.85939999999999</c:v>
                      </c:pt>
                      <c:pt idx="2535">
                        <c:v>380.85939999999999</c:v>
                      </c:pt>
                      <c:pt idx="2536">
                        <c:v>380.85939999999999</c:v>
                      </c:pt>
                      <c:pt idx="2537">
                        <c:v>380.85939999999999</c:v>
                      </c:pt>
                      <c:pt idx="2538">
                        <c:v>380.85939999999999</c:v>
                      </c:pt>
                      <c:pt idx="2539">
                        <c:v>380.85939999999999</c:v>
                      </c:pt>
                      <c:pt idx="2540">
                        <c:v>380.85939999999999</c:v>
                      </c:pt>
                      <c:pt idx="2541">
                        <c:v>380.85939999999999</c:v>
                      </c:pt>
                      <c:pt idx="2542">
                        <c:v>380.85939999999999</c:v>
                      </c:pt>
                      <c:pt idx="2543">
                        <c:v>380.85939999999999</c:v>
                      </c:pt>
                      <c:pt idx="2544">
                        <c:v>380.85939999999999</c:v>
                      </c:pt>
                      <c:pt idx="2545">
                        <c:v>380.85939999999999</c:v>
                      </c:pt>
                      <c:pt idx="2546">
                        <c:v>380.85939999999999</c:v>
                      </c:pt>
                      <c:pt idx="2547">
                        <c:v>380.85939999999999</c:v>
                      </c:pt>
                      <c:pt idx="2548">
                        <c:v>380.85939999999999</c:v>
                      </c:pt>
                      <c:pt idx="2549">
                        <c:v>380.85939999999999</c:v>
                      </c:pt>
                      <c:pt idx="2550">
                        <c:v>380.85939999999999</c:v>
                      </c:pt>
                      <c:pt idx="2551">
                        <c:v>380.85939999999999</c:v>
                      </c:pt>
                      <c:pt idx="2552">
                        <c:v>380.85939999999999</c:v>
                      </c:pt>
                      <c:pt idx="2553">
                        <c:v>380.85939999999999</c:v>
                      </c:pt>
                      <c:pt idx="2554">
                        <c:v>380.85939999999999</c:v>
                      </c:pt>
                      <c:pt idx="2555">
                        <c:v>380.85939999999999</c:v>
                      </c:pt>
                      <c:pt idx="2556">
                        <c:v>380.85939999999999</c:v>
                      </c:pt>
                      <c:pt idx="2557">
                        <c:v>380.85939999999999</c:v>
                      </c:pt>
                      <c:pt idx="2558">
                        <c:v>380.85939999999999</c:v>
                      </c:pt>
                      <c:pt idx="2559">
                        <c:v>380.85939999999999</c:v>
                      </c:pt>
                      <c:pt idx="2560">
                        <c:v>380.85939999999999</c:v>
                      </c:pt>
                      <c:pt idx="2561">
                        <c:v>380.85939999999999</c:v>
                      </c:pt>
                      <c:pt idx="2562">
                        <c:v>380.85939999999999</c:v>
                      </c:pt>
                      <c:pt idx="2563">
                        <c:v>380.84247349999998</c:v>
                      </c:pt>
                      <c:pt idx="2564">
                        <c:v>380.81695230000003</c:v>
                      </c:pt>
                      <c:pt idx="2565">
                        <c:v>380.74066010000001</c:v>
                      </c:pt>
                      <c:pt idx="2566">
                        <c:v>380.6814215</c:v>
                      </c:pt>
                      <c:pt idx="2567">
                        <c:v>380.65596820000002</c:v>
                      </c:pt>
                      <c:pt idx="2568">
                        <c:v>380.65590040000001</c:v>
                      </c:pt>
                      <c:pt idx="2569">
                        <c:v>380.63891030000002</c:v>
                      </c:pt>
                      <c:pt idx="2570">
                        <c:v>380.6135883</c:v>
                      </c:pt>
                      <c:pt idx="2571">
                        <c:v>380.60512929999999</c:v>
                      </c:pt>
                      <c:pt idx="2572">
                        <c:v>380.58807139999999</c:v>
                      </c:pt>
                      <c:pt idx="2573">
                        <c:v>380.57114489999998</c:v>
                      </c:pt>
                      <c:pt idx="2574">
                        <c:v>380.56274939999997</c:v>
                      </c:pt>
                      <c:pt idx="2575">
                        <c:v>380.55428619999998</c:v>
                      </c:pt>
                      <c:pt idx="2576">
                        <c:v>380.54569149999998</c:v>
                      </c:pt>
                      <c:pt idx="2577">
                        <c:v>380.53729609999999</c:v>
                      </c:pt>
                      <c:pt idx="2578">
                        <c:v>380.53722829999998</c:v>
                      </c:pt>
                      <c:pt idx="2579">
                        <c:v>380.52883279999998</c:v>
                      </c:pt>
                      <c:pt idx="2580">
                        <c:v>380.52030600000001</c:v>
                      </c:pt>
                      <c:pt idx="2581">
                        <c:v>380.50337949999999</c:v>
                      </c:pt>
                      <c:pt idx="2582">
                        <c:v>380.48645299999998</c:v>
                      </c:pt>
                      <c:pt idx="2583">
                        <c:v>380.40169750000001</c:v>
                      </c:pt>
                      <c:pt idx="2584">
                        <c:v>380.39317060000002</c:v>
                      </c:pt>
                      <c:pt idx="2585">
                        <c:v>380.3593176</c:v>
                      </c:pt>
                      <c:pt idx="2586">
                        <c:v>380.34153500000002</c:v>
                      </c:pt>
                      <c:pt idx="2587">
                        <c:v>380.30834729999998</c:v>
                      </c:pt>
                      <c:pt idx="2588">
                        <c:v>380.28295759999997</c:v>
                      </c:pt>
                      <c:pt idx="2589">
                        <c:v>380.23218229999998</c:v>
                      </c:pt>
                      <c:pt idx="2590">
                        <c:v>380.16428550000001</c:v>
                      </c:pt>
                      <c:pt idx="2591">
                        <c:v>380.15589</c:v>
                      </c:pt>
                      <c:pt idx="2592">
                        <c:v>380.14742680000001</c:v>
                      </c:pt>
                      <c:pt idx="2593">
                        <c:v>380.1388321</c:v>
                      </c:pt>
                      <c:pt idx="2594">
                        <c:v>380.13003830000002</c:v>
                      </c:pt>
                      <c:pt idx="2595">
                        <c:v>380.1219734</c:v>
                      </c:pt>
                      <c:pt idx="2596">
                        <c:v>380.11351020000001</c:v>
                      </c:pt>
                      <c:pt idx="2597">
                        <c:v>380.09658789999997</c:v>
                      </c:pt>
                      <c:pt idx="2598">
                        <c:v>380.06253989999999</c:v>
                      </c:pt>
                      <c:pt idx="2599">
                        <c:v>380.05420800000002</c:v>
                      </c:pt>
                      <c:pt idx="2600">
                        <c:v>380.03721789999997</c:v>
                      </c:pt>
                      <c:pt idx="2601">
                        <c:v>380.02875469999998</c:v>
                      </c:pt>
                      <c:pt idx="2602">
                        <c:v>380.01169679999998</c:v>
                      </c:pt>
                      <c:pt idx="2603">
                        <c:v>379.98637480000002</c:v>
                      </c:pt>
                      <c:pt idx="2604">
                        <c:v>379.96085790000001</c:v>
                      </c:pt>
                      <c:pt idx="2605">
                        <c:v>379.94386359999999</c:v>
                      </c:pt>
                      <c:pt idx="2606">
                        <c:v>379.94380000000001</c:v>
                      </c:pt>
                      <c:pt idx="2607">
                        <c:v>380.09462430000002</c:v>
                      </c:pt>
                      <c:pt idx="2608">
                        <c:v>380.39687959999998</c:v>
                      </c:pt>
                      <c:pt idx="2609">
                        <c:v>380.4737705</c:v>
                      </c:pt>
                      <c:pt idx="2610">
                        <c:v>380.85939999999999</c:v>
                      </c:pt>
                      <c:pt idx="2611">
                        <c:v>380.85939999999999</c:v>
                      </c:pt>
                      <c:pt idx="2612">
                        <c:v>380.85939999999999</c:v>
                      </c:pt>
                      <c:pt idx="2613">
                        <c:v>380.85939999999999</c:v>
                      </c:pt>
                      <c:pt idx="2614">
                        <c:v>380.85939999999999</c:v>
                      </c:pt>
                      <c:pt idx="2615">
                        <c:v>380.85939999999999</c:v>
                      </c:pt>
                      <c:pt idx="2616">
                        <c:v>380.85939999999999</c:v>
                      </c:pt>
                      <c:pt idx="2617">
                        <c:v>380.85939999999999</c:v>
                      </c:pt>
                      <c:pt idx="2618">
                        <c:v>380.85939999999999</c:v>
                      </c:pt>
                      <c:pt idx="2619">
                        <c:v>380.85939999999999</c:v>
                      </c:pt>
                      <c:pt idx="2620">
                        <c:v>380.85939999999999</c:v>
                      </c:pt>
                      <c:pt idx="2621">
                        <c:v>380.85939999999999</c:v>
                      </c:pt>
                      <c:pt idx="2622">
                        <c:v>380.85939999999999</c:v>
                      </c:pt>
                      <c:pt idx="2623">
                        <c:v>380.85939999999999</c:v>
                      </c:pt>
                      <c:pt idx="2624">
                        <c:v>380.85939999999999</c:v>
                      </c:pt>
                      <c:pt idx="2625">
                        <c:v>380.85939999999999</c:v>
                      </c:pt>
                      <c:pt idx="2626">
                        <c:v>380.85939999999999</c:v>
                      </c:pt>
                      <c:pt idx="2627">
                        <c:v>380.85939999999999</c:v>
                      </c:pt>
                      <c:pt idx="2628">
                        <c:v>380.85939999999999</c:v>
                      </c:pt>
                      <c:pt idx="2629">
                        <c:v>380.85939999999999</c:v>
                      </c:pt>
                      <c:pt idx="2630">
                        <c:v>380.85939999999999</c:v>
                      </c:pt>
                      <c:pt idx="2631">
                        <c:v>380.85939999999999</c:v>
                      </c:pt>
                      <c:pt idx="2632">
                        <c:v>380.85939999999999</c:v>
                      </c:pt>
                      <c:pt idx="2633">
                        <c:v>380.85939999999999</c:v>
                      </c:pt>
                      <c:pt idx="2634">
                        <c:v>380.85939999999999</c:v>
                      </c:pt>
                      <c:pt idx="2635">
                        <c:v>380.85939999999999</c:v>
                      </c:pt>
                      <c:pt idx="2636">
                        <c:v>380.85939999999999</c:v>
                      </c:pt>
                      <c:pt idx="2637">
                        <c:v>380.85939999999999</c:v>
                      </c:pt>
                      <c:pt idx="2638">
                        <c:v>380.85939999999999</c:v>
                      </c:pt>
                      <c:pt idx="2639">
                        <c:v>380.85939999999999</c:v>
                      </c:pt>
                      <c:pt idx="2640">
                        <c:v>380.85939999999999</c:v>
                      </c:pt>
                      <c:pt idx="2641">
                        <c:v>380.85939999999999</c:v>
                      </c:pt>
                      <c:pt idx="2642">
                        <c:v>380.85939999999999</c:v>
                      </c:pt>
                      <c:pt idx="2643">
                        <c:v>380.85939999999999</c:v>
                      </c:pt>
                      <c:pt idx="2644">
                        <c:v>380.85939999999999</c:v>
                      </c:pt>
                      <c:pt idx="2645">
                        <c:v>380.85939999999999</c:v>
                      </c:pt>
                      <c:pt idx="2646">
                        <c:v>380.85939999999999</c:v>
                      </c:pt>
                      <c:pt idx="2647">
                        <c:v>380.85939999999999</c:v>
                      </c:pt>
                      <c:pt idx="2648">
                        <c:v>380.85939999999999</c:v>
                      </c:pt>
                      <c:pt idx="2649">
                        <c:v>380.85939999999999</c:v>
                      </c:pt>
                      <c:pt idx="2650">
                        <c:v>380.85939999999999</c:v>
                      </c:pt>
                      <c:pt idx="2651">
                        <c:v>380.85939999999999</c:v>
                      </c:pt>
                      <c:pt idx="2652">
                        <c:v>380.85939999999999</c:v>
                      </c:pt>
                      <c:pt idx="2653">
                        <c:v>380.85939999999999</c:v>
                      </c:pt>
                      <c:pt idx="2654">
                        <c:v>380.85939999999999</c:v>
                      </c:pt>
                      <c:pt idx="2655">
                        <c:v>380.85939999999999</c:v>
                      </c:pt>
                      <c:pt idx="2656">
                        <c:v>380.85939999999999</c:v>
                      </c:pt>
                      <c:pt idx="2657">
                        <c:v>380.85939999999999</c:v>
                      </c:pt>
                      <c:pt idx="2658">
                        <c:v>380.85939999999999</c:v>
                      </c:pt>
                      <c:pt idx="2659">
                        <c:v>380.85939999999999</c:v>
                      </c:pt>
                      <c:pt idx="2660">
                        <c:v>380.85939999999999</c:v>
                      </c:pt>
                      <c:pt idx="2661">
                        <c:v>380.85939999999999</c:v>
                      </c:pt>
                      <c:pt idx="2662">
                        <c:v>380.85939999999999</c:v>
                      </c:pt>
                      <c:pt idx="2663">
                        <c:v>380.85939999999999</c:v>
                      </c:pt>
                      <c:pt idx="2664">
                        <c:v>380.85939999999999</c:v>
                      </c:pt>
                      <c:pt idx="2665">
                        <c:v>380.85939999999999</c:v>
                      </c:pt>
                      <c:pt idx="2666">
                        <c:v>380.85939999999999</c:v>
                      </c:pt>
                      <c:pt idx="2667">
                        <c:v>380.85939999999999</c:v>
                      </c:pt>
                      <c:pt idx="2668">
                        <c:v>380.85939999999999</c:v>
                      </c:pt>
                      <c:pt idx="2669">
                        <c:v>380.85939999999999</c:v>
                      </c:pt>
                      <c:pt idx="2670">
                        <c:v>380.85939999999999</c:v>
                      </c:pt>
                      <c:pt idx="2671">
                        <c:v>380.85939999999999</c:v>
                      </c:pt>
                      <c:pt idx="2672">
                        <c:v>380.85939999999999</c:v>
                      </c:pt>
                      <c:pt idx="2673">
                        <c:v>380.85939999999999</c:v>
                      </c:pt>
                      <c:pt idx="2674">
                        <c:v>380.85939999999999</c:v>
                      </c:pt>
                      <c:pt idx="2675">
                        <c:v>380.85939999999999</c:v>
                      </c:pt>
                      <c:pt idx="2676">
                        <c:v>380.85939999999999</c:v>
                      </c:pt>
                      <c:pt idx="2677">
                        <c:v>380.85939999999999</c:v>
                      </c:pt>
                      <c:pt idx="2678">
                        <c:v>380.85939999999999</c:v>
                      </c:pt>
                      <c:pt idx="2679">
                        <c:v>380.85939999999999</c:v>
                      </c:pt>
                      <c:pt idx="2680">
                        <c:v>380.79496369999998</c:v>
                      </c:pt>
                      <c:pt idx="2681">
                        <c:v>380.78209570000001</c:v>
                      </c:pt>
                      <c:pt idx="2682">
                        <c:v>380.76872520000001</c:v>
                      </c:pt>
                      <c:pt idx="2683">
                        <c:v>380.75626319999998</c:v>
                      </c:pt>
                      <c:pt idx="2684">
                        <c:v>380.74349840000002</c:v>
                      </c:pt>
                      <c:pt idx="2685">
                        <c:v>380.73052730000001</c:v>
                      </c:pt>
                      <c:pt idx="2686">
                        <c:v>380.7176594</c:v>
                      </c:pt>
                      <c:pt idx="2687">
                        <c:v>380.70479790000002</c:v>
                      </c:pt>
                      <c:pt idx="2688">
                        <c:v>380.69182690000002</c:v>
                      </c:pt>
                      <c:pt idx="2689">
                        <c:v>380.62729389999998</c:v>
                      </c:pt>
                      <c:pt idx="2690">
                        <c:v>380.56285759999997</c:v>
                      </c:pt>
                      <c:pt idx="2691">
                        <c:v>380.48575949999997</c:v>
                      </c:pt>
                      <c:pt idx="2692">
                        <c:v>380.4727949</c:v>
                      </c:pt>
                      <c:pt idx="2693">
                        <c:v>380.446956</c:v>
                      </c:pt>
                      <c:pt idx="2694">
                        <c:v>380.4211234</c:v>
                      </c:pt>
                      <c:pt idx="2695">
                        <c:v>380.39498809999998</c:v>
                      </c:pt>
                      <c:pt idx="2696">
                        <c:v>380.38231990000003</c:v>
                      </c:pt>
                      <c:pt idx="2697">
                        <c:v>380.35679019999998</c:v>
                      </c:pt>
                      <c:pt idx="2698">
                        <c:v>380.34392229999997</c:v>
                      </c:pt>
                      <c:pt idx="2699">
                        <c:v>380.3305517</c:v>
                      </c:pt>
                      <c:pt idx="2700">
                        <c:v>380.31778689999999</c:v>
                      </c:pt>
                      <c:pt idx="2701">
                        <c:v>380.15061969999999</c:v>
                      </c:pt>
                      <c:pt idx="2702">
                        <c:v>380.11191930000001</c:v>
                      </c:pt>
                      <c:pt idx="2703">
                        <c:v>379.90574880000003</c:v>
                      </c:pt>
                      <c:pt idx="2704">
                        <c:v>379.80261849999999</c:v>
                      </c:pt>
                      <c:pt idx="2705">
                        <c:v>379.63464579999999</c:v>
                      </c:pt>
                      <c:pt idx="2706">
                        <c:v>379.62168120000001</c:v>
                      </c:pt>
                      <c:pt idx="2707">
                        <c:v>379.59644800000001</c:v>
                      </c:pt>
                      <c:pt idx="2708">
                        <c:v>379.58358010000001</c:v>
                      </c:pt>
                      <c:pt idx="2709">
                        <c:v>379.5448796</c:v>
                      </c:pt>
                      <c:pt idx="2710">
                        <c:v>379.51924680000002</c:v>
                      </c:pt>
                      <c:pt idx="2711">
                        <c:v>379.50587630000001</c:v>
                      </c:pt>
                      <c:pt idx="2712">
                        <c:v>379.46747870000002</c:v>
                      </c:pt>
                      <c:pt idx="2713">
                        <c:v>379.45451409999998</c:v>
                      </c:pt>
                      <c:pt idx="2714">
                        <c:v>379.42847540000002</c:v>
                      </c:pt>
                      <c:pt idx="2715">
                        <c:v>379.41551079999999</c:v>
                      </c:pt>
                      <c:pt idx="2716">
                        <c:v>379.38967179999997</c:v>
                      </c:pt>
                      <c:pt idx="2717">
                        <c:v>379.37701010000001</c:v>
                      </c:pt>
                      <c:pt idx="2718">
                        <c:v>379.3643419</c:v>
                      </c:pt>
                      <c:pt idx="2719">
                        <c:v>379.2866381</c:v>
                      </c:pt>
                      <c:pt idx="2720">
                        <c:v>379.27417609999998</c:v>
                      </c:pt>
                      <c:pt idx="2721">
                        <c:v>379.24804080000001</c:v>
                      </c:pt>
                      <c:pt idx="2722">
                        <c:v>379.22271080000002</c:v>
                      </c:pt>
                      <c:pt idx="2723">
                        <c:v>379.20984290000001</c:v>
                      </c:pt>
                      <c:pt idx="2724">
                        <c:v>379.19657549999999</c:v>
                      </c:pt>
                      <c:pt idx="2725">
                        <c:v>379.18390729999999</c:v>
                      </c:pt>
                      <c:pt idx="2726">
                        <c:v>379.17123909999998</c:v>
                      </c:pt>
                      <c:pt idx="2727">
                        <c:v>379.1577719</c:v>
                      </c:pt>
                      <c:pt idx="2728">
                        <c:v>379.1454066</c:v>
                      </c:pt>
                      <c:pt idx="2729">
                        <c:v>379.13193940000002</c:v>
                      </c:pt>
                      <c:pt idx="2730">
                        <c:v>379.11927120000001</c:v>
                      </c:pt>
                      <c:pt idx="2731">
                        <c:v>379.10660949999999</c:v>
                      </c:pt>
                      <c:pt idx="2732">
                        <c:v>379.09383819999999</c:v>
                      </c:pt>
                      <c:pt idx="2733">
                        <c:v>379.06770280000001</c:v>
                      </c:pt>
                      <c:pt idx="2734">
                        <c:v>379.0283</c:v>
                      </c:pt>
                      <c:pt idx="2735">
                        <c:v>382.69040000000001</c:v>
                      </c:pt>
                      <c:pt idx="2736">
                        <c:v>381.6263687</c:v>
                      </c:pt>
                      <c:pt idx="2737">
                        <c:v>379.94380000000001</c:v>
                      </c:pt>
                      <c:pt idx="2738">
                        <c:v>380.14065840000001</c:v>
                      </c:pt>
                      <c:pt idx="2739">
                        <c:v>380.43079239999997</c:v>
                      </c:pt>
                      <c:pt idx="2740">
                        <c:v>380.46523120000001</c:v>
                      </c:pt>
                      <c:pt idx="2741">
                        <c:v>380.47725350000002</c:v>
                      </c:pt>
                      <c:pt idx="2742">
                        <c:v>380.68576919999998</c:v>
                      </c:pt>
                      <c:pt idx="2743">
                        <c:v>380.69716</c:v>
                      </c:pt>
                      <c:pt idx="2744">
                        <c:v>380.70854489999999</c:v>
                      </c:pt>
                      <c:pt idx="2745">
                        <c:v>380.73223030000003</c:v>
                      </c:pt>
                      <c:pt idx="2746">
                        <c:v>380.74361520000002</c:v>
                      </c:pt>
                      <c:pt idx="2747">
                        <c:v>380.76639669999997</c:v>
                      </c:pt>
                      <c:pt idx="2748">
                        <c:v>380.77841319999999</c:v>
                      </c:pt>
                      <c:pt idx="2749">
                        <c:v>380.81285200000002</c:v>
                      </c:pt>
                      <c:pt idx="2750">
                        <c:v>380.85939999999999</c:v>
                      </c:pt>
                      <c:pt idx="2751">
                        <c:v>380.92774489999999</c:v>
                      </c:pt>
                      <c:pt idx="2752">
                        <c:v>380.96020870000001</c:v>
                      </c:pt>
                      <c:pt idx="2753">
                        <c:v>380.99531159999998</c:v>
                      </c:pt>
                      <c:pt idx="2754">
                        <c:v>381.06181249999997</c:v>
                      </c:pt>
                      <c:pt idx="2755">
                        <c:v>381.13069869999998</c:v>
                      </c:pt>
                      <c:pt idx="2756">
                        <c:v>381.1971997</c:v>
                      </c:pt>
                      <c:pt idx="2757">
                        <c:v>381.23098299999998</c:v>
                      </c:pt>
                      <c:pt idx="2758">
                        <c:v>381.29880350000002</c:v>
                      </c:pt>
                      <c:pt idx="2759">
                        <c:v>381.33390630000002</c:v>
                      </c:pt>
                      <c:pt idx="2760">
                        <c:v>381.33522590000001</c:v>
                      </c:pt>
                      <c:pt idx="2761">
                        <c:v>381.40040729999998</c:v>
                      </c:pt>
                      <c:pt idx="2762">
                        <c:v>381.4336662</c:v>
                      </c:pt>
                      <c:pt idx="2763">
                        <c:v>381.46770329999998</c:v>
                      </c:pt>
                      <c:pt idx="2764">
                        <c:v>381.50280620000001</c:v>
                      </c:pt>
                      <c:pt idx="2765">
                        <c:v>381.5693071</c:v>
                      </c:pt>
                      <c:pt idx="2766">
                        <c:v>381.63687379999999</c:v>
                      </c:pt>
                      <c:pt idx="2767">
                        <c:v>381.67197670000002</c:v>
                      </c:pt>
                      <c:pt idx="2768">
                        <c:v>381.67354999999998</c:v>
                      </c:pt>
                      <c:pt idx="2769">
                        <c:v>381.70521869999999</c:v>
                      </c:pt>
                      <c:pt idx="2770">
                        <c:v>381.77358049999998</c:v>
                      </c:pt>
                      <c:pt idx="2771">
                        <c:v>381.7749</c:v>
                      </c:pt>
                      <c:pt idx="2772">
                        <c:v>381.06128519999999</c:v>
                      </c:pt>
                      <c:pt idx="2773">
                        <c:v>380.98274040000001</c:v>
                      </c:pt>
                      <c:pt idx="2774">
                        <c:v>380.89924159999998</c:v>
                      </c:pt>
                      <c:pt idx="2775">
                        <c:v>380.82069689999997</c:v>
                      </c:pt>
                      <c:pt idx="2776">
                        <c:v>380.74219199999999</c:v>
                      </c:pt>
                      <c:pt idx="2777">
                        <c:v>380.58074779999998</c:v>
                      </c:pt>
                      <c:pt idx="2778">
                        <c:v>380.41934350000002</c:v>
                      </c:pt>
                      <c:pt idx="2779">
                        <c:v>380.34079869999999</c:v>
                      </c:pt>
                      <c:pt idx="2780">
                        <c:v>380.26229389999997</c:v>
                      </c:pt>
                      <c:pt idx="2781">
                        <c:v>380.1837491</c:v>
                      </c:pt>
                      <c:pt idx="2782">
                        <c:v>379.94380000000001</c:v>
                      </c:pt>
                      <c:pt idx="2783">
                        <c:v>380.1783393</c:v>
                      </c:pt>
                      <c:pt idx="2784">
                        <c:v>380.18947830000002</c:v>
                      </c:pt>
                      <c:pt idx="2785">
                        <c:v>380.24519579999998</c:v>
                      </c:pt>
                      <c:pt idx="2786">
                        <c:v>380.41357060000001</c:v>
                      </c:pt>
                      <c:pt idx="2787">
                        <c:v>380.42410690000003</c:v>
                      </c:pt>
                      <c:pt idx="2788">
                        <c:v>380.55791490000001</c:v>
                      </c:pt>
                      <c:pt idx="2789">
                        <c:v>380.58046080000003</c:v>
                      </c:pt>
                      <c:pt idx="2790">
                        <c:v>380.68049450000001</c:v>
                      </c:pt>
                      <c:pt idx="2791">
                        <c:v>380.81491080000001</c:v>
                      </c:pt>
                      <c:pt idx="2792">
                        <c:v>380.83685400000002</c:v>
                      </c:pt>
                      <c:pt idx="2793">
                        <c:v>380.85939999999999</c:v>
                      </c:pt>
                      <c:pt idx="2794">
                        <c:v>380.85939999999999</c:v>
                      </c:pt>
                      <c:pt idx="2795">
                        <c:v>380.85939999999999</c:v>
                      </c:pt>
                      <c:pt idx="2796">
                        <c:v>380.85939999999999</c:v>
                      </c:pt>
                      <c:pt idx="2797">
                        <c:v>380.85939999999999</c:v>
                      </c:pt>
                      <c:pt idx="2798">
                        <c:v>380.85939999999999</c:v>
                      </c:pt>
                      <c:pt idx="2799">
                        <c:v>380.85939999999999</c:v>
                      </c:pt>
                      <c:pt idx="2800">
                        <c:v>380.85939999999999</c:v>
                      </c:pt>
                      <c:pt idx="2801">
                        <c:v>380.85939999999999</c:v>
                      </c:pt>
                      <c:pt idx="2802">
                        <c:v>380.85939999999999</c:v>
                      </c:pt>
                      <c:pt idx="2803">
                        <c:v>380.85939999999999</c:v>
                      </c:pt>
                      <c:pt idx="2804">
                        <c:v>380.85939999999999</c:v>
                      </c:pt>
                      <c:pt idx="2805">
                        <c:v>380.85939999999999</c:v>
                      </c:pt>
                      <c:pt idx="2806">
                        <c:v>380.85939999999999</c:v>
                      </c:pt>
                      <c:pt idx="2807">
                        <c:v>380.85939999999999</c:v>
                      </c:pt>
                      <c:pt idx="2808">
                        <c:v>380.85939999999999</c:v>
                      </c:pt>
                      <c:pt idx="2809">
                        <c:v>380.85939999999999</c:v>
                      </c:pt>
                      <c:pt idx="2810">
                        <c:v>380.85939999999999</c:v>
                      </c:pt>
                      <c:pt idx="2811">
                        <c:v>380.85939999999999</c:v>
                      </c:pt>
                      <c:pt idx="2812">
                        <c:v>380.85939999999999</c:v>
                      </c:pt>
                      <c:pt idx="2813">
                        <c:v>380.85939999999999</c:v>
                      </c:pt>
                      <c:pt idx="2814">
                        <c:v>380.85939999999999</c:v>
                      </c:pt>
                      <c:pt idx="2815">
                        <c:v>380.85939999999999</c:v>
                      </c:pt>
                      <c:pt idx="2816">
                        <c:v>380.85939999999999</c:v>
                      </c:pt>
                      <c:pt idx="2817">
                        <c:v>380.85939999999999</c:v>
                      </c:pt>
                      <c:pt idx="2818">
                        <c:v>380.85939999999999</c:v>
                      </c:pt>
                      <c:pt idx="2819">
                        <c:v>380.85939999999999</c:v>
                      </c:pt>
                      <c:pt idx="2820">
                        <c:v>380.85939999999999</c:v>
                      </c:pt>
                      <c:pt idx="2821">
                        <c:v>380.85939999999999</c:v>
                      </c:pt>
                      <c:pt idx="2822">
                        <c:v>380.85939999999999</c:v>
                      </c:pt>
                      <c:pt idx="2823">
                        <c:v>380.85939999999999</c:v>
                      </c:pt>
                      <c:pt idx="2824">
                        <c:v>380.85939999999999</c:v>
                      </c:pt>
                      <c:pt idx="2825">
                        <c:v>380.85939999999999</c:v>
                      </c:pt>
                      <c:pt idx="2826">
                        <c:v>380.85939999999999</c:v>
                      </c:pt>
                      <c:pt idx="2827">
                        <c:v>380.85939999999999</c:v>
                      </c:pt>
                      <c:pt idx="2828">
                        <c:v>380.85939999999999</c:v>
                      </c:pt>
                      <c:pt idx="2829">
                        <c:v>380.85939999999999</c:v>
                      </c:pt>
                      <c:pt idx="2830">
                        <c:v>380.85939999999999</c:v>
                      </c:pt>
                      <c:pt idx="2831">
                        <c:v>380.85939999999999</c:v>
                      </c:pt>
                      <c:pt idx="2832">
                        <c:v>380.85939999999999</c:v>
                      </c:pt>
                      <c:pt idx="2833">
                        <c:v>380.85939999999999</c:v>
                      </c:pt>
                      <c:pt idx="2834">
                        <c:v>380.85939999999999</c:v>
                      </c:pt>
                      <c:pt idx="2835">
                        <c:v>380.85939999999999</c:v>
                      </c:pt>
                      <c:pt idx="2836">
                        <c:v>380.85939999999999</c:v>
                      </c:pt>
                      <c:pt idx="2837">
                        <c:v>380.85939999999999</c:v>
                      </c:pt>
                      <c:pt idx="2838">
                        <c:v>380.85939999999999</c:v>
                      </c:pt>
                      <c:pt idx="2839">
                        <c:v>380.85939999999999</c:v>
                      </c:pt>
                      <c:pt idx="2840">
                        <c:v>380.85939999999999</c:v>
                      </c:pt>
                      <c:pt idx="2841">
                        <c:v>380.85939999999999</c:v>
                      </c:pt>
                      <c:pt idx="2842">
                        <c:v>380.85939999999999</c:v>
                      </c:pt>
                      <c:pt idx="2843">
                        <c:v>380.85939999999999</c:v>
                      </c:pt>
                      <c:pt idx="2844">
                        <c:v>380.85939999999999</c:v>
                      </c:pt>
                      <c:pt idx="2845">
                        <c:v>380.85939999999999</c:v>
                      </c:pt>
                      <c:pt idx="2846">
                        <c:v>380.85939999999999</c:v>
                      </c:pt>
                      <c:pt idx="2847">
                        <c:v>380.85939999999999</c:v>
                      </c:pt>
                      <c:pt idx="2848">
                        <c:v>380.85939999999999</c:v>
                      </c:pt>
                      <c:pt idx="2849">
                        <c:v>380.85939999999999</c:v>
                      </c:pt>
                      <c:pt idx="2850">
                        <c:v>380.85939999999999</c:v>
                      </c:pt>
                      <c:pt idx="2851">
                        <c:v>381.40499519999997</c:v>
                      </c:pt>
                      <c:pt idx="2852">
                        <c:v>382.26290829999999</c:v>
                      </c:pt>
                      <c:pt idx="2853">
                        <c:v>382.62423769999998</c:v>
                      </c:pt>
                      <c:pt idx="2854">
                        <c:v>382.69040000000001</c:v>
                      </c:pt>
                      <c:pt idx="2855">
                        <c:v>380.85939999999999</c:v>
                      </c:pt>
                      <c:pt idx="2856">
                        <c:v>381.02008380000001</c:v>
                      </c:pt>
                      <c:pt idx="2857">
                        <c:v>381.25900159999998</c:v>
                      </c:pt>
                      <c:pt idx="2858">
                        <c:v>382.13198399999999</c:v>
                      </c:pt>
                      <c:pt idx="2859">
                        <c:v>382.69040000000001</c:v>
                      </c:pt>
                      <c:pt idx="2860">
                        <c:v>382.4275265</c:v>
                      </c:pt>
                      <c:pt idx="2861">
                        <c:v>381.90381230000003</c:v>
                      </c:pt>
                      <c:pt idx="2862">
                        <c:v>381.7749</c:v>
                      </c:pt>
                      <c:pt idx="2863">
                        <c:v>381.7749</c:v>
                      </c:pt>
                      <c:pt idx="2864">
                        <c:v>381.7749</c:v>
                      </c:pt>
                      <c:pt idx="2865">
                        <c:v>381.7749</c:v>
                      </c:pt>
                      <c:pt idx="2866">
                        <c:v>381.7749</c:v>
                      </c:pt>
                      <c:pt idx="2867">
                        <c:v>381.7749</c:v>
                      </c:pt>
                      <c:pt idx="2868">
                        <c:v>381.7749</c:v>
                      </c:pt>
                      <c:pt idx="2869">
                        <c:v>381.7749</c:v>
                      </c:pt>
                      <c:pt idx="2870">
                        <c:v>381.7749</c:v>
                      </c:pt>
                      <c:pt idx="2871">
                        <c:v>381.7749</c:v>
                      </c:pt>
                      <c:pt idx="2872">
                        <c:v>381.7749</c:v>
                      </c:pt>
                      <c:pt idx="2873">
                        <c:v>381.7749</c:v>
                      </c:pt>
                      <c:pt idx="2874">
                        <c:v>381.7749</c:v>
                      </c:pt>
                      <c:pt idx="2875">
                        <c:v>381.7749</c:v>
                      </c:pt>
                      <c:pt idx="2876">
                        <c:v>381.7749</c:v>
                      </c:pt>
                      <c:pt idx="2877">
                        <c:v>381.7749</c:v>
                      </c:pt>
                      <c:pt idx="2878">
                        <c:v>381.7749</c:v>
                      </c:pt>
                      <c:pt idx="2879">
                        <c:v>381.7749</c:v>
                      </c:pt>
                      <c:pt idx="2880">
                        <c:v>381.7749</c:v>
                      </c:pt>
                      <c:pt idx="2881">
                        <c:v>381.7749</c:v>
                      </c:pt>
                      <c:pt idx="2882">
                        <c:v>381.7749</c:v>
                      </c:pt>
                      <c:pt idx="2883">
                        <c:v>381.7749</c:v>
                      </c:pt>
                      <c:pt idx="2884">
                        <c:v>381.7749</c:v>
                      </c:pt>
                      <c:pt idx="2885">
                        <c:v>381.7749</c:v>
                      </c:pt>
                      <c:pt idx="2886">
                        <c:v>381.7749</c:v>
                      </c:pt>
                      <c:pt idx="2887">
                        <c:v>381.7749</c:v>
                      </c:pt>
                      <c:pt idx="2888">
                        <c:v>381.7749</c:v>
                      </c:pt>
                      <c:pt idx="2889">
                        <c:v>381.7749</c:v>
                      </c:pt>
                      <c:pt idx="2890">
                        <c:v>381.7749</c:v>
                      </c:pt>
                      <c:pt idx="2891">
                        <c:v>381.7749</c:v>
                      </c:pt>
                      <c:pt idx="2892">
                        <c:v>381.7749</c:v>
                      </c:pt>
                      <c:pt idx="2893">
                        <c:v>381.7749</c:v>
                      </c:pt>
                      <c:pt idx="2894">
                        <c:v>381.7749</c:v>
                      </c:pt>
                      <c:pt idx="2895">
                        <c:v>381.7749</c:v>
                      </c:pt>
                      <c:pt idx="2896">
                        <c:v>381.7749</c:v>
                      </c:pt>
                      <c:pt idx="2897">
                        <c:v>381.7749</c:v>
                      </c:pt>
                      <c:pt idx="2898">
                        <c:v>381.7749</c:v>
                      </c:pt>
                      <c:pt idx="2899">
                        <c:v>381.7749</c:v>
                      </c:pt>
                      <c:pt idx="2900">
                        <c:v>381.7749</c:v>
                      </c:pt>
                      <c:pt idx="2901">
                        <c:v>381.7749</c:v>
                      </c:pt>
                      <c:pt idx="2902">
                        <c:v>381.7749</c:v>
                      </c:pt>
                      <c:pt idx="2903">
                        <c:v>381.7749</c:v>
                      </c:pt>
                      <c:pt idx="2904">
                        <c:v>381.7749</c:v>
                      </c:pt>
                      <c:pt idx="2905">
                        <c:v>381.7749</c:v>
                      </c:pt>
                      <c:pt idx="2906">
                        <c:v>381.7749</c:v>
                      </c:pt>
                      <c:pt idx="2907">
                        <c:v>381.7749</c:v>
                      </c:pt>
                      <c:pt idx="2908">
                        <c:v>381.7749</c:v>
                      </c:pt>
                      <c:pt idx="2909">
                        <c:v>381.7749</c:v>
                      </c:pt>
                      <c:pt idx="2910">
                        <c:v>381.7749</c:v>
                      </c:pt>
                      <c:pt idx="2911">
                        <c:v>381.7749</c:v>
                      </c:pt>
                      <c:pt idx="2912">
                        <c:v>382.08786170000002</c:v>
                      </c:pt>
                      <c:pt idx="2913">
                        <c:v>382.0882264</c:v>
                      </c:pt>
                      <c:pt idx="2914">
                        <c:v>382.12227619999999</c:v>
                      </c:pt>
                      <c:pt idx="2915">
                        <c:v>382.13365900000002</c:v>
                      </c:pt>
                      <c:pt idx="2916">
                        <c:v>382.14521539999998</c:v>
                      </c:pt>
                      <c:pt idx="2917">
                        <c:v>382.15704970000002</c:v>
                      </c:pt>
                      <c:pt idx="2918">
                        <c:v>382.18089209999999</c:v>
                      </c:pt>
                      <c:pt idx="2919">
                        <c:v>382.62093979999997</c:v>
                      </c:pt>
                      <c:pt idx="2920">
                        <c:v>382.64324790000001</c:v>
                      </c:pt>
                      <c:pt idx="2921">
                        <c:v>382.69040000000001</c:v>
                      </c:pt>
                      <c:pt idx="2922">
                        <c:v>379.0283</c:v>
                      </c:pt>
                      <c:pt idx="2923">
                        <c:v>381.52882929999998</c:v>
                      </c:pt>
                      <c:pt idx="2924">
                        <c:v>381.7749</c:v>
                      </c:pt>
                      <c:pt idx="2925">
                        <c:v>381.7749</c:v>
                      </c:pt>
                      <c:pt idx="2926">
                        <c:v>381.7749</c:v>
                      </c:pt>
                      <c:pt idx="2927">
                        <c:v>381.7749</c:v>
                      </c:pt>
                      <c:pt idx="2928">
                        <c:v>381.7749</c:v>
                      </c:pt>
                      <c:pt idx="2929">
                        <c:v>381.7749</c:v>
                      </c:pt>
                      <c:pt idx="2930">
                        <c:v>381.7749</c:v>
                      </c:pt>
                      <c:pt idx="2931">
                        <c:v>381.7749</c:v>
                      </c:pt>
                      <c:pt idx="2932">
                        <c:v>381.7749</c:v>
                      </c:pt>
                      <c:pt idx="2933">
                        <c:v>381.7749</c:v>
                      </c:pt>
                      <c:pt idx="2934">
                        <c:v>381.7749</c:v>
                      </c:pt>
                      <c:pt idx="2935">
                        <c:v>381.7749</c:v>
                      </c:pt>
                      <c:pt idx="2936">
                        <c:v>381.7749</c:v>
                      </c:pt>
                      <c:pt idx="2937">
                        <c:v>381.7749</c:v>
                      </c:pt>
                      <c:pt idx="2938">
                        <c:v>381.7749</c:v>
                      </c:pt>
                      <c:pt idx="2939">
                        <c:v>381.7749</c:v>
                      </c:pt>
                      <c:pt idx="2940">
                        <c:v>381.7749</c:v>
                      </c:pt>
                      <c:pt idx="2941">
                        <c:v>381.7749</c:v>
                      </c:pt>
                      <c:pt idx="2942">
                        <c:v>381.7749</c:v>
                      </c:pt>
                      <c:pt idx="2943">
                        <c:v>381.7749</c:v>
                      </c:pt>
                      <c:pt idx="2944">
                        <c:v>381.7749</c:v>
                      </c:pt>
                      <c:pt idx="2945">
                        <c:v>381.7749</c:v>
                      </c:pt>
                      <c:pt idx="2946">
                        <c:v>381.7749</c:v>
                      </c:pt>
                      <c:pt idx="2947">
                        <c:v>381.7749</c:v>
                      </c:pt>
                      <c:pt idx="2948">
                        <c:v>381.7749</c:v>
                      </c:pt>
                      <c:pt idx="2949">
                        <c:v>381.7749</c:v>
                      </c:pt>
                      <c:pt idx="2950">
                        <c:v>381.7749</c:v>
                      </c:pt>
                      <c:pt idx="2951">
                        <c:v>381.7749</c:v>
                      </c:pt>
                      <c:pt idx="2952">
                        <c:v>381.7749</c:v>
                      </c:pt>
                      <c:pt idx="2953">
                        <c:v>381.7749</c:v>
                      </c:pt>
                      <c:pt idx="2954">
                        <c:v>381.7749</c:v>
                      </c:pt>
                      <c:pt idx="2955">
                        <c:v>381.7749</c:v>
                      </c:pt>
                      <c:pt idx="2956">
                        <c:v>381.7749</c:v>
                      </c:pt>
                      <c:pt idx="2957">
                        <c:v>381.7749</c:v>
                      </c:pt>
                      <c:pt idx="2958">
                        <c:v>381.7749</c:v>
                      </c:pt>
                      <c:pt idx="2959">
                        <c:v>381.7749</c:v>
                      </c:pt>
                      <c:pt idx="2960">
                        <c:v>381.7749</c:v>
                      </c:pt>
                      <c:pt idx="2961">
                        <c:v>381.7749</c:v>
                      </c:pt>
                      <c:pt idx="2962">
                        <c:v>381.7749</c:v>
                      </c:pt>
                      <c:pt idx="2963">
                        <c:v>381.7749</c:v>
                      </c:pt>
                      <c:pt idx="2964">
                        <c:v>381.7749</c:v>
                      </c:pt>
                      <c:pt idx="2965">
                        <c:v>381.7749</c:v>
                      </c:pt>
                      <c:pt idx="2966">
                        <c:v>381.7749</c:v>
                      </c:pt>
                      <c:pt idx="2967">
                        <c:v>381.7749</c:v>
                      </c:pt>
                      <c:pt idx="2968">
                        <c:v>381.7749</c:v>
                      </c:pt>
                      <c:pt idx="2969">
                        <c:v>381.7749</c:v>
                      </c:pt>
                      <c:pt idx="2970">
                        <c:v>381.7749</c:v>
                      </c:pt>
                      <c:pt idx="2971">
                        <c:v>381.7749</c:v>
                      </c:pt>
                      <c:pt idx="2972">
                        <c:v>381.7749</c:v>
                      </c:pt>
                      <c:pt idx="2973">
                        <c:v>381.7749</c:v>
                      </c:pt>
                      <c:pt idx="2974">
                        <c:v>381.7749</c:v>
                      </c:pt>
                      <c:pt idx="2975">
                        <c:v>381.7749</c:v>
                      </c:pt>
                      <c:pt idx="2976">
                        <c:v>381.7749</c:v>
                      </c:pt>
                      <c:pt idx="2977">
                        <c:v>381.7749</c:v>
                      </c:pt>
                      <c:pt idx="2978">
                        <c:v>381.7749</c:v>
                      </c:pt>
                      <c:pt idx="2979">
                        <c:v>381.7749</c:v>
                      </c:pt>
                      <c:pt idx="2980">
                        <c:v>381.7749</c:v>
                      </c:pt>
                      <c:pt idx="2981">
                        <c:v>381.7749</c:v>
                      </c:pt>
                      <c:pt idx="2982">
                        <c:v>381.7749</c:v>
                      </c:pt>
                      <c:pt idx="2983">
                        <c:v>381.7749</c:v>
                      </c:pt>
                      <c:pt idx="2984">
                        <c:v>381.7749</c:v>
                      </c:pt>
                      <c:pt idx="2985">
                        <c:v>381.7749</c:v>
                      </c:pt>
                      <c:pt idx="2986">
                        <c:v>381.7749</c:v>
                      </c:pt>
                      <c:pt idx="2987">
                        <c:v>381.7749</c:v>
                      </c:pt>
                      <c:pt idx="2988">
                        <c:v>381.7749</c:v>
                      </c:pt>
                      <c:pt idx="2989">
                        <c:v>381.7749</c:v>
                      </c:pt>
                      <c:pt idx="2990">
                        <c:v>381.7749</c:v>
                      </c:pt>
                      <c:pt idx="2991">
                        <c:v>381.7749</c:v>
                      </c:pt>
                      <c:pt idx="2992">
                        <c:v>381.7749</c:v>
                      </c:pt>
                      <c:pt idx="2993">
                        <c:v>381.7749</c:v>
                      </c:pt>
                      <c:pt idx="2994">
                        <c:v>382.25822310000001</c:v>
                      </c:pt>
                      <c:pt idx="2995">
                        <c:v>382.45288219999998</c:v>
                      </c:pt>
                      <c:pt idx="2996">
                        <c:v>382.64228930000002</c:v>
                      </c:pt>
                      <c:pt idx="2997">
                        <c:v>382.73851070000001</c:v>
                      </c:pt>
                      <c:pt idx="2998">
                        <c:v>382.73928160000003</c:v>
                      </c:pt>
                      <c:pt idx="2999">
                        <c:v>382.83699660000002</c:v>
                      </c:pt>
                      <c:pt idx="3000">
                        <c:v>383.12638340000001</c:v>
                      </c:pt>
                      <c:pt idx="3001">
                        <c:v>383.1301416</c:v>
                      </c:pt>
                      <c:pt idx="3002">
                        <c:v>383.31579049999999</c:v>
                      </c:pt>
                      <c:pt idx="3003">
                        <c:v>383.51044960000002</c:v>
                      </c:pt>
                      <c:pt idx="3004">
                        <c:v>383.60590000000002</c:v>
                      </c:pt>
                      <c:pt idx="3005">
                        <c:v>383.47146770000001</c:v>
                      </c:pt>
                      <c:pt idx="3006">
                        <c:v>383.40107979999999</c:v>
                      </c:pt>
                      <c:pt idx="3007">
                        <c:v>383.33442339999999</c:v>
                      </c:pt>
                      <c:pt idx="3008">
                        <c:v>383.26773300000002</c:v>
                      </c:pt>
                      <c:pt idx="3009">
                        <c:v>383.19999109999998</c:v>
                      </c:pt>
                      <c:pt idx="3010">
                        <c:v>383.13068870000001</c:v>
                      </c:pt>
                      <c:pt idx="3011">
                        <c:v>383.0639984</c:v>
                      </c:pt>
                      <c:pt idx="3012">
                        <c:v>382.99361049999999</c:v>
                      </c:pt>
                      <c:pt idx="3013">
                        <c:v>382.92695409999999</c:v>
                      </c:pt>
                      <c:pt idx="3014">
                        <c:v>382.86026370000002</c:v>
                      </c:pt>
                      <c:pt idx="3015">
                        <c:v>382.65652899999998</c:v>
                      </c:pt>
                      <c:pt idx="3016">
                        <c:v>382.51945080000002</c:v>
                      </c:pt>
                      <c:pt idx="3017">
                        <c:v>382.45279440000002</c:v>
                      </c:pt>
                      <c:pt idx="3018">
                        <c:v>382.18131779999999</c:v>
                      </c:pt>
                      <c:pt idx="3019">
                        <c:v>381.90560090000002</c:v>
                      </c:pt>
                      <c:pt idx="3020">
                        <c:v>381.7749</c:v>
                      </c:pt>
                      <c:pt idx="3021">
                        <c:v>381.74222889999999</c:v>
                      </c:pt>
                      <c:pt idx="3022">
                        <c:v>381.72338020000001</c:v>
                      </c:pt>
                      <c:pt idx="3023">
                        <c:v>381.6716606</c:v>
                      </c:pt>
                      <c:pt idx="3024">
                        <c:v>381.6201891</c:v>
                      </c:pt>
                      <c:pt idx="3025">
                        <c:v>381.57470080000002</c:v>
                      </c:pt>
                      <c:pt idx="3026">
                        <c:v>381.51071510000003</c:v>
                      </c:pt>
                      <c:pt idx="3027">
                        <c:v>381.50402939999998</c:v>
                      </c:pt>
                      <c:pt idx="3028">
                        <c:v>381.4976982</c:v>
                      </c:pt>
                      <c:pt idx="3029">
                        <c:v>381.4846781</c:v>
                      </c:pt>
                      <c:pt idx="3030">
                        <c:v>381.4783468</c:v>
                      </c:pt>
                      <c:pt idx="3031">
                        <c:v>381.47201239999998</c:v>
                      </c:pt>
                      <c:pt idx="3032">
                        <c:v>381.44577559999999</c:v>
                      </c:pt>
                      <c:pt idx="3033">
                        <c:v>381.41395829999999</c:v>
                      </c:pt>
                      <c:pt idx="3034">
                        <c:v>381.40068689999998</c:v>
                      </c:pt>
                      <c:pt idx="3035">
                        <c:v>381.3557528</c:v>
                      </c:pt>
                      <c:pt idx="3036">
                        <c:v>381.34308709999999</c:v>
                      </c:pt>
                      <c:pt idx="3037">
                        <c:v>381.33006699999999</c:v>
                      </c:pt>
                      <c:pt idx="3038">
                        <c:v>381.32373580000001</c:v>
                      </c:pt>
                      <c:pt idx="3039">
                        <c:v>381.31740129999997</c:v>
                      </c:pt>
                      <c:pt idx="3040">
                        <c:v>381.3107157</c:v>
                      </c:pt>
                      <c:pt idx="3041">
                        <c:v>381.29799839999998</c:v>
                      </c:pt>
                      <c:pt idx="3042">
                        <c:v>381.27869859999998</c:v>
                      </c:pt>
                      <c:pt idx="3043">
                        <c:v>381.27201300000002</c:v>
                      </c:pt>
                      <c:pt idx="3044">
                        <c:v>381.25266160000001</c:v>
                      </c:pt>
                      <c:pt idx="3045">
                        <c:v>381.22064460000001</c:v>
                      </c:pt>
                      <c:pt idx="3046">
                        <c:v>381.21431009999998</c:v>
                      </c:pt>
                      <c:pt idx="3047">
                        <c:v>381.20762439999999</c:v>
                      </c:pt>
                      <c:pt idx="3048">
                        <c:v>381.19495869999997</c:v>
                      </c:pt>
                      <c:pt idx="3049">
                        <c:v>381.18194190000003</c:v>
                      </c:pt>
                      <c:pt idx="3050">
                        <c:v>381.17560739999999</c:v>
                      </c:pt>
                      <c:pt idx="3051">
                        <c:v>381.168722</c:v>
                      </c:pt>
                      <c:pt idx="3052">
                        <c:v>381.1173536</c:v>
                      </c:pt>
                      <c:pt idx="3053">
                        <c:v>381.11101910000002</c:v>
                      </c:pt>
                      <c:pt idx="3054">
                        <c:v>381.10468470000001</c:v>
                      </c:pt>
                      <c:pt idx="3055">
                        <c:v>381.09166779999998</c:v>
                      </c:pt>
                      <c:pt idx="3056">
                        <c:v>381.07865090000001</c:v>
                      </c:pt>
                      <c:pt idx="3057">
                        <c:v>381.06598200000002</c:v>
                      </c:pt>
                      <c:pt idx="3058">
                        <c:v>381.05296509999999</c:v>
                      </c:pt>
                      <c:pt idx="3059">
                        <c:v>381.04663060000001</c:v>
                      </c:pt>
                      <c:pt idx="3060">
                        <c:v>381.02727929999998</c:v>
                      </c:pt>
                      <c:pt idx="3061">
                        <c:v>381.02094799999998</c:v>
                      </c:pt>
                      <c:pt idx="3062">
                        <c:v>381.00792790000003</c:v>
                      </c:pt>
                      <c:pt idx="3063">
                        <c:v>381.00154509999999</c:v>
                      </c:pt>
                      <c:pt idx="3064">
                        <c:v>380.994911</c:v>
                      </c:pt>
                      <c:pt idx="3065">
                        <c:v>380.97555970000002</c:v>
                      </c:pt>
                      <c:pt idx="3066">
                        <c:v>380.96942819999998</c:v>
                      </c:pt>
                      <c:pt idx="3067">
                        <c:v>380.96274249999999</c:v>
                      </c:pt>
                      <c:pt idx="3068">
                        <c:v>380.95007679999998</c:v>
                      </c:pt>
                      <c:pt idx="3069">
                        <c:v>380.93072230000001</c:v>
                      </c:pt>
                      <c:pt idx="3070">
                        <c:v>380.9240398</c:v>
                      </c:pt>
                      <c:pt idx="3071">
                        <c:v>380.9238368</c:v>
                      </c:pt>
                      <c:pt idx="3072">
                        <c:v>380.91137090000001</c:v>
                      </c:pt>
                      <c:pt idx="3073">
                        <c:v>380.89835399999998</c:v>
                      </c:pt>
                      <c:pt idx="3074">
                        <c:v>380.89201960000003</c:v>
                      </c:pt>
                      <c:pt idx="3075">
                        <c:v>380.88533710000002</c:v>
                      </c:pt>
                      <c:pt idx="3076">
                        <c:v>380.87266820000002</c:v>
                      </c:pt>
                      <c:pt idx="3077">
                        <c:v>380.8596513</c:v>
                      </c:pt>
                      <c:pt idx="3078">
                        <c:v>380.85939999999999</c:v>
                      </c:pt>
                      <c:pt idx="3079">
                        <c:v>381.2795701</c:v>
                      </c:pt>
                      <c:pt idx="3080">
                        <c:v>381.92594389999999</c:v>
                      </c:pt>
                      <c:pt idx="3081">
                        <c:v>382.15041680000002</c:v>
                      </c:pt>
                      <c:pt idx="3082">
                        <c:v>382.36309820000002</c:v>
                      </c:pt>
                      <c:pt idx="3083">
                        <c:v>382.57567130000001</c:v>
                      </c:pt>
                      <c:pt idx="3084">
                        <c:v>382.80014419999998</c:v>
                      </c:pt>
                      <c:pt idx="3085">
                        <c:v>383.22539870000003</c:v>
                      </c:pt>
                      <c:pt idx="3086">
                        <c:v>383.8802106</c:v>
                      </c:pt>
                      <c:pt idx="3087">
                        <c:v>384.30546509999999</c:v>
                      </c:pt>
                      <c:pt idx="3088">
                        <c:v>384.5215</c:v>
                      </c:pt>
                      <c:pt idx="3089">
                        <c:v>384.36858100000001</c:v>
                      </c:pt>
                      <c:pt idx="3090">
                        <c:v>384.28949019999999</c:v>
                      </c:pt>
                      <c:pt idx="3091">
                        <c:v>384.214518</c:v>
                      </c:pt>
                      <c:pt idx="3092">
                        <c:v>384.13954569999999</c:v>
                      </c:pt>
                      <c:pt idx="3093">
                        <c:v>383.98548269999998</c:v>
                      </c:pt>
                      <c:pt idx="3094">
                        <c:v>383.83141970000003</c:v>
                      </c:pt>
                      <c:pt idx="3095">
                        <c:v>383.82962739999999</c:v>
                      </c:pt>
                      <c:pt idx="3096">
                        <c:v>383.68147520000002</c:v>
                      </c:pt>
                      <c:pt idx="3097">
                        <c:v>383.60238440000001</c:v>
                      </c:pt>
                      <c:pt idx="3098">
                        <c:v>383.52741220000001</c:v>
                      </c:pt>
                      <c:pt idx="3099">
                        <c:v>383.37632359999998</c:v>
                      </c:pt>
                      <c:pt idx="3100">
                        <c:v>383.2234047</c:v>
                      </c:pt>
                      <c:pt idx="3101">
                        <c:v>382.99436939999998</c:v>
                      </c:pt>
                      <c:pt idx="3102">
                        <c:v>382.91943529999998</c:v>
                      </c:pt>
                      <c:pt idx="3103">
                        <c:v>382.76533410000002</c:v>
                      </c:pt>
                      <c:pt idx="3104">
                        <c:v>382.69040000000001</c:v>
                      </c:pt>
                      <c:pt idx="3105">
                        <c:v>382.69040000000001</c:v>
                      </c:pt>
                      <c:pt idx="3106">
                        <c:v>382.69040000000001</c:v>
                      </c:pt>
                      <c:pt idx="3107">
                        <c:v>382.69040000000001</c:v>
                      </c:pt>
                      <c:pt idx="3108">
                        <c:v>382.69040000000001</c:v>
                      </c:pt>
                      <c:pt idx="3109">
                        <c:v>382.69040000000001</c:v>
                      </c:pt>
                      <c:pt idx="3110">
                        <c:v>382.69040000000001</c:v>
                      </c:pt>
                      <c:pt idx="3111">
                        <c:v>382.69040000000001</c:v>
                      </c:pt>
                      <c:pt idx="3112">
                        <c:v>382.69040000000001</c:v>
                      </c:pt>
                      <c:pt idx="3113">
                        <c:v>382.69040000000001</c:v>
                      </c:pt>
                      <c:pt idx="3114">
                        <c:v>382.69040000000001</c:v>
                      </c:pt>
                      <c:pt idx="3115">
                        <c:v>382.69040000000001</c:v>
                      </c:pt>
                      <c:pt idx="3116">
                        <c:v>382.69040000000001</c:v>
                      </c:pt>
                      <c:pt idx="3117">
                        <c:v>382.69040000000001</c:v>
                      </c:pt>
                      <c:pt idx="3118">
                        <c:v>382.69040000000001</c:v>
                      </c:pt>
                      <c:pt idx="3119">
                        <c:v>382.69040000000001</c:v>
                      </c:pt>
                      <c:pt idx="3120">
                        <c:v>382.69040000000001</c:v>
                      </c:pt>
                      <c:pt idx="3121">
                        <c:v>382.69040000000001</c:v>
                      </c:pt>
                      <c:pt idx="3122">
                        <c:v>382.69040000000001</c:v>
                      </c:pt>
                      <c:pt idx="3123">
                        <c:v>382.69040000000001</c:v>
                      </c:pt>
                      <c:pt idx="3124">
                        <c:v>382.69040000000001</c:v>
                      </c:pt>
                      <c:pt idx="3125">
                        <c:v>382.69040000000001</c:v>
                      </c:pt>
                      <c:pt idx="3126">
                        <c:v>382.69040000000001</c:v>
                      </c:pt>
                      <c:pt idx="3127">
                        <c:v>382.69040000000001</c:v>
                      </c:pt>
                      <c:pt idx="3128">
                        <c:v>382.69040000000001</c:v>
                      </c:pt>
                      <c:pt idx="3129">
                        <c:v>382.69040000000001</c:v>
                      </c:pt>
                      <c:pt idx="3130">
                        <c:v>382.69040000000001</c:v>
                      </c:pt>
                      <c:pt idx="3131">
                        <c:v>382.69040000000001</c:v>
                      </c:pt>
                      <c:pt idx="3132">
                        <c:v>382.69040000000001</c:v>
                      </c:pt>
                      <c:pt idx="3133">
                        <c:v>382.69040000000001</c:v>
                      </c:pt>
                      <c:pt idx="3134">
                        <c:v>382.69040000000001</c:v>
                      </c:pt>
                      <c:pt idx="3135">
                        <c:v>382.69040000000001</c:v>
                      </c:pt>
                      <c:pt idx="3136">
                        <c:v>382.69040000000001</c:v>
                      </c:pt>
                      <c:pt idx="3137">
                        <c:v>382.69040000000001</c:v>
                      </c:pt>
                      <c:pt idx="3138">
                        <c:v>382.69040000000001</c:v>
                      </c:pt>
                      <c:pt idx="3139">
                        <c:v>382.69040000000001</c:v>
                      </c:pt>
                      <c:pt idx="3140">
                        <c:v>382.69040000000001</c:v>
                      </c:pt>
                      <c:pt idx="3141">
                        <c:v>382.69040000000001</c:v>
                      </c:pt>
                      <c:pt idx="3142">
                        <c:v>382.69040000000001</c:v>
                      </c:pt>
                      <c:pt idx="3143">
                        <c:v>382.69040000000001</c:v>
                      </c:pt>
                      <c:pt idx="3144">
                        <c:v>382.69040000000001</c:v>
                      </c:pt>
                      <c:pt idx="3145">
                        <c:v>382.69040000000001</c:v>
                      </c:pt>
                      <c:pt idx="3146">
                        <c:v>382.69040000000001</c:v>
                      </c:pt>
                      <c:pt idx="3147">
                        <c:v>382.69040000000001</c:v>
                      </c:pt>
                      <c:pt idx="3148">
                        <c:v>382.69040000000001</c:v>
                      </c:pt>
                      <c:pt idx="3149">
                        <c:v>382.69040000000001</c:v>
                      </c:pt>
                      <c:pt idx="3150">
                        <c:v>382.69040000000001</c:v>
                      </c:pt>
                      <c:pt idx="3151">
                        <c:v>382.69040000000001</c:v>
                      </c:pt>
                      <c:pt idx="3152">
                        <c:v>382.69040000000001</c:v>
                      </c:pt>
                      <c:pt idx="3153">
                        <c:v>382.69040000000001</c:v>
                      </c:pt>
                      <c:pt idx="3154">
                        <c:v>382.69040000000001</c:v>
                      </c:pt>
                      <c:pt idx="3155">
                        <c:v>382.69040000000001</c:v>
                      </c:pt>
                      <c:pt idx="3156">
                        <c:v>382.69040000000001</c:v>
                      </c:pt>
                      <c:pt idx="3157">
                        <c:v>382.69040000000001</c:v>
                      </c:pt>
                      <c:pt idx="3158">
                        <c:v>382.69040000000001</c:v>
                      </c:pt>
                      <c:pt idx="3159">
                        <c:v>382.69040000000001</c:v>
                      </c:pt>
                      <c:pt idx="3160">
                        <c:v>382.68516060000002</c:v>
                      </c:pt>
                      <c:pt idx="3161">
                        <c:v>382.67970739999998</c:v>
                      </c:pt>
                      <c:pt idx="3162">
                        <c:v>382.67394910000002</c:v>
                      </c:pt>
                      <c:pt idx="3163">
                        <c:v>382.6572817</c:v>
                      </c:pt>
                      <c:pt idx="3164">
                        <c:v>382.64061420000002</c:v>
                      </c:pt>
                      <c:pt idx="3165">
                        <c:v>382.64043939999999</c:v>
                      </c:pt>
                      <c:pt idx="3166">
                        <c:v>382.63528880000001</c:v>
                      </c:pt>
                      <c:pt idx="3167">
                        <c:v>382.63524439999998</c:v>
                      </c:pt>
                      <c:pt idx="3168">
                        <c:v>382.62407730000001</c:v>
                      </c:pt>
                      <c:pt idx="3169">
                        <c:v>382.612863</c:v>
                      </c:pt>
                      <c:pt idx="3170">
                        <c:v>382.60740989999999</c:v>
                      </c:pt>
                      <c:pt idx="3171">
                        <c:v>382.59619559999999</c:v>
                      </c:pt>
                      <c:pt idx="3172">
                        <c:v>382.58528660000002</c:v>
                      </c:pt>
                      <c:pt idx="3173">
                        <c:v>382.5686192</c:v>
                      </c:pt>
                      <c:pt idx="3174">
                        <c:v>382.55740489999999</c:v>
                      </c:pt>
                      <c:pt idx="3175">
                        <c:v>382.55186570000001</c:v>
                      </c:pt>
                      <c:pt idx="3176">
                        <c:v>382.54640979999999</c:v>
                      </c:pt>
                      <c:pt idx="3177">
                        <c:v>382.52974239999998</c:v>
                      </c:pt>
                      <c:pt idx="3178">
                        <c:v>382.4964076</c:v>
                      </c:pt>
                      <c:pt idx="3179">
                        <c:v>382.4851961</c:v>
                      </c:pt>
                      <c:pt idx="3180">
                        <c:v>382.47428430000002</c:v>
                      </c:pt>
                      <c:pt idx="3181">
                        <c:v>382.46878679999998</c:v>
                      </c:pt>
                      <c:pt idx="3182">
                        <c:v>382.45211940000002</c:v>
                      </c:pt>
                      <c:pt idx="3183">
                        <c:v>382.44090790000001</c:v>
                      </c:pt>
                      <c:pt idx="3184">
                        <c:v>382.435452</c:v>
                      </c:pt>
                      <c:pt idx="3185">
                        <c:v>382.42969360000001</c:v>
                      </c:pt>
                      <c:pt idx="3186">
                        <c:v>382.4242405</c:v>
                      </c:pt>
                      <c:pt idx="3187">
                        <c:v>382.41878459999998</c:v>
                      </c:pt>
                      <c:pt idx="3188">
                        <c:v>382.40757309999998</c:v>
                      </c:pt>
                      <c:pt idx="3189">
                        <c:v>382.40211720000002</c:v>
                      </c:pt>
                      <c:pt idx="3190">
                        <c:v>382.39635879999997</c:v>
                      </c:pt>
                      <c:pt idx="3191">
                        <c:v>382.39090290000001</c:v>
                      </c:pt>
                      <c:pt idx="3192">
                        <c:v>382.31869419999998</c:v>
                      </c:pt>
                      <c:pt idx="3193">
                        <c:v>382.30778240000001</c:v>
                      </c:pt>
                      <c:pt idx="3194">
                        <c:v>382.2965264</c:v>
                      </c:pt>
                      <c:pt idx="3195">
                        <c:v>382.28561739999998</c:v>
                      </c:pt>
                      <c:pt idx="3196">
                        <c:v>382.27440589999998</c:v>
                      </c:pt>
                      <c:pt idx="3197">
                        <c:v>382.25773850000002</c:v>
                      </c:pt>
                      <c:pt idx="3198">
                        <c:v>382.24652420000001</c:v>
                      </c:pt>
                      <c:pt idx="3199">
                        <c:v>382.23561519999998</c:v>
                      </c:pt>
                      <c:pt idx="3200">
                        <c:v>382.22440369999998</c:v>
                      </c:pt>
                      <c:pt idx="3201">
                        <c:v>382.21881739999998</c:v>
                      </c:pt>
                      <c:pt idx="3202">
                        <c:v>382.20790840000001</c:v>
                      </c:pt>
                      <c:pt idx="3203">
                        <c:v>382.1966941</c:v>
                      </c:pt>
                      <c:pt idx="3204">
                        <c:v>382.19124099999999</c:v>
                      </c:pt>
                      <c:pt idx="3205">
                        <c:v>382.18002669999998</c:v>
                      </c:pt>
                      <c:pt idx="3206">
                        <c:v>382.15790620000001</c:v>
                      </c:pt>
                      <c:pt idx="3207">
                        <c:v>382.1412388</c:v>
                      </c:pt>
                      <c:pt idx="3208">
                        <c:v>382.12457139999998</c:v>
                      </c:pt>
                      <c:pt idx="3209">
                        <c:v>382.02473900000001</c:v>
                      </c:pt>
                      <c:pt idx="3210">
                        <c:v>382.00807159999999</c:v>
                      </c:pt>
                      <c:pt idx="3211">
                        <c:v>382.0023132</c:v>
                      </c:pt>
                      <c:pt idx="3212">
                        <c:v>382.00218280000001</c:v>
                      </c:pt>
                      <c:pt idx="3213">
                        <c:v>381.99685729999999</c:v>
                      </c:pt>
                      <c:pt idx="3214">
                        <c:v>381.99140419999998</c:v>
                      </c:pt>
                      <c:pt idx="3215">
                        <c:v>381.98564579999999</c:v>
                      </c:pt>
                      <c:pt idx="3216">
                        <c:v>381.98018990000003</c:v>
                      </c:pt>
                      <c:pt idx="3217">
                        <c:v>381.95256910000001</c:v>
                      </c:pt>
                      <c:pt idx="3218">
                        <c:v>381.83035530000001</c:v>
                      </c:pt>
                      <c:pt idx="3219">
                        <c:v>381.8249022</c:v>
                      </c:pt>
                      <c:pt idx="3220">
                        <c:v>381.81901340000002</c:v>
                      </c:pt>
                      <c:pt idx="3221">
                        <c:v>381.81368789999999</c:v>
                      </c:pt>
                      <c:pt idx="3222">
                        <c:v>381.80247639999999</c:v>
                      </c:pt>
                      <c:pt idx="3223">
                        <c:v>381.79156740000002</c:v>
                      </c:pt>
                      <c:pt idx="3224">
                        <c:v>381.7861115</c:v>
                      </c:pt>
                      <c:pt idx="3225">
                        <c:v>381.78018109999999</c:v>
                      </c:pt>
                      <c:pt idx="3226">
                        <c:v>381.7749</c:v>
                      </c:pt>
                      <c:pt idx="3227">
                        <c:v>381.88669340000001</c:v>
                      </c:pt>
                      <c:pt idx="3228">
                        <c:v>382.11642130000001</c:v>
                      </c:pt>
                      <c:pt idx="3229">
                        <c:v>382.56973599999998</c:v>
                      </c:pt>
                      <c:pt idx="3230">
                        <c:v>382.69040000000001</c:v>
                      </c:pt>
                      <c:pt idx="3231">
                        <c:v>382.72698109999999</c:v>
                      </c:pt>
                      <c:pt idx="3232">
                        <c:v>382.84034810000003</c:v>
                      </c:pt>
                      <c:pt idx="3233">
                        <c:v>382.88110610000001</c:v>
                      </c:pt>
                      <c:pt idx="3234">
                        <c:v>382.91742019999998</c:v>
                      </c:pt>
                      <c:pt idx="3235">
                        <c:v>382.99447320000002</c:v>
                      </c:pt>
                      <c:pt idx="3236">
                        <c:v>383.10902270000003</c:v>
                      </c:pt>
                      <c:pt idx="3237">
                        <c:v>383.14651930000002</c:v>
                      </c:pt>
                      <c:pt idx="3238">
                        <c:v>383.2235723</c:v>
                      </c:pt>
                      <c:pt idx="3239">
                        <c:v>383.22446869999999</c:v>
                      </c:pt>
                      <c:pt idx="3240">
                        <c:v>383.2610689</c:v>
                      </c:pt>
                      <c:pt idx="3241">
                        <c:v>383.33812180000001</c:v>
                      </c:pt>
                      <c:pt idx="3242">
                        <c:v>383.37561840000001</c:v>
                      </c:pt>
                      <c:pt idx="3243">
                        <c:v>383.52764550000001</c:v>
                      </c:pt>
                      <c:pt idx="3244">
                        <c:v>383.56514199999998</c:v>
                      </c:pt>
                      <c:pt idx="3245">
                        <c:v>383.56544719999999</c:v>
                      </c:pt>
                      <c:pt idx="3246">
                        <c:v>383.60471749999999</c:v>
                      </c:pt>
                      <c:pt idx="3247">
                        <c:v>383.60590000000002</c:v>
                      </c:pt>
                      <c:pt idx="3248">
                        <c:v>382.70901629999997</c:v>
                      </c:pt>
                      <c:pt idx="3249">
                        <c:v>381.7749</c:v>
                      </c:pt>
                      <c:pt idx="3250">
                        <c:v>381.91056680000003</c:v>
                      </c:pt>
                      <c:pt idx="3251">
                        <c:v>381.9510689</c:v>
                      </c:pt>
                      <c:pt idx="3252">
                        <c:v>382.05945860000003</c:v>
                      </c:pt>
                      <c:pt idx="3253">
                        <c:v>382.1001708</c:v>
                      </c:pt>
                      <c:pt idx="3254">
                        <c:v>382.11423639999998</c:v>
                      </c:pt>
                      <c:pt idx="3255">
                        <c:v>382.14088989999999</c:v>
                      </c:pt>
                      <c:pt idx="3256">
                        <c:v>382.15494869999998</c:v>
                      </c:pt>
                      <c:pt idx="3257">
                        <c:v>382.16827540000003</c:v>
                      </c:pt>
                      <c:pt idx="3258">
                        <c:v>382.18160210000002</c:v>
                      </c:pt>
                      <c:pt idx="3259">
                        <c:v>382.35798790000001</c:v>
                      </c:pt>
                      <c:pt idx="3260">
                        <c:v>382.38569200000001</c:v>
                      </c:pt>
                      <c:pt idx="3261">
                        <c:v>382.53489569999999</c:v>
                      </c:pt>
                      <c:pt idx="3262">
                        <c:v>382.54758520000001</c:v>
                      </c:pt>
                      <c:pt idx="3263">
                        <c:v>382.58830419999998</c:v>
                      </c:pt>
                      <c:pt idx="3264">
                        <c:v>382.6430752</c:v>
                      </c:pt>
                      <c:pt idx="3265">
                        <c:v>382.65640200000001</c:v>
                      </c:pt>
                      <c:pt idx="3266">
                        <c:v>382.72397100000001</c:v>
                      </c:pt>
                      <c:pt idx="3267">
                        <c:v>382.75136329999998</c:v>
                      </c:pt>
                      <c:pt idx="3268">
                        <c:v>382.76468319999998</c:v>
                      </c:pt>
                      <c:pt idx="3269">
                        <c:v>382.77800989999997</c:v>
                      </c:pt>
                      <c:pt idx="3270">
                        <c:v>382.79207550000001</c:v>
                      </c:pt>
                      <c:pt idx="3271">
                        <c:v>382.8054022</c:v>
                      </c:pt>
                      <c:pt idx="3272">
                        <c:v>382.83278780000001</c:v>
                      </c:pt>
                      <c:pt idx="3273">
                        <c:v>382.90025509999998</c:v>
                      </c:pt>
                      <c:pt idx="3274">
                        <c:v>382.96835290000001</c:v>
                      </c:pt>
                      <c:pt idx="3275">
                        <c:v>382.98167960000001</c:v>
                      </c:pt>
                      <c:pt idx="3276">
                        <c:v>383.00906509999999</c:v>
                      </c:pt>
                      <c:pt idx="3277">
                        <c:v>383.02239179999998</c:v>
                      </c:pt>
                      <c:pt idx="3278">
                        <c:v>383.02292060000002</c:v>
                      </c:pt>
                      <c:pt idx="3279">
                        <c:v>383.03571849999997</c:v>
                      </c:pt>
                      <c:pt idx="3280">
                        <c:v>383.10423659999998</c:v>
                      </c:pt>
                      <c:pt idx="3281">
                        <c:v>383.29405750000001</c:v>
                      </c:pt>
                      <c:pt idx="3282">
                        <c:v>383.3069572</c:v>
                      </c:pt>
                      <c:pt idx="3283">
                        <c:v>383.33434269999998</c:v>
                      </c:pt>
                      <c:pt idx="3284">
                        <c:v>383.34766939999997</c:v>
                      </c:pt>
                      <c:pt idx="3285">
                        <c:v>383.36098939999999</c:v>
                      </c:pt>
                      <c:pt idx="3286">
                        <c:v>383.41608580000002</c:v>
                      </c:pt>
                      <c:pt idx="3287">
                        <c:v>383.44242059999999</c:v>
                      </c:pt>
                      <c:pt idx="3288">
                        <c:v>383.45647939999998</c:v>
                      </c:pt>
                      <c:pt idx="3289">
                        <c:v>383.46980619999999</c:v>
                      </c:pt>
                      <c:pt idx="3290">
                        <c:v>383.48334299999999</c:v>
                      </c:pt>
                      <c:pt idx="3291">
                        <c:v>383.49666300000001</c:v>
                      </c:pt>
                      <c:pt idx="3292">
                        <c:v>383.51072850000003</c:v>
                      </c:pt>
                      <c:pt idx="3293">
                        <c:v>383.53737519999999</c:v>
                      </c:pt>
                      <c:pt idx="3294">
                        <c:v>383.56518779999999</c:v>
                      </c:pt>
                      <c:pt idx="3295">
                        <c:v>383.57808740000002</c:v>
                      </c:pt>
                      <c:pt idx="3296">
                        <c:v>383.59141410000001</c:v>
                      </c:pt>
                      <c:pt idx="3297">
                        <c:v>383.60547969999999</c:v>
                      </c:pt>
                      <c:pt idx="3298">
                        <c:v>383.60590000000002</c:v>
                      </c:pt>
                      <c:pt idx="3299">
                        <c:v>383.58715530000001</c:v>
                      </c:pt>
                      <c:pt idx="3300">
                        <c:v>383.54738200000003</c:v>
                      </c:pt>
                      <c:pt idx="3301">
                        <c:v>383.52802700000001</c:v>
                      </c:pt>
                      <c:pt idx="3302">
                        <c:v>383.52725909999998</c:v>
                      </c:pt>
                      <c:pt idx="3303">
                        <c:v>383.50868179999998</c:v>
                      </c:pt>
                      <c:pt idx="3304">
                        <c:v>383.40962259999998</c:v>
                      </c:pt>
                      <c:pt idx="3305">
                        <c:v>383.39026760000002</c:v>
                      </c:pt>
                      <c:pt idx="3306">
                        <c:v>383.37092239999998</c:v>
                      </c:pt>
                      <c:pt idx="3307">
                        <c:v>383.35049429999998</c:v>
                      </c:pt>
                      <c:pt idx="3308">
                        <c:v>383.29136590000002</c:v>
                      </c:pt>
                      <c:pt idx="3309">
                        <c:v>383.2720109</c:v>
                      </c:pt>
                      <c:pt idx="3310">
                        <c:v>383.03626539999999</c:v>
                      </c:pt>
                      <c:pt idx="3311">
                        <c:v>383.01583729999999</c:v>
                      </c:pt>
                      <c:pt idx="3312">
                        <c:v>382.97713709999999</c:v>
                      </c:pt>
                      <c:pt idx="3313">
                        <c:v>382.95670890000002</c:v>
                      </c:pt>
                      <c:pt idx="3314">
                        <c:v>382.93735390000001</c:v>
                      </c:pt>
                      <c:pt idx="3315">
                        <c:v>382.93658599999998</c:v>
                      </c:pt>
                      <c:pt idx="3316">
                        <c:v>382.89742310000003</c:v>
                      </c:pt>
                      <c:pt idx="3317">
                        <c:v>382.87745760000001</c:v>
                      </c:pt>
                      <c:pt idx="3318">
                        <c:v>382.83937759999998</c:v>
                      </c:pt>
                      <c:pt idx="3319">
                        <c:v>382.79959450000001</c:v>
                      </c:pt>
                      <c:pt idx="3320">
                        <c:v>382.75982119999998</c:v>
                      </c:pt>
                      <c:pt idx="3321">
                        <c:v>382.70069280000001</c:v>
                      </c:pt>
                      <c:pt idx="3322">
                        <c:v>382.66198279999998</c:v>
                      </c:pt>
                      <c:pt idx="3323">
                        <c:v>382.64156450000002</c:v>
                      </c:pt>
                      <c:pt idx="3324">
                        <c:v>382.62220939999997</c:v>
                      </c:pt>
                      <c:pt idx="3325">
                        <c:v>382.6214415</c:v>
                      </c:pt>
                      <c:pt idx="3326">
                        <c:v>382.58320400000002</c:v>
                      </c:pt>
                      <c:pt idx="3327">
                        <c:v>382.56277590000002</c:v>
                      </c:pt>
                      <c:pt idx="3328">
                        <c:v>382.5434209</c:v>
                      </c:pt>
                      <c:pt idx="3329">
                        <c:v>382.52407570000003</c:v>
                      </c:pt>
                      <c:pt idx="3330">
                        <c:v>382.5036475</c:v>
                      </c:pt>
                      <c:pt idx="3331">
                        <c:v>382.48429249999998</c:v>
                      </c:pt>
                      <c:pt idx="3332">
                        <c:v>382.44559229999999</c:v>
                      </c:pt>
                      <c:pt idx="3333">
                        <c:v>382.44543479999999</c:v>
                      </c:pt>
                      <c:pt idx="3334">
                        <c:v>382.42516419999998</c:v>
                      </c:pt>
                      <c:pt idx="3335">
                        <c:v>382.42455380000001</c:v>
                      </c:pt>
                      <c:pt idx="3336">
                        <c:v>382.38646390000002</c:v>
                      </c:pt>
                      <c:pt idx="3337">
                        <c:v>382.36603580000002</c:v>
                      </c:pt>
                      <c:pt idx="3338">
                        <c:v>382.34576520000002</c:v>
                      </c:pt>
                      <c:pt idx="3339">
                        <c:v>382.32733560000003</c:v>
                      </c:pt>
                      <c:pt idx="3340">
                        <c:v>382.3067499</c:v>
                      </c:pt>
                      <c:pt idx="3341">
                        <c:v>382.24870449999997</c:v>
                      </c:pt>
                      <c:pt idx="3342">
                        <c:v>382.22827640000003</c:v>
                      </c:pt>
                      <c:pt idx="3343">
                        <c:v>382.20892140000001</c:v>
                      </c:pt>
                      <c:pt idx="3344">
                        <c:v>382.18957619999998</c:v>
                      </c:pt>
                      <c:pt idx="3345">
                        <c:v>382.14979299999999</c:v>
                      </c:pt>
                      <c:pt idx="3346">
                        <c:v>382.13044780000001</c:v>
                      </c:pt>
                      <c:pt idx="3347">
                        <c:v>382.05089140000001</c:v>
                      </c:pt>
                      <c:pt idx="3348">
                        <c:v>382.01187609999999</c:v>
                      </c:pt>
                      <c:pt idx="3349">
                        <c:v>381.95197990000003</c:v>
                      </c:pt>
                      <c:pt idx="3350">
                        <c:v>381.93340260000002</c:v>
                      </c:pt>
                      <c:pt idx="3351">
                        <c:v>381.9126693</c:v>
                      </c:pt>
                      <c:pt idx="3352">
                        <c:v>381.89361939999998</c:v>
                      </c:pt>
                      <c:pt idx="3353">
                        <c:v>381.7749</c:v>
                      </c:pt>
                      <c:pt idx="3354">
                        <c:v>381.83382110000002</c:v>
                      </c:pt>
                      <c:pt idx="3355">
                        <c:v>381.90322759999998</c:v>
                      </c:pt>
                      <c:pt idx="3356">
                        <c:v>381.90848770000002</c:v>
                      </c:pt>
                      <c:pt idx="3357">
                        <c:v>381.91930500000001</c:v>
                      </c:pt>
                      <c:pt idx="3358">
                        <c:v>381.9245651</c:v>
                      </c:pt>
                      <c:pt idx="3359">
                        <c:v>381.9298278</c:v>
                      </c:pt>
                      <c:pt idx="3360">
                        <c:v>381.93538239999998</c:v>
                      </c:pt>
                      <c:pt idx="3361">
                        <c:v>381.94064250000002</c:v>
                      </c:pt>
                      <c:pt idx="3362">
                        <c:v>381.94590529999999</c:v>
                      </c:pt>
                      <c:pt idx="3363">
                        <c:v>381.95125100000001</c:v>
                      </c:pt>
                      <c:pt idx="3364">
                        <c:v>381.98340589999998</c:v>
                      </c:pt>
                      <c:pt idx="3365">
                        <c:v>381.99442929999998</c:v>
                      </c:pt>
                      <c:pt idx="3366">
                        <c:v>382.00503780000003</c:v>
                      </c:pt>
                      <c:pt idx="3367">
                        <c:v>382.01556069999998</c:v>
                      </c:pt>
                      <c:pt idx="3368">
                        <c:v>382.0424956</c:v>
                      </c:pt>
                      <c:pt idx="3369">
                        <c:v>382.04775840000002</c:v>
                      </c:pt>
                      <c:pt idx="3370">
                        <c:v>382.06383579999999</c:v>
                      </c:pt>
                      <c:pt idx="3371">
                        <c:v>382.09047889999999</c:v>
                      </c:pt>
                      <c:pt idx="3372">
                        <c:v>382.09603079999999</c:v>
                      </c:pt>
                      <c:pt idx="3373">
                        <c:v>382.10655630000002</c:v>
                      </c:pt>
                      <c:pt idx="3374">
                        <c:v>382.11185920000003</c:v>
                      </c:pt>
                      <c:pt idx="3375">
                        <c:v>382.11753959999999</c:v>
                      </c:pt>
                      <c:pt idx="3376">
                        <c:v>382.1226739</c:v>
                      </c:pt>
                      <c:pt idx="3377">
                        <c:v>382.13328239999998</c:v>
                      </c:pt>
                      <c:pt idx="3378">
                        <c:v>382.13875130000002</c:v>
                      </c:pt>
                      <c:pt idx="3379">
                        <c:v>382.1548287</c:v>
                      </c:pt>
                      <c:pt idx="3380">
                        <c:v>382.16009150000002</c:v>
                      </c:pt>
                      <c:pt idx="3381">
                        <c:v>382.17616889999999</c:v>
                      </c:pt>
                      <c:pt idx="3382">
                        <c:v>382.18172349999998</c:v>
                      </c:pt>
                      <c:pt idx="3383">
                        <c:v>382.1869835</c:v>
                      </c:pt>
                      <c:pt idx="3384">
                        <c:v>382.19232929999998</c:v>
                      </c:pt>
                      <c:pt idx="3385">
                        <c:v>382.20314660000003</c:v>
                      </c:pt>
                      <c:pt idx="3386">
                        <c:v>382.20840670000001</c:v>
                      </c:pt>
                      <c:pt idx="3387">
                        <c:v>382.21366949999998</c:v>
                      </c:pt>
                      <c:pt idx="3388">
                        <c:v>382.21893230000001</c:v>
                      </c:pt>
                      <c:pt idx="3389">
                        <c:v>382.33677710000001</c:v>
                      </c:pt>
                      <c:pt idx="3390">
                        <c:v>382.37427769999999</c:v>
                      </c:pt>
                      <c:pt idx="3391">
                        <c:v>382.39561789999999</c:v>
                      </c:pt>
                      <c:pt idx="3392">
                        <c:v>382.40129560000003</c:v>
                      </c:pt>
                      <c:pt idx="3393">
                        <c:v>382.40643249999999</c:v>
                      </c:pt>
                      <c:pt idx="3394">
                        <c:v>382.41169530000002</c:v>
                      </c:pt>
                      <c:pt idx="3395">
                        <c:v>382.43307570000002</c:v>
                      </c:pt>
                      <c:pt idx="3396">
                        <c:v>382.43863019999998</c:v>
                      </c:pt>
                      <c:pt idx="3397">
                        <c:v>382.50302290000002</c:v>
                      </c:pt>
                      <c:pt idx="3398">
                        <c:v>382.55096329999998</c:v>
                      </c:pt>
                      <c:pt idx="3399">
                        <c:v>382.55121500000001</c:v>
                      </c:pt>
                      <c:pt idx="3400">
                        <c:v>382.56704079999997</c:v>
                      </c:pt>
                      <c:pt idx="3401">
                        <c:v>382.57785539999998</c:v>
                      </c:pt>
                      <c:pt idx="3402">
                        <c:v>382.57798120000001</c:v>
                      </c:pt>
                      <c:pt idx="3403">
                        <c:v>382.5883809</c:v>
                      </c:pt>
                      <c:pt idx="3404">
                        <c:v>382.59368389999997</c:v>
                      </c:pt>
                      <c:pt idx="3405">
                        <c:v>382.60449849999998</c:v>
                      </c:pt>
                      <c:pt idx="3406">
                        <c:v>382.6097613</c:v>
                      </c:pt>
                      <c:pt idx="3407">
                        <c:v>382.62057590000001</c:v>
                      </c:pt>
                      <c:pt idx="3408">
                        <c:v>382.62583869999997</c:v>
                      </c:pt>
                      <c:pt idx="3409">
                        <c:v>382.63139330000001</c:v>
                      </c:pt>
                      <c:pt idx="3410">
                        <c:v>382.64747069999999</c:v>
                      </c:pt>
                      <c:pt idx="3411">
                        <c:v>382.65273079999997</c:v>
                      </c:pt>
                      <c:pt idx="3412">
                        <c:v>382.66354810000001</c:v>
                      </c:pt>
                      <c:pt idx="3413">
                        <c:v>382.6688082</c:v>
                      </c:pt>
                      <c:pt idx="3414">
                        <c:v>382.67432259999998</c:v>
                      </c:pt>
                      <c:pt idx="3415">
                        <c:v>382.67941669999999</c:v>
                      </c:pt>
                      <c:pt idx="3416">
                        <c:v>382.68497129999997</c:v>
                      </c:pt>
                      <c:pt idx="3417">
                        <c:v>382.69040000000001</c:v>
                      </c:pt>
                      <c:pt idx="3418">
                        <c:v>382.78717790000002</c:v>
                      </c:pt>
                      <c:pt idx="3419">
                        <c:v>382.89270299999998</c:v>
                      </c:pt>
                      <c:pt idx="3420">
                        <c:v>383.09261579999998</c:v>
                      </c:pt>
                      <c:pt idx="3421">
                        <c:v>383.19259770000002</c:v>
                      </c:pt>
                      <c:pt idx="3422">
                        <c:v>383.39805369999999</c:v>
                      </c:pt>
                      <c:pt idx="3423">
                        <c:v>383.60350979999998</c:v>
                      </c:pt>
                      <c:pt idx="3424">
                        <c:v>383.60590000000002</c:v>
                      </c:pt>
                      <c:pt idx="3425">
                        <c:v>383.59665319999999</c:v>
                      </c:pt>
                      <c:pt idx="3426">
                        <c:v>383.5871798</c:v>
                      </c:pt>
                      <c:pt idx="3427">
                        <c:v>383.57710900000001</c:v>
                      </c:pt>
                      <c:pt idx="3428">
                        <c:v>383.55816720000001</c:v>
                      </c:pt>
                      <c:pt idx="3429">
                        <c:v>383.53907120000002</c:v>
                      </c:pt>
                      <c:pt idx="3430">
                        <c:v>383.52922690000003</c:v>
                      </c:pt>
                      <c:pt idx="3431">
                        <c:v>383.51975349999998</c:v>
                      </c:pt>
                      <c:pt idx="3432">
                        <c:v>383.50028650000002</c:v>
                      </c:pt>
                      <c:pt idx="3433">
                        <c:v>383.4808147</c:v>
                      </c:pt>
                      <c:pt idx="3434">
                        <c:v>383.47134620000003</c:v>
                      </c:pt>
                      <c:pt idx="3435">
                        <c:v>383.46187279999998</c:v>
                      </c:pt>
                      <c:pt idx="3436">
                        <c:v>383.44240580000002</c:v>
                      </c:pt>
                      <c:pt idx="3437">
                        <c:v>383.43278309999999</c:v>
                      </c:pt>
                      <c:pt idx="3438">
                        <c:v>383.42330980000003</c:v>
                      </c:pt>
                      <c:pt idx="3439">
                        <c:v>383.39436949999998</c:v>
                      </c:pt>
                      <c:pt idx="3440">
                        <c:v>383.3749024</c:v>
                      </c:pt>
                      <c:pt idx="3441">
                        <c:v>383.3559558</c:v>
                      </c:pt>
                      <c:pt idx="3442">
                        <c:v>383.33648879999998</c:v>
                      </c:pt>
                      <c:pt idx="3443">
                        <c:v>383.30754839999997</c:v>
                      </c:pt>
                      <c:pt idx="3444">
                        <c:v>383.24959059999998</c:v>
                      </c:pt>
                      <c:pt idx="3445">
                        <c:v>383.21118180000002</c:v>
                      </c:pt>
                      <c:pt idx="3446">
                        <c:v>383.19170989999998</c:v>
                      </c:pt>
                      <c:pt idx="3447">
                        <c:v>383.17276809999998</c:v>
                      </c:pt>
                      <c:pt idx="3448">
                        <c:v>383.16276959999999</c:v>
                      </c:pt>
                      <c:pt idx="3449">
                        <c:v>383.12420650000001</c:v>
                      </c:pt>
                      <c:pt idx="3450">
                        <c:v>383.11473799999999</c:v>
                      </c:pt>
                      <c:pt idx="3451">
                        <c:v>383.07632430000001</c:v>
                      </c:pt>
                      <c:pt idx="3452">
                        <c:v>383.06685099999999</c:v>
                      </c:pt>
                      <c:pt idx="3453">
                        <c:v>383.01844360000001</c:v>
                      </c:pt>
                      <c:pt idx="3454">
                        <c:v>382.99889949999999</c:v>
                      </c:pt>
                      <c:pt idx="3455">
                        <c:v>382.96048580000001</c:v>
                      </c:pt>
                      <c:pt idx="3456">
                        <c:v>382.93154550000003</c:v>
                      </c:pt>
                      <c:pt idx="3457">
                        <c:v>382.922077</c:v>
                      </c:pt>
                      <c:pt idx="3458">
                        <c:v>382.90260510000002</c:v>
                      </c:pt>
                      <c:pt idx="3459">
                        <c:v>382.89313659999999</c:v>
                      </c:pt>
                      <c:pt idx="3460">
                        <c:v>382.87366479999997</c:v>
                      </c:pt>
                      <c:pt idx="3461">
                        <c:v>382.84510030000001</c:v>
                      </c:pt>
                      <c:pt idx="3462">
                        <c:v>382.82563329999999</c:v>
                      </c:pt>
                      <c:pt idx="3463">
                        <c:v>382.8161599</c:v>
                      </c:pt>
                      <c:pt idx="3464">
                        <c:v>382.80616140000001</c:v>
                      </c:pt>
                      <c:pt idx="3465">
                        <c:v>382.7582792</c:v>
                      </c:pt>
                      <c:pt idx="3466">
                        <c:v>382.71986559999999</c:v>
                      </c:pt>
                      <c:pt idx="3467">
                        <c:v>382.71024770000002</c:v>
                      </c:pt>
                      <c:pt idx="3468">
                        <c:v>382.69077579999998</c:v>
                      </c:pt>
                      <c:pt idx="3469">
                        <c:v>382.69040000000001</c:v>
                      </c:pt>
                      <c:pt idx="3470">
                        <c:v>382.69040000000001</c:v>
                      </c:pt>
                      <c:pt idx="3471">
                        <c:v>382.69040000000001</c:v>
                      </c:pt>
                      <c:pt idx="3472">
                        <c:v>382.69040000000001</c:v>
                      </c:pt>
                      <c:pt idx="3473">
                        <c:v>382.69040000000001</c:v>
                      </c:pt>
                      <c:pt idx="3474">
                        <c:v>382.69040000000001</c:v>
                      </c:pt>
                      <c:pt idx="3475">
                        <c:v>382.69040000000001</c:v>
                      </c:pt>
                      <c:pt idx="3476">
                        <c:v>382.69040000000001</c:v>
                      </c:pt>
                      <c:pt idx="3477">
                        <c:v>382.69040000000001</c:v>
                      </c:pt>
                      <c:pt idx="3478">
                        <c:v>382.69040000000001</c:v>
                      </c:pt>
                      <c:pt idx="3479">
                        <c:v>382.69040000000001</c:v>
                      </c:pt>
                      <c:pt idx="3480">
                        <c:v>382.69040000000001</c:v>
                      </c:pt>
                      <c:pt idx="3481">
                        <c:v>382.69040000000001</c:v>
                      </c:pt>
                      <c:pt idx="3482">
                        <c:v>382.69040000000001</c:v>
                      </c:pt>
                      <c:pt idx="3483">
                        <c:v>382.69040000000001</c:v>
                      </c:pt>
                      <c:pt idx="3484">
                        <c:v>382.69040000000001</c:v>
                      </c:pt>
                      <c:pt idx="3485">
                        <c:v>382.69040000000001</c:v>
                      </c:pt>
                      <c:pt idx="3486">
                        <c:v>382.69040000000001</c:v>
                      </c:pt>
                      <c:pt idx="3487">
                        <c:v>382.69040000000001</c:v>
                      </c:pt>
                      <c:pt idx="3488">
                        <c:v>382.69040000000001</c:v>
                      </c:pt>
                      <c:pt idx="3489">
                        <c:v>382.71992690000002</c:v>
                      </c:pt>
                      <c:pt idx="3490">
                        <c:v>382.72087299999998</c:v>
                      </c:pt>
                      <c:pt idx="3491">
                        <c:v>382.74991169999998</c:v>
                      </c:pt>
                      <c:pt idx="3492">
                        <c:v>382.81180380000001</c:v>
                      </c:pt>
                      <c:pt idx="3493">
                        <c:v>382.84180370000001</c:v>
                      </c:pt>
                      <c:pt idx="3494">
                        <c:v>382.87178849999998</c:v>
                      </c:pt>
                      <c:pt idx="3495">
                        <c:v>382.96343639999998</c:v>
                      </c:pt>
                      <c:pt idx="3496">
                        <c:v>383.08674760000002</c:v>
                      </c:pt>
                      <c:pt idx="3497">
                        <c:v>383.5449873</c:v>
                      </c:pt>
                      <c:pt idx="3498">
                        <c:v>383.78732179999997</c:v>
                      </c:pt>
                      <c:pt idx="3499">
                        <c:v>384.03322700000001</c:v>
                      </c:pt>
                      <c:pt idx="3500">
                        <c:v>384.52171079999999</c:v>
                      </c:pt>
                      <c:pt idx="3501">
                        <c:v>384.55193969999999</c:v>
                      </c:pt>
                      <c:pt idx="3502">
                        <c:v>384.70285510000002</c:v>
                      </c:pt>
                      <c:pt idx="3503">
                        <c:v>385.31487900000002</c:v>
                      </c:pt>
                      <c:pt idx="3504">
                        <c:v>385.43700000000001</c:v>
                      </c:pt>
                      <c:pt idx="3505">
                        <c:v>381.7749</c:v>
                      </c:pt>
                      <c:pt idx="3506">
                        <c:v>381.7945555</c:v>
                      </c:pt>
                      <c:pt idx="3507">
                        <c:v>381.85724900000002</c:v>
                      </c:pt>
                      <c:pt idx="3508">
                        <c:v>381.87770610000001</c:v>
                      </c:pt>
                      <c:pt idx="3509">
                        <c:v>381.94023299999998</c:v>
                      </c:pt>
                      <c:pt idx="3510">
                        <c:v>382.00276000000002</c:v>
                      </c:pt>
                      <c:pt idx="3511">
                        <c:v>382.02436219999998</c:v>
                      </c:pt>
                      <c:pt idx="3512">
                        <c:v>382.06528689999999</c:v>
                      </c:pt>
                      <c:pt idx="3513">
                        <c:v>382.10735670000003</c:v>
                      </c:pt>
                      <c:pt idx="3514">
                        <c:v>382.14844790000001</c:v>
                      </c:pt>
                      <c:pt idx="3515">
                        <c:v>382.19050729999998</c:v>
                      </c:pt>
                      <c:pt idx="3516">
                        <c:v>382.23257710000001</c:v>
                      </c:pt>
                      <c:pt idx="3517">
                        <c:v>382.2530342</c:v>
                      </c:pt>
                      <c:pt idx="3518">
                        <c:v>382.37825470000001</c:v>
                      </c:pt>
                      <c:pt idx="3519">
                        <c:v>382.4191793</c:v>
                      </c:pt>
                      <c:pt idx="3520">
                        <c:v>382.44094819999998</c:v>
                      </c:pt>
                      <c:pt idx="3521">
                        <c:v>382.48187280000002</c:v>
                      </c:pt>
                      <c:pt idx="3522">
                        <c:v>382.54439969999999</c:v>
                      </c:pt>
                      <c:pt idx="3523">
                        <c:v>382.56485679999997</c:v>
                      </c:pt>
                      <c:pt idx="3524">
                        <c:v>382.62738380000002</c:v>
                      </c:pt>
                      <c:pt idx="3525">
                        <c:v>382.6694536</c:v>
                      </c:pt>
                      <c:pt idx="3526">
                        <c:v>382.71151300000002</c:v>
                      </c:pt>
                      <c:pt idx="3527">
                        <c:v>382.73262599999998</c:v>
                      </c:pt>
                      <c:pt idx="3528">
                        <c:v>382.75260420000001</c:v>
                      </c:pt>
                      <c:pt idx="3529">
                        <c:v>382.94084090000001</c:v>
                      </c:pt>
                      <c:pt idx="3530">
                        <c:v>382.96162070000003</c:v>
                      </c:pt>
                      <c:pt idx="3531">
                        <c:v>383.377228</c:v>
                      </c:pt>
                      <c:pt idx="3532">
                        <c:v>383.60590000000002</c:v>
                      </c:pt>
                      <c:pt idx="3533">
                        <c:v>383.60590000000002</c:v>
                      </c:pt>
                      <c:pt idx="3534">
                        <c:v>383.60590000000002</c:v>
                      </c:pt>
                      <c:pt idx="3535">
                        <c:v>383.60590000000002</c:v>
                      </c:pt>
                      <c:pt idx="3536">
                        <c:v>383.60590000000002</c:v>
                      </c:pt>
                      <c:pt idx="3537">
                        <c:v>383.60590000000002</c:v>
                      </c:pt>
                      <c:pt idx="3538">
                        <c:v>383.60590000000002</c:v>
                      </c:pt>
                      <c:pt idx="3539">
                        <c:v>383.60590000000002</c:v>
                      </c:pt>
                      <c:pt idx="3540">
                        <c:v>383.60590000000002</c:v>
                      </c:pt>
                      <c:pt idx="3541">
                        <c:v>383.60590000000002</c:v>
                      </c:pt>
                      <c:pt idx="3542">
                        <c:v>383.60590000000002</c:v>
                      </c:pt>
                      <c:pt idx="3543">
                        <c:v>383.60590000000002</c:v>
                      </c:pt>
                      <c:pt idx="3544">
                        <c:v>383.60590000000002</c:v>
                      </c:pt>
                      <c:pt idx="3545">
                        <c:v>383.60590000000002</c:v>
                      </c:pt>
                      <c:pt idx="3546">
                        <c:v>383.60590000000002</c:v>
                      </c:pt>
                      <c:pt idx="3547">
                        <c:v>383.60590000000002</c:v>
                      </c:pt>
                      <c:pt idx="3548">
                        <c:v>383.60590000000002</c:v>
                      </c:pt>
                      <c:pt idx="3549">
                        <c:v>383.60590000000002</c:v>
                      </c:pt>
                      <c:pt idx="3550">
                        <c:v>383.60590000000002</c:v>
                      </c:pt>
                      <c:pt idx="3551">
                        <c:v>383.60590000000002</c:v>
                      </c:pt>
                      <c:pt idx="3552">
                        <c:v>383.60590000000002</c:v>
                      </c:pt>
                      <c:pt idx="3553">
                        <c:v>383.60590000000002</c:v>
                      </c:pt>
                      <c:pt idx="3554">
                        <c:v>383.60590000000002</c:v>
                      </c:pt>
                      <c:pt idx="3555">
                        <c:v>383.60590000000002</c:v>
                      </c:pt>
                      <c:pt idx="3556">
                        <c:v>383.60590000000002</c:v>
                      </c:pt>
                      <c:pt idx="3557">
                        <c:v>383.60590000000002</c:v>
                      </c:pt>
                      <c:pt idx="3558">
                        <c:v>383.60590000000002</c:v>
                      </c:pt>
                      <c:pt idx="3559">
                        <c:v>383.60590000000002</c:v>
                      </c:pt>
                      <c:pt idx="3560">
                        <c:v>383.60590000000002</c:v>
                      </c:pt>
                      <c:pt idx="3561">
                        <c:v>383.60590000000002</c:v>
                      </c:pt>
                      <c:pt idx="3562">
                        <c:v>383.60590000000002</c:v>
                      </c:pt>
                      <c:pt idx="3563">
                        <c:v>383.60590000000002</c:v>
                      </c:pt>
                      <c:pt idx="3564">
                        <c:v>383.60590000000002</c:v>
                      </c:pt>
                      <c:pt idx="3565">
                        <c:v>383.60590000000002</c:v>
                      </c:pt>
                      <c:pt idx="3566">
                        <c:v>383.13175819999998</c:v>
                      </c:pt>
                      <c:pt idx="3567">
                        <c:v>383.06510609999998</c:v>
                      </c:pt>
                      <c:pt idx="3568">
                        <c:v>382.92971690000002</c:v>
                      </c:pt>
                      <c:pt idx="3569">
                        <c:v>382.86123409999999</c:v>
                      </c:pt>
                      <c:pt idx="3570">
                        <c:v>382.79273430000001</c:v>
                      </c:pt>
                      <c:pt idx="3571">
                        <c:v>382.72609920000002</c:v>
                      </c:pt>
                      <c:pt idx="3572">
                        <c:v>382.69092549999999</c:v>
                      </c:pt>
                      <c:pt idx="3573">
                        <c:v>382.69040000000001</c:v>
                      </c:pt>
                      <c:pt idx="3574">
                        <c:v>382.71895999999998</c:v>
                      </c:pt>
                      <c:pt idx="3575">
                        <c:v>382.71989029999997</c:v>
                      </c:pt>
                      <c:pt idx="3576">
                        <c:v>382.7786347</c:v>
                      </c:pt>
                      <c:pt idx="3577">
                        <c:v>382.83692129999997</c:v>
                      </c:pt>
                      <c:pt idx="3578">
                        <c:v>382.8380732</c:v>
                      </c:pt>
                      <c:pt idx="3579">
                        <c:v>383.33889210000001</c:v>
                      </c:pt>
                      <c:pt idx="3580">
                        <c:v>383.36792459999998</c:v>
                      </c:pt>
                      <c:pt idx="3581">
                        <c:v>383.45661719999998</c:v>
                      </c:pt>
                      <c:pt idx="3582">
                        <c:v>383.51627710000002</c:v>
                      </c:pt>
                      <c:pt idx="3583">
                        <c:v>383.54530970000002</c:v>
                      </c:pt>
                      <c:pt idx="3584">
                        <c:v>383.57595190000001</c:v>
                      </c:pt>
                      <c:pt idx="3585">
                        <c:v>383.60496970000003</c:v>
                      </c:pt>
                      <c:pt idx="3586">
                        <c:v>383.60590000000002</c:v>
                      </c:pt>
                      <c:pt idx="3587">
                        <c:v>383.60211170000002</c:v>
                      </c:pt>
                      <c:pt idx="3588">
                        <c:v>383.58201969999999</c:v>
                      </c:pt>
                      <c:pt idx="3589">
                        <c:v>383.54639830000002</c:v>
                      </c:pt>
                      <c:pt idx="3590">
                        <c:v>383.5422059</c:v>
                      </c:pt>
                      <c:pt idx="3591">
                        <c:v>383.4984187</c:v>
                      </c:pt>
                      <c:pt idx="3592">
                        <c:v>383.48255089999998</c:v>
                      </c:pt>
                      <c:pt idx="3593">
                        <c:v>383.44286260000001</c:v>
                      </c:pt>
                      <c:pt idx="3594">
                        <c:v>383.43071939999999</c:v>
                      </c:pt>
                      <c:pt idx="3595">
                        <c:v>383.39901170000002</c:v>
                      </c:pt>
                      <c:pt idx="3596">
                        <c:v>383.39488299999999</c:v>
                      </c:pt>
                      <c:pt idx="3597">
                        <c:v>383.39485109999998</c:v>
                      </c:pt>
                      <c:pt idx="3598">
                        <c:v>383.39096929999999</c:v>
                      </c:pt>
                      <c:pt idx="3599">
                        <c:v>383.3870556</c:v>
                      </c:pt>
                      <c:pt idx="3600">
                        <c:v>383.38693219999999</c:v>
                      </c:pt>
                      <c:pt idx="3601">
                        <c:v>383.37901319999997</c:v>
                      </c:pt>
                      <c:pt idx="3602">
                        <c:v>383.3433301</c:v>
                      </c:pt>
                      <c:pt idx="3603">
                        <c:v>383.31128200000001</c:v>
                      </c:pt>
                      <c:pt idx="3604">
                        <c:v>383.3033949</c:v>
                      </c:pt>
                      <c:pt idx="3605">
                        <c:v>383.2994812</c:v>
                      </c:pt>
                      <c:pt idx="3606">
                        <c:v>383.2955675</c:v>
                      </c:pt>
                      <c:pt idx="3607">
                        <c:v>383.18389580000002</c:v>
                      </c:pt>
                      <c:pt idx="3608">
                        <c:v>383.17613210000002</c:v>
                      </c:pt>
                      <c:pt idx="3609">
                        <c:v>383.1719377</c:v>
                      </c:pt>
                      <c:pt idx="3610">
                        <c:v>383.1281505</c:v>
                      </c:pt>
                      <c:pt idx="3611">
                        <c:v>383.08455049999998</c:v>
                      </c:pt>
                      <c:pt idx="3612">
                        <c:v>383.04054430000002</c:v>
                      </c:pt>
                      <c:pt idx="3613">
                        <c:v>383.03657090000002</c:v>
                      </c:pt>
                      <c:pt idx="3614">
                        <c:v>382.98880830000002</c:v>
                      </c:pt>
                      <c:pt idx="3615">
                        <c:v>382.94899450000003</c:v>
                      </c:pt>
                      <c:pt idx="3616">
                        <c:v>382.94502110000002</c:v>
                      </c:pt>
                      <c:pt idx="3617">
                        <c:v>382.94116910000002</c:v>
                      </c:pt>
                      <c:pt idx="3618">
                        <c:v>382.93318840000001</c:v>
                      </c:pt>
                      <c:pt idx="3619">
                        <c:v>382.92927470000001</c:v>
                      </c:pt>
                      <c:pt idx="3620">
                        <c:v>382.92123229999999</c:v>
                      </c:pt>
                      <c:pt idx="3621">
                        <c:v>382.91706979999998</c:v>
                      </c:pt>
                      <c:pt idx="3622">
                        <c:v>382.91318799999999</c:v>
                      </c:pt>
                      <c:pt idx="3623">
                        <c:v>382.90927629999999</c:v>
                      </c:pt>
                      <c:pt idx="3624">
                        <c:v>382.90918269999997</c:v>
                      </c:pt>
                      <c:pt idx="3625">
                        <c:v>382.90123190000003</c:v>
                      </c:pt>
                      <c:pt idx="3626">
                        <c:v>382.89340650000003</c:v>
                      </c:pt>
                      <c:pt idx="3627">
                        <c:v>382.8853641</c:v>
                      </c:pt>
                      <c:pt idx="3628">
                        <c:v>382.86949429999999</c:v>
                      </c:pt>
                      <c:pt idx="3629">
                        <c:v>382.86145199999999</c:v>
                      </c:pt>
                      <c:pt idx="3630">
                        <c:v>382.85350110000002</c:v>
                      </c:pt>
                      <c:pt idx="3631">
                        <c:v>382.84958740000002</c:v>
                      </c:pt>
                      <c:pt idx="3632">
                        <c:v>382.84154510000002</c:v>
                      </c:pt>
                      <c:pt idx="3633">
                        <c:v>382.81375109999999</c:v>
                      </c:pt>
                      <c:pt idx="3634">
                        <c:v>382.80983739999999</c:v>
                      </c:pt>
                      <c:pt idx="3635">
                        <c:v>382.80570870000003</c:v>
                      </c:pt>
                      <c:pt idx="3636">
                        <c:v>382.80166960000003</c:v>
                      </c:pt>
                      <c:pt idx="3637">
                        <c:v>382.7976324</c:v>
                      </c:pt>
                      <c:pt idx="3638">
                        <c:v>382.78983890000001</c:v>
                      </c:pt>
                      <c:pt idx="3639">
                        <c:v>382.78179449999999</c:v>
                      </c:pt>
                      <c:pt idx="3640">
                        <c:v>382.77788279999999</c:v>
                      </c:pt>
                      <c:pt idx="3641">
                        <c:v>382.7700256</c:v>
                      </c:pt>
                      <c:pt idx="3642">
                        <c:v>382.76589489999998</c:v>
                      </c:pt>
                      <c:pt idx="3643">
                        <c:v>382.75393880000001</c:v>
                      </c:pt>
                      <c:pt idx="3644">
                        <c:v>382.74198269999999</c:v>
                      </c:pt>
                      <c:pt idx="3645">
                        <c:v>382.7340638</c:v>
                      </c:pt>
                      <c:pt idx="3646">
                        <c:v>382.7262384</c:v>
                      </c:pt>
                      <c:pt idx="3647">
                        <c:v>382.72210769999998</c:v>
                      </c:pt>
                      <c:pt idx="3648">
                        <c:v>382.71422059999998</c:v>
                      </c:pt>
                      <c:pt idx="3649">
                        <c:v>382.71030689999998</c:v>
                      </c:pt>
                      <c:pt idx="3650">
                        <c:v>382.70617620000002</c:v>
                      </c:pt>
                      <c:pt idx="3651">
                        <c:v>382.70611450000001</c:v>
                      </c:pt>
                      <c:pt idx="3652">
                        <c:v>382.69816370000001</c:v>
                      </c:pt>
                      <c:pt idx="3653">
                        <c:v>382.69431370000001</c:v>
                      </c:pt>
                      <c:pt idx="3654">
                        <c:v>382.69040000000001</c:v>
                      </c:pt>
                      <c:pt idx="3655">
                        <c:v>380.85939999999999</c:v>
                      </c:pt>
                      <c:pt idx="3656">
                        <c:v>384.5215</c:v>
                      </c:pt>
                      <c:pt idx="3657">
                        <c:v>382.69211610000002</c:v>
                      </c:pt>
                      <c:pt idx="3658">
                        <c:v>382.69040000000001</c:v>
                      </c:pt>
                      <c:pt idx="3659">
                        <c:v>382.69040000000001</c:v>
                      </c:pt>
                      <c:pt idx="3660">
                        <c:v>382.69040000000001</c:v>
                      </c:pt>
                      <c:pt idx="3661">
                        <c:v>382.69040000000001</c:v>
                      </c:pt>
                      <c:pt idx="3662">
                        <c:v>382.69040000000001</c:v>
                      </c:pt>
                      <c:pt idx="3663">
                        <c:v>382.69040000000001</c:v>
                      </c:pt>
                      <c:pt idx="3664">
                        <c:v>382.69040000000001</c:v>
                      </c:pt>
                      <c:pt idx="3665">
                        <c:v>382.69040000000001</c:v>
                      </c:pt>
                      <c:pt idx="3666">
                        <c:v>382.69040000000001</c:v>
                      </c:pt>
                      <c:pt idx="3667">
                        <c:v>382.69040000000001</c:v>
                      </c:pt>
                      <c:pt idx="3668">
                        <c:v>382.69040000000001</c:v>
                      </c:pt>
                      <c:pt idx="3669">
                        <c:v>382.69040000000001</c:v>
                      </c:pt>
                      <c:pt idx="3670">
                        <c:v>382.69040000000001</c:v>
                      </c:pt>
                      <c:pt idx="3671">
                        <c:v>382.69040000000001</c:v>
                      </c:pt>
                      <c:pt idx="3672">
                        <c:v>382.69040000000001</c:v>
                      </c:pt>
                      <c:pt idx="3673">
                        <c:v>382.69040000000001</c:v>
                      </c:pt>
                      <c:pt idx="3674">
                        <c:v>382.69040000000001</c:v>
                      </c:pt>
                      <c:pt idx="3675">
                        <c:v>382.69040000000001</c:v>
                      </c:pt>
                      <c:pt idx="3676">
                        <c:v>382.69040000000001</c:v>
                      </c:pt>
                      <c:pt idx="3677">
                        <c:v>382.69040000000001</c:v>
                      </c:pt>
                      <c:pt idx="3678">
                        <c:v>382.69040000000001</c:v>
                      </c:pt>
                      <c:pt idx="3679">
                        <c:v>382.69040000000001</c:v>
                      </c:pt>
                      <c:pt idx="3680">
                        <c:v>382.69040000000001</c:v>
                      </c:pt>
                      <c:pt idx="3681">
                        <c:v>382.69040000000001</c:v>
                      </c:pt>
                      <c:pt idx="3682">
                        <c:v>382.69040000000001</c:v>
                      </c:pt>
                      <c:pt idx="3683">
                        <c:v>382.69040000000001</c:v>
                      </c:pt>
                      <c:pt idx="3684">
                        <c:v>382.69040000000001</c:v>
                      </c:pt>
                      <c:pt idx="3685">
                        <c:v>382.69040000000001</c:v>
                      </c:pt>
                      <c:pt idx="3686">
                        <c:v>382.69040000000001</c:v>
                      </c:pt>
                      <c:pt idx="3687">
                        <c:v>382.69040000000001</c:v>
                      </c:pt>
                      <c:pt idx="3688">
                        <c:v>382.69040000000001</c:v>
                      </c:pt>
                      <c:pt idx="3689">
                        <c:v>382.69040000000001</c:v>
                      </c:pt>
                      <c:pt idx="3690">
                        <c:v>382.69040000000001</c:v>
                      </c:pt>
                      <c:pt idx="3691">
                        <c:v>382.69040000000001</c:v>
                      </c:pt>
                      <c:pt idx="3692">
                        <c:v>382.69040000000001</c:v>
                      </c:pt>
                      <c:pt idx="3693">
                        <c:v>382.69040000000001</c:v>
                      </c:pt>
                      <c:pt idx="3694">
                        <c:v>382.69040000000001</c:v>
                      </c:pt>
                      <c:pt idx="3695">
                        <c:v>382.69040000000001</c:v>
                      </c:pt>
                      <c:pt idx="3696">
                        <c:v>382.69040000000001</c:v>
                      </c:pt>
                      <c:pt idx="3697">
                        <c:v>382.69040000000001</c:v>
                      </c:pt>
                      <c:pt idx="3698">
                        <c:v>382.69040000000001</c:v>
                      </c:pt>
                      <c:pt idx="3699">
                        <c:v>382.69040000000001</c:v>
                      </c:pt>
                      <c:pt idx="3700">
                        <c:v>382.69040000000001</c:v>
                      </c:pt>
                      <c:pt idx="3701">
                        <c:v>382.69040000000001</c:v>
                      </c:pt>
                      <c:pt idx="3702">
                        <c:v>382.69040000000001</c:v>
                      </c:pt>
                      <c:pt idx="3703">
                        <c:v>382.69040000000001</c:v>
                      </c:pt>
                      <c:pt idx="3704">
                        <c:v>382.69040000000001</c:v>
                      </c:pt>
                      <c:pt idx="3705">
                        <c:v>382.69040000000001</c:v>
                      </c:pt>
                      <c:pt idx="3706">
                        <c:v>382.69040000000001</c:v>
                      </c:pt>
                      <c:pt idx="3707">
                        <c:v>382.69040000000001</c:v>
                      </c:pt>
                      <c:pt idx="3708">
                        <c:v>382.69040000000001</c:v>
                      </c:pt>
                      <c:pt idx="3709">
                        <c:v>382.69040000000001</c:v>
                      </c:pt>
                      <c:pt idx="3710">
                        <c:v>382.69040000000001</c:v>
                      </c:pt>
                      <c:pt idx="3711">
                        <c:v>382.69040000000001</c:v>
                      </c:pt>
                      <c:pt idx="3712">
                        <c:v>382.69040000000001</c:v>
                      </c:pt>
                      <c:pt idx="3713">
                        <c:v>382.69040000000001</c:v>
                      </c:pt>
                      <c:pt idx="3714">
                        <c:v>382.69040000000001</c:v>
                      </c:pt>
                      <c:pt idx="3715">
                        <c:v>382.69040000000001</c:v>
                      </c:pt>
                      <c:pt idx="3716">
                        <c:v>382.69040000000001</c:v>
                      </c:pt>
                      <c:pt idx="3717">
                        <c:v>382.69040000000001</c:v>
                      </c:pt>
                      <c:pt idx="3718">
                        <c:v>382.69040000000001</c:v>
                      </c:pt>
                      <c:pt idx="3719">
                        <c:v>382.67566499999998</c:v>
                      </c:pt>
                      <c:pt idx="3720">
                        <c:v>382.57410429999999</c:v>
                      </c:pt>
                      <c:pt idx="3721">
                        <c:v>382.42936309999999</c:v>
                      </c:pt>
                      <c:pt idx="3722">
                        <c:v>382.40000220000002</c:v>
                      </c:pt>
                      <c:pt idx="3723">
                        <c:v>382.39977699999997</c:v>
                      </c:pt>
                      <c:pt idx="3724">
                        <c:v>382.38526719999999</c:v>
                      </c:pt>
                      <c:pt idx="3725">
                        <c:v>382.37121530000002</c:v>
                      </c:pt>
                      <c:pt idx="3726">
                        <c:v>382.2985577</c:v>
                      </c:pt>
                      <c:pt idx="3727">
                        <c:v>382.269204</c:v>
                      </c:pt>
                      <c:pt idx="3728">
                        <c:v>382.21128140000002</c:v>
                      </c:pt>
                      <c:pt idx="3729">
                        <c:v>382.18192770000002</c:v>
                      </c:pt>
                      <c:pt idx="3730">
                        <c:v>381.92020789999998</c:v>
                      </c:pt>
                      <c:pt idx="3731">
                        <c:v>381.81898860000001</c:v>
                      </c:pt>
                      <c:pt idx="3732">
                        <c:v>381.81842189999998</c:v>
                      </c:pt>
                      <c:pt idx="3733">
                        <c:v>381.8038032</c:v>
                      </c:pt>
                      <c:pt idx="3734">
                        <c:v>381.78963499999998</c:v>
                      </c:pt>
                      <c:pt idx="3735">
                        <c:v>381.7749</c:v>
                      </c:pt>
                      <c:pt idx="3736">
                        <c:v>382.1952915</c:v>
                      </c:pt>
                      <c:pt idx="3737">
                        <c:v>382.6124069</c:v>
                      </c:pt>
                      <c:pt idx="3738">
                        <c:v>382.8316911</c:v>
                      </c:pt>
                      <c:pt idx="3739">
                        <c:v>383.03945620000002</c:v>
                      </c:pt>
                      <c:pt idx="3740">
                        <c:v>383.45488080000001</c:v>
                      </c:pt>
                      <c:pt idx="3741">
                        <c:v>383.67416489999999</c:v>
                      </c:pt>
                      <c:pt idx="3742">
                        <c:v>384.31045879999999</c:v>
                      </c:pt>
                      <c:pt idx="3743">
                        <c:v>384.5215</c:v>
                      </c:pt>
                      <c:pt idx="3744">
                        <c:v>382.03700090000001</c:v>
                      </c:pt>
                      <c:pt idx="3745">
                        <c:v>381.7749</c:v>
                      </c:pt>
                      <c:pt idx="3746">
                        <c:v>382.68756200000001</c:v>
                      </c:pt>
                      <c:pt idx="3747">
                        <c:v>382.69040000000001</c:v>
                      </c:pt>
                      <c:pt idx="3748">
                        <c:v>382.72974959999999</c:v>
                      </c:pt>
                      <c:pt idx="3749">
                        <c:v>382.73103140000001</c:v>
                      </c:pt>
                      <c:pt idx="3750">
                        <c:v>382.7697503</c:v>
                      </c:pt>
                      <c:pt idx="3751">
                        <c:v>382.81196870000002</c:v>
                      </c:pt>
                      <c:pt idx="3752">
                        <c:v>382.97321269999998</c:v>
                      </c:pt>
                      <c:pt idx="3753">
                        <c:v>383.13793579999998</c:v>
                      </c:pt>
                      <c:pt idx="3754">
                        <c:v>383.17793649999999</c:v>
                      </c:pt>
                      <c:pt idx="3755">
                        <c:v>383.29917970000002</c:v>
                      </c:pt>
                      <c:pt idx="3756">
                        <c:v>383.38137840000002</c:v>
                      </c:pt>
                      <c:pt idx="3757">
                        <c:v>383.38202949999999</c:v>
                      </c:pt>
                      <c:pt idx="3758">
                        <c:v>383.42137910000002</c:v>
                      </c:pt>
                      <c:pt idx="3759">
                        <c:v>383.46390280000003</c:v>
                      </c:pt>
                      <c:pt idx="3760">
                        <c:v>383.50357789999998</c:v>
                      </c:pt>
                      <c:pt idx="3761">
                        <c:v>383.54484009999999</c:v>
                      </c:pt>
                      <c:pt idx="3762">
                        <c:v>383.62610289999998</c:v>
                      </c:pt>
                      <c:pt idx="3763">
                        <c:v>383.70608399999998</c:v>
                      </c:pt>
                      <c:pt idx="3764">
                        <c:v>383.78830310000001</c:v>
                      </c:pt>
                      <c:pt idx="3765">
                        <c:v>383.8282835</c:v>
                      </c:pt>
                      <c:pt idx="3766">
                        <c:v>383.91050259999997</c:v>
                      </c:pt>
                      <c:pt idx="3767">
                        <c:v>383.9504829</c:v>
                      </c:pt>
                      <c:pt idx="3768">
                        <c:v>384.15520679999997</c:v>
                      </c:pt>
                      <c:pt idx="3769">
                        <c:v>384.48086860000001</c:v>
                      </c:pt>
                      <c:pt idx="3770">
                        <c:v>384.5215</c:v>
                      </c:pt>
                      <c:pt idx="3771">
                        <c:v>383.60590000000002</c:v>
                      </c:pt>
                      <c:pt idx="3772">
                        <c:v>383.60590000000002</c:v>
                      </c:pt>
                      <c:pt idx="3773">
                        <c:v>383.60590000000002</c:v>
                      </c:pt>
                      <c:pt idx="3774">
                        <c:v>383.60590000000002</c:v>
                      </c:pt>
                      <c:pt idx="3775">
                        <c:v>383.60590000000002</c:v>
                      </c:pt>
                      <c:pt idx="3776">
                        <c:v>383.60590000000002</c:v>
                      </c:pt>
                      <c:pt idx="3777">
                        <c:v>383.60590000000002</c:v>
                      </c:pt>
                      <c:pt idx="3778">
                        <c:v>383.60590000000002</c:v>
                      </c:pt>
                      <c:pt idx="3779">
                        <c:v>383.60590000000002</c:v>
                      </c:pt>
                      <c:pt idx="3780">
                        <c:v>383.60590000000002</c:v>
                      </c:pt>
                      <c:pt idx="3781">
                        <c:v>383.60590000000002</c:v>
                      </c:pt>
                      <c:pt idx="3782">
                        <c:v>383.60590000000002</c:v>
                      </c:pt>
                      <c:pt idx="3783">
                        <c:v>383.60590000000002</c:v>
                      </c:pt>
                      <c:pt idx="3784">
                        <c:v>383.60590000000002</c:v>
                      </c:pt>
                      <c:pt idx="3785">
                        <c:v>383.60590000000002</c:v>
                      </c:pt>
                      <c:pt idx="3786">
                        <c:v>383.60590000000002</c:v>
                      </c:pt>
                      <c:pt idx="3787">
                        <c:v>383.60590000000002</c:v>
                      </c:pt>
                      <c:pt idx="3788">
                        <c:v>383.60590000000002</c:v>
                      </c:pt>
                      <c:pt idx="3789">
                        <c:v>383.60590000000002</c:v>
                      </c:pt>
                      <c:pt idx="3790">
                        <c:v>383.60590000000002</c:v>
                      </c:pt>
                      <c:pt idx="3791">
                        <c:v>383.60590000000002</c:v>
                      </c:pt>
                      <c:pt idx="3792">
                        <c:v>383.60590000000002</c:v>
                      </c:pt>
                      <c:pt idx="3793">
                        <c:v>383.60590000000002</c:v>
                      </c:pt>
                      <c:pt idx="3794">
                        <c:v>383.60590000000002</c:v>
                      </c:pt>
                      <c:pt idx="3795">
                        <c:v>383.60590000000002</c:v>
                      </c:pt>
                      <c:pt idx="3796">
                        <c:v>383.60590000000002</c:v>
                      </c:pt>
                      <c:pt idx="3797">
                        <c:v>383.60590000000002</c:v>
                      </c:pt>
                      <c:pt idx="3798">
                        <c:v>383.60590000000002</c:v>
                      </c:pt>
                      <c:pt idx="3799">
                        <c:v>383.60590000000002</c:v>
                      </c:pt>
                      <c:pt idx="3800">
                        <c:v>383.06751309999999</c:v>
                      </c:pt>
                      <c:pt idx="3801">
                        <c:v>381.88327729999997</c:v>
                      </c:pt>
                      <c:pt idx="3802">
                        <c:v>381.7749</c:v>
                      </c:pt>
                      <c:pt idx="3803">
                        <c:v>384.5215</c:v>
                      </c:pt>
                      <c:pt idx="3804">
                        <c:v>380.85939999999999</c:v>
                      </c:pt>
                      <c:pt idx="3805">
                        <c:v>381.45006130000002</c:v>
                      </c:pt>
                      <c:pt idx="3806">
                        <c:v>384.5215</c:v>
                      </c:pt>
                      <c:pt idx="3807">
                        <c:v>384.5215</c:v>
                      </c:pt>
                      <c:pt idx="3808">
                        <c:v>384.5215</c:v>
                      </c:pt>
                      <c:pt idx="3809">
                        <c:v>384.5215</c:v>
                      </c:pt>
                      <c:pt idx="3810">
                        <c:v>382.69040000000001</c:v>
                      </c:pt>
                      <c:pt idx="3811">
                        <c:v>382.69040000000001</c:v>
                      </c:pt>
                      <c:pt idx="3812">
                        <c:v>382.69040000000001</c:v>
                      </c:pt>
                      <c:pt idx="3813">
                        <c:v>382.69040000000001</c:v>
                      </c:pt>
                      <c:pt idx="3814">
                        <c:v>382.69040000000001</c:v>
                      </c:pt>
                      <c:pt idx="3815">
                        <c:v>382.69040000000001</c:v>
                      </c:pt>
                      <c:pt idx="3816">
                        <c:v>382.69040000000001</c:v>
                      </c:pt>
                      <c:pt idx="3817">
                        <c:v>382.69040000000001</c:v>
                      </c:pt>
                      <c:pt idx="3818">
                        <c:v>382.69040000000001</c:v>
                      </c:pt>
                      <c:pt idx="3819">
                        <c:v>382.69040000000001</c:v>
                      </c:pt>
                      <c:pt idx="3820">
                        <c:v>382.69040000000001</c:v>
                      </c:pt>
                      <c:pt idx="3821">
                        <c:v>382.69040000000001</c:v>
                      </c:pt>
                      <c:pt idx="3822">
                        <c:v>382.69040000000001</c:v>
                      </c:pt>
                      <c:pt idx="3823">
                        <c:v>382.69040000000001</c:v>
                      </c:pt>
                      <c:pt idx="3824">
                        <c:v>382.69040000000001</c:v>
                      </c:pt>
                      <c:pt idx="3825">
                        <c:v>382.69040000000001</c:v>
                      </c:pt>
                      <c:pt idx="3826">
                        <c:v>382.69040000000001</c:v>
                      </c:pt>
                      <c:pt idx="3827">
                        <c:v>382.69040000000001</c:v>
                      </c:pt>
                      <c:pt idx="3828">
                        <c:v>382.69040000000001</c:v>
                      </c:pt>
                      <c:pt idx="3829">
                        <c:v>382.69040000000001</c:v>
                      </c:pt>
                      <c:pt idx="3830">
                        <c:v>382.69040000000001</c:v>
                      </c:pt>
                      <c:pt idx="3831">
                        <c:v>382.69040000000001</c:v>
                      </c:pt>
                      <c:pt idx="3832">
                        <c:v>382.69040000000001</c:v>
                      </c:pt>
                      <c:pt idx="3833">
                        <c:v>382.69040000000001</c:v>
                      </c:pt>
                      <c:pt idx="3834">
                        <c:v>382.69040000000001</c:v>
                      </c:pt>
                      <c:pt idx="3835">
                        <c:v>382.69040000000001</c:v>
                      </c:pt>
                      <c:pt idx="3836">
                        <c:v>382.69040000000001</c:v>
                      </c:pt>
                      <c:pt idx="3837">
                        <c:v>382.69040000000001</c:v>
                      </c:pt>
                      <c:pt idx="3838">
                        <c:v>382.69040000000001</c:v>
                      </c:pt>
                      <c:pt idx="3839">
                        <c:v>382.69040000000001</c:v>
                      </c:pt>
                      <c:pt idx="3840">
                        <c:v>382.69040000000001</c:v>
                      </c:pt>
                      <c:pt idx="3841">
                        <c:v>382.69040000000001</c:v>
                      </c:pt>
                      <c:pt idx="3842">
                        <c:v>382.69040000000001</c:v>
                      </c:pt>
                      <c:pt idx="3843">
                        <c:v>382.69040000000001</c:v>
                      </c:pt>
                      <c:pt idx="3844">
                        <c:v>382.69040000000001</c:v>
                      </c:pt>
                      <c:pt idx="3845">
                        <c:v>382.69040000000001</c:v>
                      </c:pt>
                      <c:pt idx="3846">
                        <c:v>382.69040000000001</c:v>
                      </c:pt>
                      <c:pt idx="3847">
                        <c:v>382.69040000000001</c:v>
                      </c:pt>
                      <c:pt idx="3848">
                        <c:v>382.69040000000001</c:v>
                      </c:pt>
                      <c:pt idx="3849">
                        <c:v>382.69040000000001</c:v>
                      </c:pt>
                      <c:pt idx="3850">
                        <c:v>382.69040000000001</c:v>
                      </c:pt>
                      <c:pt idx="3851">
                        <c:v>382.69040000000001</c:v>
                      </c:pt>
                      <c:pt idx="3852">
                        <c:v>382.69040000000001</c:v>
                      </c:pt>
                      <c:pt idx="3853">
                        <c:v>382.69040000000001</c:v>
                      </c:pt>
                      <c:pt idx="3854">
                        <c:v>382.69040000000001</c:v>
                      </c:pt>
                      <c:pt idx="3855">
                        <c:v>382.69040000000001</c:v>
                      </c:pt>
                      <c:pt idx="3856">
                        <c:v>382.69040000000001</c:v>
                      </c:pt>
                      <c:pt idx="3857">
                        <c:v>382.69040000000001</c:v>
                      </c:pt>
                      <c:pt idx="3858">
                        <c:v>382.69040000000001</c:v>
                      </c:pt>
                      <c:pt idx="3859">
                        <c:v>382.69040000000001</c:v>
                      </c:pt>
                      <c:pt idx="3860">
                        <c:v>382.69040000000001</c:v>
                      </c:pt>
                      <c:pt idx="3861">
                        <c:v>382.69040000000001</c:v>
                      </c:pt>
                      <c:pt idx="3862">
                        <c:v>382.69040000000001</c:v>
                      </c:pt>
                      <c:pt idx="3863">
                        <c:v>382.69040000000001</c:v>
                      </c:pt>
                      <c:pt idx="3864">
                        <c:v>382.69040000000001</c:v>
                      </c:pt>
                      <c:pt idx="3865">
                        <c:v>382.69040000000001</c:v>
                      </c:pt>
                      <c:pt idx="3866">
                        <c:v>382.69040000000001</c:v>
                      </c:pt>
                      <c:pt idx="3867">
                        <c:v>382.69040000000001</c:v>
                      </c:pt>
                      <c:pt idx="3868">
                        <c:v>382.69040000000001</c:v>
                      </c:pt>
                      <c:pt idx="3869">
                        <c:v>380.85939999999999</c:v>
                      </c:pt>
                      <c:pt idx="3870">
                        <c:v>382.69040000000001</c:v>
                      </c:pt>
                      <c:pt idx="3871">
                        <c:v>382.69040000000001</c:v>
                      </c:pt>
                      <c:pt idx="3872">
                        <c:v>382.69040000000001</c:v>
                      </c:pt>
                      <c:pt idx="3873">
                        <c:v>382.69040000000001</c:v>
                      </c:pt>
                      <c:pt idx="3874">
                        <c:v>382.69040000000001</c:v>
                      </c:pt>
                      <c:pt idx="3875">
                        <c:v>382.69040000000001</c:v>
                      </c:pt>
                      <c:pt idx="3876">
                        <c:v>382.69040000000001</c:v>
                      </c:pt>
                      <c:pt idx="3877">
                        <c:v>382.69040000000001</c:v>
                      </c:pt>
                      <c:pt idx="3878">
                        <c:v>382.69040000000001</c:v>
                      </c:pt>
                      <c:pt idx="3879">
                        <c:v>382.69040000000001</c:v>
                      </c:pt>
                      <c:pt idx="3880">
                        <c:v>382.69040000000001</c:v>
                      </c:pt>
                      <c:pt idx="3881">
                        <c:v>382.69040000000001</c:v>
                      </c:pt>
                      <c:pt idx="3882">
                        <c:v>382.69040000000001</c:v>
                      </c:pt>
                      <c:pt idx="3883">
                        <c:v>382.69040000000001</c:v>
                      </c:pt>
                      <c:pt idx="3884">
                        <c:v>382.69040000000001</c:v>
                      </c:pt>
                      <c:pt idx="3885">
                        <c:v>382.69040000000001</c:v>
                      </c:pt>
                      <c:pt idx="3886">
                        <c:v>382.69040000000001</c:v>
                      </c:pt>
                      <c:pt idx="3887">
                        <c:v>382.69040000000001</c:v>
                      </c:pt>
                      <c:pt idx="3888">
                        <c:v>382.69040000000001</c:v>
                      </c:pt>
                      <c:pt idx="3889">
                        <c:v>382.69040000000001</c:v>
                      </c:pt>
                      <c:pt idx="3890">
                        <c:v>382.69040000000001</c:v>
                      </c:pt>
                      <c:pt idx="3891">
                        <c:v>382.69040000000001</c:v>
                      </c:pt>
                      <c:pt idx="3892">
                        <c:v>382.69040000000001</c:v>
                      </c:pt>
                      <c:pt idx="3893">
                        <c:v>382.69040000000001</c:v>
                      </c:pt>
                      <c:pt idx="3894">
                        <c:v>382.69040000000001</c:v>
                      </c:pt>
                      <c:pt idx="3895">
                        <c:v>382.69040000000001</c:v>
                      </c:pt>
                      <c:pt idx="3896">
                        <c:v>382.69040000000001</c:v>
                      </c:pt>
                      <c:pt idx="3897">
                        <c:v>382.69040000000001</c:v>
                      </c:pt>
                      <c:pt idx="3898">
                        <c:v>382.69040000000001</c:v>
                      </c:pt>
                      <c:pt idx="3899">
                        <c:v>382.69040000000001</c:v>
                      </c:pt>
                      <c:pt idx="3900">
                        <c:v>382.69040000000001</c:v>
                      </c:pt>
                      <c:pt idx="3901">
                        <c:v>382.69040000000001</c:v>
                      </c:pt>
                      <c:pt idx="3902">
                        <c:v>382.69040000000001</c:v>
                      </c:pt>
                      <c:pt idx="3903">
                        <c:v>382.69040000000001</c:v>
                      </c:pt>
                      <c:pt idx="3904">
                        <c:v>382.69040000000001</c:v>
                      </c:pt>
                      <c:pt idx="3905">
                        <c:v>382.69040000000001</c:v>
                      </c:pt>
                      <c:pt idx="3906">
                        <c:v>382.69040000000001</c:v>
                      </c:pt>
                      <c:pt idx="3907">
                        <c:v>382.69040000000001</c:v>
                      </c:pt>
                      <c:pt idx="3908">
                        <c:v>382.69040000000001</c:v>
                      </c:pt>
                      <c:pt idx="3909">
                        <c:v>382.69040000000001</c:v>
                      </c:pt>
                      <c:pt idx="3910">
                        <c:v>382.69040000000001</c:v>
                      </c:pt>
                      <c:pt idx="3911">
                        <c:v>382.69040000000001</c:v>
                      </c:pt>
                      <c:pt idx="3912">
                        <c:v>382.69040000000001</c:v>
                      </c:pt>
                      <c:pt idx="3913">
                        <c:v>382.69040000000001</c:v>
                      </c:pt>
                      <c:pt idx="3914">
                        <c:v>382.69040000000001</c:v>
                      </c:pt>
                      <c:pt idx="3915">
                        <c:v>382.69040000000001</c:v>
                      </c:pt>
                      <c:pt idx="3916">
                        <c:v>382.69040000000001</c:v>
                      </c:pt>
                      <c:pt idx="3917">
                        <c:v>382.69040000000001</c:v>
                      </c:pt>
                      <c:pt idx="3918">
                        <c:v>382.69040000000001</c:v>
                      </c:pt>
                      <c:pt idx="3919">
                        <c:v>382.69040000000001</c:v>
                      </c:pt>
                      <c:pt idx="3920">
                        <c:v>382.69040000000001</c:v>
                      </c:pt>
                      <c:pt idx="3921">
                        <c:v>382.69040000000001</c:v>
                      </c:pt>
                      <c:pt idx="3922">
                        <c:v>382.69040000000001</c:v>
                      </c:pt>
                      <c:pt idx="3923">
                        <c:v>382.69040000000001</c:v>
                      </c:pt>
                      <c:pt idx="3924">
                        <c:v>382.69040000000001</c:v>
                      </c:pt>
                      <c:pt idx="3925">
                        <c:v>382.69040000000001</c:v>
                      </c:pt>
                      <c:pt idx="3926">
                        <c:v>382.69040000000001</c:v>
                      </c:pt>
                      <c:pt idx="3927">
                        <c:v>382.69040000000001</c:v>
                      </c:pt>
                      <c:pt idx="3928">
                        <c:v>382.69040000000001</c:v>
                      </c:pt>
                      <c:pt idx="3929">
                        <c:v>382.69040000000001</c:v>
                      </c:pt>
                      <c:pt idx="3930">
                        <c:v>382.69040000000001</c:v>
                      </c:pt>
                      <c:pt idx="3931">
                        <c:v>382.69040000000001</c:v>
                      </c:pt>
                      <c:pt idx="3932">
                        <c:v>382.69040000000001</c:v>
                      </c:pt>
                      <c:pt idx="3933">
                        <c:v>382.69040000000001</c:v>
                      </c:pt>
                      <c:pt idx="3934">
                        <c:v>382.69040000000001</c:v>
                      </c:pt>
                      <c:pt idx="3935">
                        <c:v>382.69040000000001</c:v>
                      </c:pt>
                      <c:pt idx="3936">
                        <c:v>382.69040000000001</c:v>
                      </c:pt>
                      <c:pt idx="3937">
                        <c:v>382.69040000000001</c:v>
                      </c:pt>
                      <c:pt idx="3938">
                        <c:v>382.69040000000001</c:v>
                      </c:pt>
                      <c:pt idx="3939">
                        <c:v>382.69040000000001</c:v>
                      </c:pt>
                      <c:pt idx="3940">
                        <c:v>382.69040000000001</c:v>
                      </c:pt>
                      <c:pt idx="3941">
                        <c:v>382.69040000000001</c:v>
                      </c:pt>
                      <c:pt idx="3942">
                        <c:v>382.69040000000001</c:v>
                      </c:pt>
                      <c:pt idx="3943">
                        <c:v>382.69040000000001</c:v>
                      </c:pt>
                      <c:pt idx="3944">
                        <c:v>382.69040000000001</c:v>
                      </c:pt>
                      <c:pt idx="3945">
                        <c:v>382.69040000000001</c:v>
                      </c:pt>
                      <c:pt idx="3946">
                        <c:v>382.69040000000001</c:v>
                      </c:pt>
                      <c:pt idx="3947">
                        <c:v>382.69040000000001</c:v>
                      </c:pt>
                      <c:pt idx="3948">
                        <c:v>382.69040000000001</c:v>
                      </c:pt>
                      <c:pt idx="3949">
                        <c:v>382.69040000000001</c:v>
                      </c:pt>
                      <c:pt idx="3950">
                        <c:v>382.69040000000001</c:v>
                      </c:pt>
                      <c:pt idx="3951">
                        <c:v>382.69040000000001</c:v>
                      </c:pt>
                      <c:pt idx="3952">
                        <c:v>382.69040000000001</c:v>
                      </c:pt>
                      <c:pt idx="3953">
                        <c:v>382.69040000000001</c:v>
                      </c:pt>
                      <c:pt idx="3954">
                        <c:v>382.69040000000001</c:v>
                      </c:pt>
                      <c:pt idx="3955">
                        <c:v>382.69040000000001</c:v>
                      </c:pt>
                      <c:pt idx="3956">
                        <c:v>382.69040000000001</c:v>
                      </c:pt>
                      <c:pt idx="3957">
                        <c:v>382.69040000000001</c:v>
                      </c:pt>
                      <c:pt idx="3958">
                        <c:v>382.69040000000001</c:v>
                      </c:pt>
                      <c:pt idx="3959">
                        <c:v>382.69040000000001</c:v>
                      </c:pt>
                      <c:pt idx="3960">
                        <c:v>382.69040000000001</c:v>
                      </c:pt>
                      <c:pt idx="3961">
                        <c:v>382.69040000000001</c:v>
                      </c:pt>
                      <c:pt idx="3962">
                        <c:v>382.69040000000001</c:v>
                      </c:pt>
                      <c:pt idx="3963">
                        <c:v>382.69040000000001</c:v>
                      </c:pt>
                      <c:pt idx="3964">
                        <c:v>382.69040000000001</c:v>
                      </c:pt>
                      <c:pt idx="3965">
                        <c:v>382.69040000000001</c:v>
                      </c:pt>
                      <c:pt idx="3966">
                        <c:v>382.69040000000001</c:v>
                      </c:pt>
                      <c:pt idx="3967">
                        <c:v>382.69040000000001</c:v>
                      </c:pt>
                      <c:pt idx="3968">
                        <c:v>382.69040000000001</c:v>
                      </c:pt>
                      <c:pt idx="3969">
                        <c:v>382.69040000000001</c:v>
                      </c:pt>
                      <c:pt idx="3970">
                        <c:v>382.69040000000001</c:v>
                      </c:pt>
                      <c:pt idx="3971">
                        <c:v>382.69040000000001</c:v>
                      </c:pt>
                      <c:pt idx="3972">
                        <c:v>382.69040000000001</c:v>
                      </c:pt>
                      <c:pt idx="3973">
                        <c:v>382.69040000000001</c:v>
                      </c:pt>
                      <c:pt idx="3974">
                        <c:v>382.69040000000001</c:v>
                      </c:pt>
                      <c:pt idx="3975">
                        <c:v>382.69040000000001</c:v>
                      </c:pt>
                      <c:pt idx="3976">
                        <c:v>382.69040000000001</c:v>
                      </c:pt>
                      <c:pt idx="3977">
                        <c:v>382.69040000000001</c:v>
                      </c:pt>
                      <c:pt idx="3978">
                        <c:v>382.69040000000001</c:v>
                      </c:pt>
                      <c:pt idx="3979">
                        <c:v>382.69040000000001</c:v>
                      </c:pt>
                      <c:pt idx="3980">
                        <c:v>382.69040000000001</c:v>
                      </c:pt>
                      <c:pt idx="3981">
                        <c:v>382.69040000000001</c:v>
                      </c:pt>
                      <c:pt idx="3982">
                        <c:v>382.69040000000001</c:v>
                      </c:pt>
                      <c:pt idx="3983">
                        <c:v>382.69040000000001</c:v>
                      </c:pt>
                      <c:pt idx="3984">
                        <c:v>382.69040000000001</c:v>
                      </c:pt>
                      <c:pt idx="3985">
                        <c:v>382.69040000000001</c:v>
                      </c:pt>
                      <c:pt idx="3986">
                        <c:v>382.69040000000001</c:v>
                      </c:pt>
                      <c:pt idx="3987">
                        <c:v>382.69040000000001</c:v>
                      </c:pt>
                      <c:pt idx="3988">
                        <c:v>382.69040000000001</c:v>
                      </c:pt>
                      <c:pt idx="3989">
                        <c:v>382.69040000000001</c:v>
                      </c:pt>
                      <c:pt idx="3990">
                        <c:v>382.69040000000001</c:v>
                      </c:pt>
                      <c:pt idx="3991">
                        <c:v>382.69040000000001</c:v>
                      </c:pt>
                      <c:pt idx="3992">
                        <c:v>382.69040000000001</c:v>
                      </c:pt>
                      <c:pt idx="3993">
                        <c:v>382.69040000000001</c:v>
                      </c:pt>
                      <c:pt idx="3994">
                        <c:v>382.69040000000001</c:v>
                      </c:pt>
                      <c:pt idx="3995">
                        <c:v>382.69040000000001</c:v>
                      </c:pt>
                      <c:pt idx="3996">
                        <c:v>382.69040000000001</c:v>
                      </c:pt>
                      <c:pt idx="3997">
                        <c:v>382.69040000000001</c:v>
                      </c:pt>
                      <c:pt idx="3998">
                        <c:v>382.69040000000001</c:v>
                      </c:pt>
                      <c:pt idx="3999">
                        <c:v>382.69040000000001</c:v>
                      </c:pt>
                      <c:pt idx="4000">
                        <c:v>382.69040000000001</c:v>
                      </c:pt>
                      <c:pt idx="4001">
                        <c:v>382.69040000000001</c:v>
                      </c:pt>
                      <c:pt idx="4002">
                        <c:v>382.69040000000001</c:v>
                      </c:pt>
                      <c:pt idx="4003">
                        <c:v>382.69040000000001</c:v>
                      </c:pt>
                      <c:pt idx="4004">
                        <c:v>382.69040000000001</c:v>
                      </c:pt>
                      <c:pt idx="4005">
                        <c:v>382.69040000000001</c:v>
                      </c:pt>
                      <c:pt idx="4006">
                        <c:v>382.69040000000001</c:v>
                      </c:pt>
                      <c:pt idx="4007">
                        <c:v>382.77347589999999</c:v>
                      </c:pt>
                      <c:pt idx="4008">
                        <c:v>383.60590000000002</c:v>
                      </c:pt>
                      <c:pt idx="4009">
                        <c:v>383.60590000000002</c:v>
                      </c:pt>
                      <c:pt idx="4010">
                        <c:v>383.60590000000002</c:v>
                      </c:pt>
                      <c:pt idx="4011">
                        <c:v>383.60590000000002</c:v>
                      </c:pt>
                      <c:pt idx="4012">
                        <c:v>383.60590000000002</c:v>
                      </c:pt>
                      <c:pt idx="4013">
                        <c:v>383.60590000000002</c:v>
                      </c:pt>
                      <c:pt idx="4014">
                        <c:v>383.60590000000002</c:v>
                      </c:pt>
                      <c:pt idx="4015">
                        <c:v>383.60590000000002</c:v>
                      </c:pt>
                      <c:pt idx="4016">
                        <c:v>383.60590000000002</c:v>
                      </c:pt>
                      <c:pt idx="4017">
                        <c:v>383.60590000000002</c:v>
                      </c:pt>
                      <c:pt idx="4018">
                        <c:v>383.60590000000002</c:v>
                      </c:pt>
                      <c:pt idx="4019">
                        <c:v>383.60590000000002</c:v>
                      </c:pt>
                      <c:pt idx="4020">
                        <c:v>383.60590000000002</c:v>
                      </c:pt>
                      <c:pt idx="4021">
                        <c:v>383.60590000000002</c:v>
                      </c:pt>
                      <c:pt idx="4022">
                        <c:v>383.60590000000002</c:v>
                      </c:pt>
                      <c:pt idx="4023">
                        <c:v>383.60590000000002</c:v>
                      </c:pt>
                      <c:pt idx="4024">
                        <c:v>383.60590000000002</c:v>
                      </c:pt>
                      <c:pt idx="4025">
                        <c:v>383.60590000000002</c:v>
                      </c:pt>
                      <c:pt idx="4026">
                        <c:v>383.60590000000002</c:v>
                      </c:pt>
                      <c:pt idx="4027">
                        <c:v>383.60590000000002</c:v>
                      </c:pt>
                      <c:pt idx="4028">
                        <c:v>383.60590000000002</c:v>
                      </c:pt>
                      <c:pt idx="4029">
                        <c:v>383.60590000000002</c:v>
                      </c:pt>
                      <c:pt idx="4030">
                        <c:v>383.60590000000002</c:v>
                      </c:pt>
                      <c:pt idx="4031">
                        <c:v>383.60590000000002</c:v>
                      </c:pt>
                      <c:pt idx="4032">
                        <c:v>383.60590000000002</c:v>
                      </c:pt>
                      <c:pt idx="4033">
                        <c:v>383.60590000000002</c:v>
                      </c:pt>
                      <c:pt idx="4034">
                        <c:v>383.60590000000002</c:v>
                      </c:pt>
                      <c:pt idx="4035">
                        <c:v>383.60590000000002</c:v>
                      </c:pt>
                      <c:pt idx="4036">
                        <c:v>383.60590000000002</c:v>
                      </c:pt>
                      <c:pt idx="4037">
                        <c:v>383.60590000000002</c:v>
                      </c:pt>
                      <c:pt idx="4038">
                        <c:v>383.60590000000002</c:v>
                      </c:pt>
                      <c:pt idx="4039">
                        <c:v>383.60590000000002</c:v>
                      </c:pt>
                      <c:pt idx="4040">
                        <c:v>383.60590000000002</c:v>
                      </c:pt>
                      <c:pt idx="4041">
                        <c:v>383.60590000000002</c:v>
                      </c:pt>
                      <c:pt idx="4042">
                        <c:v>383.60590000000002</c:v>
                      </c:pt>
                      <c:pt idx="4043">
                        <c:v>383.60590000000002</c:v>
                      </c:pt>
                      <c:pt idx="4044">
                        <c:v>383.58710400000001</c:v>
                      </c:pt>
                      <c:pt idx="4045">
                        <c:v>383.4563824</c:v>
                      </c:pt>
                      <c:pt idx="4046">
                        <c:v>383.4383057</c:v>
                      </c:pt>
                      <c:pt idx="4047">
                        <c:v>383.41878109999999</c:v>
                      </c:pt>
                      <c:pt idx="4048">
                        <c:v>383.40070450000002</c:v>
                      </c:pt>
                      <c:pt idx="4049">
                        <c:v>383.3629631</c:v>
                      </c:pt>
                      <c:pt idx="4050">
                        <c:v>383.34445670000002</c:v>
                      </c:pt>
                      <c:pt idx="4051">
                        <c:v>383.32609050000002</c:v>
                      </c:pt>
                      <c:pt idx="4052">
                        <c:v>383.26984270000003</c:v>
                      </c:pt>
                      <c:pt idx="4053">
                        <c:v>383.2514764</c:v>
                      </c:pt>
                      <c:pt idx="4054">
                        <c:v>383.2320919</c:v>
                      </c:pt>
                      <c:pt idx="4055">
                        <c:v>383.2137257</c:v>
                      </c:pt>
                      <c:pt idx="4056">
                        <c:v>383.21343610000002</c:v>
                      </c:pt>
                      <c:pt idx="4057">
                        <c:v>383.17598429999998</c:v>
                      </c:pt>
                      <c:pt idx="4058">
                        <c:v>383.15761800000001</c:v>
                      </c:pt>
                      <c:pt idx="4059">
                        <c:v>383.13926120000002</c:v>
                      </c:pt>
                      <c:pt idx="4060">
                        <c:v>383.12031569999999</c:v>
                      </c:pt>
                      <c:pt idx="4061">
                        <c:v>383.10194949999999</c:v>
                      </c:pt>
                      <c:pt idx="4062">
                        <c:v>383.10137029999999</c:v>
                      </c:pt>
                      <c:pt idx="4063">
                        <c:v>383.08256499999999</c:v>
                      </c:pt>
                      <c:pt idx="4064">
                        <c:v>383.06420809999997</c:v>
                      </c:pt>
                      <c:pt idx="4065">
                        <c:v>383.02733549999999</c:v>
                      </c:pt>
                      <c:pt idx="4066">
                        <c:v>383.00795099999999</c:v>
                      </c:pt>
                      <c:pt idx="4067">
                        <c:v>382.98944460000001</c:v>
                      </c:pt>
                      <c:pt idx="4068">
                        <c:v>382.97107829999999</c:v>
                      </c:pt>
                      <c:pt idx="4069">
                        <c:v>382.89617470000002</c:v>
                      </c:pt>
                      <c:pt idx="4070">
                        <c:v>382.89588509999999</c:v>
                      </c:pt>
                      <c:pt idx="4071">
                        <c:v>382.8400671</c:v>
                      </c:pt>
                      <c:pt idx="4072">
                        <c:v>382.8217009</c:v>
                      </c:pt>
                      <c:pt idx="4073">
                        <c:v>382.80231629999997</c:v>
                      </c:pt>
                      <c:pt idx="4074">
                        <c:v>382.78395940000001</c:v>
                      </c:pt>
                      <c:pt idx="4075">
                        <c:v>382.76559320000001</c:v>
                      </c:pt>
                      <c:pt idx="4076">
                        <c:v>382.74708679999998</c:v>
                      </c:pt>
                      <c:pt idx="4077">
                        <c:v>382.70934540000002</c:v>
                      </c:pt>
                      <c:pt idx="4078">
                        <c:v>382.69097920000002</c:v>
                      </c:pt>
                      <c:pt idx="4079">
                        <c:v>382.69040000000001</c:v>
                      </c:pt>
                      <c:pt idx="4080">
                        <c:v>382.69040000000001</c:v>
                      </c:pt>
                      <c:pt idx="4081">
                        <c:v>382.69040000000001</c:v>
                      </c:pt>
                      <c:pt idx="4082">
                        <c:v>382.69040000000001</c:v>
                      </c:pt>
                      <c:pt idx="4083">
                        <c:v>382.69040000000001</c:v>
                      </c:pt>
                      <c:pt idx="4084">
                        <c:v>382.69040000000001</c:v>
                      </c:pt>
                      <c:pt idx="4085">
                        <c:v>382.69040000000001</c:v>
                      </c:pt>
                      <c:pt idx="4086">
                        <c:v>382.69040000000001</c:v>
                      </c:pt>
                      <c:pt idx="4087">
                        <c:v>382.69040000000001</c:v>
                      </c:pt>
                      <c:pt idx="4088">
                        <c:v>382.69040000000001</c:v>
                      </c:pt>
                      <c:pt idx="4089">
                        <c:v>382.69040000000001</c:v>
                      </c:pt>
                      <c:pt idx="4090">
                        <c:v>382.69040000000001</c:v>
                      </c:pt>
                      <c:pt idx="4091">
                        <c:v>382.69040000000001</c:v>
                      </c:pt>
                      <c:pt idx="4092">
                        <c:v>382.69040000000001</c:v>
                      </c:pt>
                      <c:pt idx="4093">
                        <c:v>382.69040000000001</c:v>
                      </c:pt>
                      <c:pt idx="4094">
                        <c:v>382.69040000000001</c:v>
                      </c:pt>
                      <c:pt idx="4095">
                        <c:v>382.69040000000001</c:v>
                      </c:pt>
                      <c:pt idx="4096">
                        <c:v>382.69040000000001</c:v>
                      </c:pt>
                      <c:pt idx="4097">
                        <c:v>382.69040000000001</c:v>
                      </c:pt>
                      <c:pt idx="4098">
                        <c:v>382.69040000000001</c:v>
                      </c:pt>
                      <c:pt idx="4099">
                        <c:v>382.69040000000001</c:v>
                      </c:pt>
                      <c:pt idx="4100">
                        <c:v>382.69040000000001</c:v>
                      </c:pt>
                      <c:pt idx="4101">
                        <c:v>382.69040000000001</c:v>
                      </c:pt>
                      <c:pt idx="4102">
                        <c:v>382.69040000000001</c:v>
                      </c:pt>
                      <c:pt idx="4103">
                        <c:v>382.69040000000001</c:v>
                      </c:pt>
                      <c:pt idx="4104">
                        <c:v>382.69040000000001</c:v>
                      </c:pt>
                      <c:pt idx="4105">
                        <c:v>382.69040000000001</c:v>
                      </c:pt>
                      <c:pt idx="4106">
                        <c:v>382.69040000000001</c:v>
                      </c:pt>
                      <c:pt idx="4107">
                        <c:v>382.69040000000001</c:v>
                      </c:pt>
                      <c:pt idx="4108">
                        <c:v>382.69040000000001</c:v>
                      </c:pt>
                      <c:pt idx="4109">
                        <c:v>382.69040000000001</c:v>
                      </c:pt>
                      <c:pt idx="4110">
                        <c:v>382.69040000000001</c:v>
                      </c:pt>
                      <c:pt idx="4111">
                        <c:v>382.69040000000001</c:v>
                      </c:pt>
                      <c:pt idx="4112">
                        <c:v>382.69040000000001</c:v>
                      </c:pt>
                      <c:pt idx="4113">
                        <c:v>382.69040000000001</c:v>
                      </c:pt>
                      <c:pt idx="4114">
                        <c:v>382.69040000000001</c:v>
                      </c:pt>
                      <c:pt idx="4115">
                        <c:v>382.69040000000001</c:v>
                      </c:pt>
                      <c:pt idx="4116">
                        <c:v>382.69040000000001</c:v>
                      </c:pt>
                      <c:pt idx="4117">
                        <c:v>382.69040000000001</c:v>
                      </c:pt>
                      <c:pt idx="4118">
                        <c:v>382.69040000000001</c:v>
                      </c:pt>
                      <c:pt idx="4119">
                        <c:v>382.69040000000001</c:v>
                      </c:pt>
                      <c:pt idx="4120">
                        <c:v>382.69040000000001</c:v>
                      </c:pt>
                      <c:pt idx="4121">
                        <c:v>382.69040000000001</c:v>
                      </c:pt>
                      <c:pt idx="4122">
                        <c:v>382.69040000000001</c:v>
                      </c:pt>
                      <c:pt idx="4123">
                        <c:v>382.69040000000001</c:v>
                      </c:pt>
                      <c:pt idx="4124">
                        <c:v>382.69040000000001</c:v>
                      </c:pt>
                      <c:pt idx="4125">
                        <c:v>382.69040000000001</c:v>
                      </c:pt>
                      <c:pt idx="4126">
                        <c:v>382.69040000000001</c:v>
                      </c:pt>
                      <c:pt idx="4127">
                        <c:v>382.69040000000001</c:v>
                      </c:pt>
                      <c:pt idx="4128">
                        <c:v>382.69040000000001</c:v>
                      </c:pt>
                      <c:pt idx="4129">
                        <c:v>382.69040000000001</c:v>
                      </c:pt>
                      <c:pt idx="4130">
                        <c:v>383.30574419999999</c:v>
                      </c:pt>
                      <c:pt idx="4131">
                        <c:v>383.36904879999997</c:v>
                      </c:pt>
                      <c:pt idx="4132">
                        <c:v>383.52707329999998</c:v>
                      </c:pt>
                      <c:pt idx="4133">
                        <c:v>383.55848079999998</c:v>
                      </c:pt>
                      <c:pt idx="4134">
                        <c:v>383.6057816</c:v>
                      </c:pt>
                      <c:pt idx="4135">
                        <c:v>383.60590000000002</c:v>
                      </c:pt>
                      <c:pt idx="4136">
                        <c:v>383.7572705</c:v>
                      </c:pt>
                      <c:pt idx="4137">
                        <c:v>383.75845229999999</c:v>
                      </c:pt>
                      <c:pt idx="4138">
                        <c:v>383.79682389999999</c:v>
                      </c:pt>
                      <c:pt idx="4139">
                        <c:v>383.8726522</c:v>
                      </c:pt>
                      <c:pt idx="4140">
                        <c:v>383.90982289999999</c:v>
                      </c:pt>
                      <c:pt idx="4141">
                        <c:v>383.91100469999998</c:v>
                      </c:pt>
                      <c:pt idx="4142">
                        <c:v>384.25476689999999</c:v>
                      </c:pt>
                      <c:pt idx="4143">
                        <c:v>384.44477590000002</c:v>
                      </c:pt>
                      <c:pt idx="4144">
                        <c:v>384.5215</c:v>
                      </c:pt>
                      <c:pt idx="4145">
                        <c:v>380.85939999999999</c:v>
                      </c:pt>
                      <c:pt idx="4146">
                        <c:v>380.96710969999998</c:v>
                      </c:pt>
                      <c:pt idx="4147">
                        <c:v>381.13866969999998</c:v>
                      </c:pt>
                      <c:pt idx="4148">
                        <c:v>381.20402790000003</c:v>
                      </c:pt>
                      <c:pt idx="4149">
                        <c:v>381.3335811</c:v>
                      </c:pt>
                      <c:pt idx="4150">
                        <c:v>381.35441220000001</c:v>
                      </c:pt>
                      <c:pt idx="4151">
                        <c:v>381.37558790000003</c:v>
                      </c:pt>
                      <c:pt idx="4152">
                        <c:v>381.39792690000002</c:v>
                      </c:pt>
                      <c:pt idx="4153">
                        <c:v>381.59166429999999</c:v>
                      </c:pt>
                      <c:pt idx="4154">
                        <c:v>381.61350779999998</c:v>
                      </c:pt>
                      <c:pt idx="4155">
                        <c:v>381.63468349999999</c:v>
                      </c:pt>
                      <c:pt idx="4156">
                        <c:v>381.67753040000002</c:v>
                      </c:pt>
                      <c:pt idx="4157">
                        <c:v>381.6998802</c:v>
                      </c:pt>
                      <c:pt idx="4158">
                        <c:v>381.74255479999999</c:v>
                      </c:pt>
                      <c:pt idx="4159">
                        <c:v>381.78490620000002</c:v>
                      </c:pt>
                      <c:pt idx="4160">
                        <c:v>381.80724520000001</c:v>
                      </c:pt>
                      <c:pt idx="4161">
                        <c:v>381.82842090000003</c:v>
                      </c:pt>
                      <c:pt idx="4162">
                        <c:v>381.84959670000001</c:v>
                      </c:pt>
                      <c:pt idx="4163">
                        <c:v>381.95729560000001</c:v>
                      </c:pt>
                      <c:pt idx="4164">
                        <c:v>381.97981770000001</c:v>
                      </c:pt>
                      <c:pt idx="4165">
                        <c:v>382.0006487</c:v>
                      </c:pt>
                      <c:pt idx="4166">
                        <c:v>382.02299850000003</c:v>
                      </c:pt>
                      <c:pt idx="4167">
                        <c:v>382.0441634</c:v>
                      </c:pt>
                      <c:pt idx="4168">
                        <c:v>382.06533919999998</c:v>
                      </c:pt>
                      <c:pt idx="4169">
                        <c:v>382.08718270000003</c:v>
                      </c:pt>
                      <c:pt idx="4170">
                        <c:v>382.1080245</c:v>
                      </c:pt>
                      <c:pt idx="4171">
                        <c:v>382.17271490000002</c:v>
                      </c:pt>
                      <c:pt idx="4172">
                        <c:v>382.17338269999999</c:v>
                      </c:pt>
                      <c:pt idx="4173">
                        <c:v>382.21640200000002</c:v>
                      </c:pt>
                      <c:pt idx="4174">
                        <c:v>382.410301</c:v>
                      </c:pt>
                      <c:pt idx="4175">
                        <c:v>382.45281399999999</c:v>
                      </c:pt>
                      <c:pt idx="4176">
                        <c:v>382.4751637</c:v>
                      </c:pt>
                      <c:pt idx="4177">
                        <c:v>382.54001570000003</c:v>
                      </c:pt>
                      <c:pt idx="4178">
                        <c:v>382.6035321</c:v>
                      </c:pt>
                      <c:pt idx="4179">
                        <c:v>382.6260542</c:v>
                      </c:pt>
                      <c:pt idx="4180">
                        <c:v>382.6687288</c:v>
                      </c:pt>
                      <c:pt idx="4181">
                        <c:v>382.68990450000001</c:v>
                      </c:pt>
                      <c:pt idx="4182">
                        <c:v>382.69040000000001</c:v>
                      </c:pt>
                      <c:pt idx="4183">
                        <c:v>382.69040000000001</c:v>
                      </c:pt>
                      <c:pt idx="4184">
                        <c:v>382.69040000000001</c:v>
                      </c:pt>
                      <c:pt idx="4185">
                        <c:v>382.69040000000001</c:v>
                      </c:pt>
                      <c:pt idx="4186">
                        <c:v>382.69040000000001</c:v>
                      </c:pt>
                      <c:pt idx="4187">
                        <c:v>382.69040000000001</c:v>
                      </c:pt>
                      <c:pt idx="4188">
                        <c:v>382.69040000000001</c:v>
                      </c:pt>
                      <c:pt idx="4189">
                        <c:v>382.69040000000001</c:v>
                      </c:pt>
                      <c:pt idx="4190">
                        <c:v>382.69040000000001</c:v>
                      </c:pt>
                      <c:pt idx="4191">
                        <c:v>382.69040000000001</c:v>
                      </c:pt>
                      <c:pt idx="4192">
                        <c:v>382.69040000000001</c:v>
                      </c:pt>
                      <c:pt idx="4193">
                        <c:v>382.69040000000001</c:v>
                      </c:pt>
                      <c:pt idx="4194">
                        <c:v>382.69040000000001</c:v>
                      </c:pt>
                      <c:pt idx="4195">
                        <c:v>382.69040000000001</c:v>
                      </c:pt>
                      <c:pt idx="4196">
                        <c:v>382.69040000000001</c:v>
                      </c:pt>
                      <c:pt idx="4197">
                        <c:v>382.69040000000001</c:v>
                      </c:pt>
                      <c:pt idx="4198">
                        <c:v>382.69040000000001</c:v>
                      </c:pt>
                      <c:pt idx="4199">
                        <c:v>382.69040000000001</c:v>
                      </c:pt>
                      <c:pt idx="4200">
                        <c:v>382.69040000000001</c:v>
                      </c:pt>
                      <c:pt idx="4201">
                        <c:v>382.69040000000001</c:v>
                      </c:pt>
                      <c:pt idx="4202">
                        <c:v>382.69040000000001</c:v>
                      </c:pt>
                      <c:pt idx="4203">
                        <c:v>382.69040000000001</c:v>
                      </c:pt>
                      <c:pt idx="4204">
                        <c:v>382.69040000000001</c:v>
                      </c:pt>
                      <c:pt idx="4205">
                        <c:v>382.69040000000001</c:v>
                      </c:pt>
                      <c:pt idx="4206">
                        <c:v>382.69040000000001</c:v>
                      </c:pt>
                      <c:pt idx="4207">
                        <c:v>382.69040000000001</c:v>
                      </c:pt>
                      <c:pt idx="4208">
                        <c:v>382.69040000000001</c:v>
                      </c:pt>
                      <c:pt idx="4209">
                        <c:v>382.69040000000001</c:v>
                      </c:pt>
                      <c:pt idx="4210">
                        <c:v>382.69040000000001</c:v>
                      </c:pt>
                      <c:pt idx="4211">
                        <c:v>382.69040000000001</c:v>
                      </c:pt>
                      <c:pt idx="4212">
                        <c:v>382.69040000000001</c:v>
                      </c:pt>
                      <c:pt idx="4213">
                        <c:v>382.69040000000001</c:v>
                      </c:pt>
                      <c:pt idx="4214">
                        <c:v>382.69040000000001</c:v>
                      </c:pt>
                      <c:pt idx="4215">
                        <c:v>382.69040000000001</c:v>
                      </c:pt>
                      <c:pt idx="4216">
                        <c:v>382.69040000000001</c:v>
                      </c:pt>
                      <c:pt idx="4217">
                        <c:v>383.67626310000003</c:v>
                      </c:pt>
                      <c:pt idx="4218">
                        <c:v>384.5215</c:v>
                      </c:pt>
                      <c:pt idx="4219">
                        <c:v>380.85939999999999</c:v>
                      </c:pt>
                      <c:pt idx="4220">
                        <c:v>382.69040000000001</c:v>
                      </c:pt>
                      <c:pt idx="4221">
                        <c:v>383.60590000000002</c:v>
                      </c:pt>
                      <c:pt idx="4222">
                        <c:v>382.69040000000001</c:v>
                      </c:pt>
                      <c:pt idx="4223">
                        <c:v>385.43700000000001</c:v>
                      </c:pt>
                      <c:pt idx="4224">
                        <c:v>381.7749</c:v>
                      </c:pt>
                      <c:pt idx="4225">
                        <c:v>380.85939999999999</c:v>
                      </c:pt>
                      <c:pt idx="4226">
                        <c:v>382.69040000000001</c:v>
                      </c:pt>
                      <c:pt idx="4227">
                        <c:v>382.69040000000001</c:v>
                      </c:pt>
                      <c:pt idx="4228">
                        <c:v>385.43700000000001</c:v>
                      </c:pt>
                      <c:pt idx="4229">
                        <c:v>380.85939999999999</c:v>
                      </c:pt>
                      <c:pt idx="4230">
                        <c:v>380.85939999999999</c:v>
                      </c:pt>
                      <c:pt idx="4231">
                        <c:v>382.69040000000001</c:v>
                      </c:pt>
                      <c:pt idx="4232">
                        <c:v>381.7749</c:v>
                      </c:pt>
                      <c:pt idx="4233">
                        <c:v>382.69040000000001</c:v>
                      </c:pt>
                      <c:pt idx="4234">
                        <c:v>382.69040000000001</c:v>
                      </c:pt>
                      <c:pt idx="4235">
                        <c:v>384.5215</c:v>
                      </c:pt>
                      <c:pt idx="4236">
                        <c:v>382.69040000000001</c:v>
                      </c:pt>
                      <c:pt idx="4237">
                        <c:v>382.69040000000001</c:v>
                      </c:pt>
                      <c:pt idx="4238">
                        <c:v>382.69040000000001</c:v>
                      </c:pt>
                      <c:pt idx="4239">
                        <c:v>382.69040000000001</c:v>
                      </c:pt>
                      <c:pt idx="4240">
                        <c:v>384.5215</c:v>
                      </c:pt>
                      <c:pt idx="4241">
                        <c:v>382.69040000000001</c:v>
                      </c:pt>
                      <c:pt idx="4242">
                        <c:v>383.60590000000002</c:v>
                      </c:pt>
                      <c:pt idx="4243">
                        <c:v>382.69040000000001</c:v>
                      </c:pt>
                      <c:pt idx="4244">
                        <c:v>382.69040000000001</c:v>
                      </c:pt>
                      <c:pt idx="4245">
                        <c:v>382.69040000000001</c:v>
                      </c:pt>
                      <c:pt idx="4246">
                        <c:v>386.35250000000002</c:v>
                      </c:pt>
                      <c:pt idx="4247">
                        <c:v>383.60590000000002</c:v>
                      </c:pt>
                      <c:pt idx="4248">
                        <c:v>382.69040000000001</c:v>
                      </c:pt>
                      <c:pt idx="4249">
                        <c:v>383.60590000000002</c:v>
                      </c:pt>
                      <c:pt idx="4250">
                        <c:v>382.69040000000001</c:v>
                      </c:pt>
                      <c:pt idx="4251">
                        <c:v>383.60590000000002</c:v>
                      </c:pt>
                      <c:pt idx="4252">
                        <c:v>384.5215</c:v>
                      </c:pt>
                      <c:pt idx="4253">
                        <c:v>382.69040000000001</c:v>
                      </c:pt>
                      <c:pt idx="4254">
                        <c:v>383.60590000000002</c:v>
                      </c:pt>
                      <c:pt idx="4255">
                        <c:v>381.7749</c:v>
                      </c:pt>
                      <c:pt idx="4256">
                        <c:v>383.60590000000002</c:v>
                      </c:pt>
                      <c:pt idx="4257">
                        <c:v>382.69040000000001</c:v>
                      </c:pt>
                      <c:pt idx="4258">
                        <c:v>382.69040000000001</c:v>
                      </c:pt>
                      <c:pt idx="4259">
                        <c:v>382.69040000000001</c:v>
                      </c:pt>
                      <c:pt idx="4260">
                        <c:v>382.69040000000001</c:v>
                      </c:pt>
                      <c:pt idx="4261">
                        <c:v>385.43700000000001</c:v>
                      </c:pt>
                      <c:pt idx="4262">
                        <c:v>381.7749</c:v>
                      </c:pt>
                      <c:pt idx="4263">
                        <c:v>384.5215</c:v>
                      </c:pt>
                      <c:pt idx="4264">
                        <c:v>380.85939999999999</c:v>
                      </c:pt>
                      <c:pt idx="4265">
                        <c:v>382.69040000000001</c:v>
                      </c:pt>
                      <c:pt idx="4266">
                        <c:v>382.69040000000001</c:v>
                      </c:pt>
                      <c:pt idx="4267">
                        <c:v>382.69040000000001</c:v>
                      </c:pt>
                      <c:pt idx="4268">
                        <c:v>383.60590000000002</c:v>
                      </c:pt>
                      <c:pt idx="4269">
                        <c:v>382.69040000000001</c:v>
                      </c:pt>
                      <c:pt idx="4270">
                        <c:v>383.60590000000002</c:v>
                      </c:pt>
                      <c:pt idx="4271">
                        <c:v>383.60590000000002</c:v>
                      </c:pt>
                      <c:pt idx="4272">
                        <c:v>384.5215</c:v>
                      </c:pt>
                      <c:pt idx="4273">
                        <c:v>383.60590000000002</c:v>
                      </c:pt>
                      <c:pt idx="4274">
                        <c:v>382.69040000000001</c:v>
                      </c:pt>
                      <c:pt idx="4275">
                        <c:v>383.60590000000002</c:v>
                      </c:pt>
                      <c:pt idx="4276">
                        <c:v>385.43700000000001</c:v>
                      </c:pt>
                      <c:pt idx="4277">
                        <c:v>383.60590000000002</c:v>
                      </c:pt>
                      <c:pt idx="4278">
                        <c:v>385.43700000000001</c:v>
                      </c:pt>
                      <c:pt idx="4279">
                        <c:v>383.60590000000002</c:v>
                      </c:pt>
                      <c:pt idx="4280">
                        <c:v>383.60590000000002</c:v>
                      </c:pt>
                      <c:pt idx="4281">
                        <c:v>383.60590000000002</c:v>
                      </c:pt>
                      <c:pt idx="4282">
                        <c:v>383.60590000000002</c:v>
                      </c:pt>
                      <c:pt idx="4283">
                        <c:v>383.60590000000002</c:v>
                      </c:pt>
                      <c:pt idx="4284">
                        <c:v>383.60590000000002</c:v>
                      </c:pt>
                      <c:pt idx="4285">
                        <c:v>382.69040000000001</c:v>
                      </c:pt>
                      <c:pt idx="4286">
                        <c:v>383.60590000000002</c:v>
                      </c:pt>
                      <c:pt idx="4287">
                        <c:v>383.60590000000002</c:v>
                      </c:pt>
                      <c:pt idx="4288">
                        <c:v>385.43700000000001</c:v>
                      </c:pt>
                      <c:pt idx="4289">
                        <c:v>383.60590000000002</c:v>
                      </c:pt>
                      <c:pt idx="4290">
                        <c:v>382.69040000000001</c:v>
                      </c:pt>
                      <c:pt idx="4291">
                        <c:v>385.43700000000001</c:v>
                      </c:pt>
                      <c:pt idx="4292">
                        <c:v>381.7749</c:v>
                      </c:pt>
                      <c:pt idx="4293">
                        <c:v>383.60590000000002</c:v>
                      </c:pt>
                      <c:pt idx="4294">
                        <c:v>382.69040000000001</c:v>
                      </c:pt>
                      <c:pt idx="4295">
                        <c:v>383.60590000000002</c:v>
                      </c:pt>
                      <c:pt idx="4296">
                        <c:v>383.60590000000002</c:v>
                      </c:pt>
                      <c:pt idx="4297">
                        <c:v>385.43700000000001</c:v>
                      </c:pt>
                      <c:pt idx="4298">
                        <c:v>381.7749</c:v>
                      </c:pt>
                      <c:pt idx="4299">
                        <c:v>384.5215</c:v>
                      </c:pt>
                      <c:pt idx="4300">
                        <c:v>383.60590000000002</c:v>
                      </c:pt>
                      <c:pt idx="4301">
                        <c:v>382.69040000000001</c:v>
                      </c:pt>
                      <c:pt idx="4302">
                        <c:v>383.60590000000002</c:v>
                      </c:pt>
                      <c:pt idx="4303">
                        <c:v>382.69040000000001</c:v>
                      </c:pt>
                      <c:pt idx="4304">
                        <c:v>383.60590000000002</c:v>
                      </c:pt>
                      <c:pt idx="4305">
                        <c:v>383.60590000000002</c:v>
                      </c:pt>
                      <c:pt idx="4306">
                        <c:v>383.60590000000002</c:v>
                      </c:pt>
                      <c:pt idx="4307">
                        <c:v>381.7749</c:v>
                      </c:pt>
                      <c:pt idx="4308">
                        <c:v>383.60590000000002</c:v>
                      </c:pt>
                      <c:pt idx="4309">
                        <c:v>382.69040000000001</c:v>
                      </c:pt>
                      <c:pt idx="4310">
                        <c:v>382.69040000000001</c:v>
                      </c:pt>
                      <c:pt idx="4311">
                        <c:v>384.5215</c:v>
                      </c:pt>
                      <c:pt idx="4312">
                        <c:v>382.69040000000001</c:v>
                      </c:pt>
                      <c:pt idx="4313">
                        <c:v>381.7749</c:v>
                      </c:pt>
                      <c:pt idx="4314">
                        <c:v>385.43700000000001</c:v>
                      </c:pt>
                      <c:pt idx="4315">
                        <c:v>382.69040000000001</c:v>
                      </c:pt>
                      <c:pt idx="4316">
                        <c:v>382.69040000000001</c:v>
                      </c:pt>
                      <c:pt idx="4317">
                        <c:v>382.69040000000001</c:v>
                      </c:pt>
                      <c:pt idx="4318">
                        <c:v>383.60590000000002</c:v>
                      </c:pt>
                      <c:pt idx="4319">
                        <c:v>381.7749</c:v>
                      </c:pt>
                      <c:pt idx="4320">
                        <c:v>384.5215</c:v>
                      </c:pt>
                      <c:pt idx="4321">
                        <c:v>382.69040000000001</c:v>
                      </c:pt>
                      <c:pt idx="4322">
                        <c:v>383.60590000000002</c:v>
                      </c:pt>
                      <c:pt idx="4323">
                        <c:v>382.69040000000001</c:v>
                      </c:pt>
                      <c:pt idx="4324">
                        <c:v>382.69040000000001</c:v>
                      </c:pt>
                      <c:pt idx="4325">
                        <c:v>383.60590000000002</c:v>
                      </c:pt>
                      <c:pt idx="4326">
                        <c:v>382.69040000000001</c:v>
                      </c:pt>
                      <c:pt idx="4327">
                        <c:v>383.60590000000002</c:v>
                      </c:pt>
                      <c:pt idx="4328">
                        <c:v>383.60590000000002</c:v>
                      </c:pt>
                      <c:pt idx="4329">
                        <c:v>383.60590000000002</c:v>
                      </c:pt>
                      <c:pt idx="4330">
                        <c:v>382.69040000000001</c:v>
                      </c:pt>
                      <c:pt idx="4331">
                        <c:v>383.60590000000002</c:v>
                      </c:pt>
                      <c:pt idx="4332">
                        <c:v>382.69040000000001</c:v>
                      </c:pt>
                      <c:pt idx="4333">
                        <c:v>382.69040000000001</c:v>
                      </c:pt>
                      <c:pt idx="4334">
                        <c:v>382.69040000000001</c:v>
                      </c:pt>
                      <c:pt idx="4335">
                        <c:v>382.69040000000001</c:v>
                      </c:pt>
                      <c:pt idx="4336">
                        <c:v>380.85939999999999</c:v>
                      </c:pt>
                      <c:pt idx="4337">
                        <c:v>384.5215</c:v>
                      </c:pt>
                      <c:pt idx="4338">
                        <c:v>380.85939999999999</c:v>
                      </c:pt>
                      <c:pt idx="4339">
                        <c:v>380.85939999999999</c:v>
                      </c:pt>
                      <c:pt idx="4340">
                        <c:v>384.5215</c:v>
                      </c:pt>
                      <c:pt idx="4341">
                        <c:v>382.69040000000001</c:v>
                      </c:pt>
                      <c:pt idx="4342">
                        <c:v>382.69040000000001</c:v>
                      </c:pt>
                      <c:pt idx="4343">
                        <c:v>379.94380000000001</c:v>
                      </c:pt>
                      <c:pt idx="4344">
                        <c:v>383.60590000000002</c:v>
                      </c:pt>
                      <c:pt idx="4345">
                        <c:v>382.69040000000001</c:v>
                      </c:pt>
                      <c:pt idx="4346">
                        <c:v>382.69040000000001</c:v>
                      </c:pt>
                      <c:pt idx="4347">
                        <c:v>382.69040000000001</c:v>
                      </c:pt>
                      <c:pt idx="4348">
                        <c:v>382.69040000000001</c:v>
                      </c:pt>
                      <c:pt idx="4349">
                        <c:v>380.85939999999999</c:v>
                      </c:pt>
                      <c:pt idx="4350">
                        <c:v>382.69040000000001</c:v>
                      </c:pt>
                      <c:pt idx="4351">
                        <c:v>382.69040000000001</c:v>
                      </c:pt>
                      <c:pt idx="4352">
                        <c:v>382.69040000000001</c:v>
                      </c:pt>
                      <c:pt idx="4353">
                        <c:v>382.69040000000001</c:v>
                      </c:pt>
                      <c:pt idx="4354">
                        <c:v>384.5215</c:v>
                      </c:pt>
                      <c:pt idx="4355">
                        <c:v>382.69040000000001</c:v>
                      </c:pt>
                      <c:pt idx="4356">
                        <c:v>382.69040000000001</c:v>
                      </c:pt>
                      <c:pt idx="4357">
                        <c:v>382.69040000000001</c:v>
                      </c:pt>
                      <c:pt idx="4358">
                        <c:v>382.69040000000001</c:v>
                      </c:pt>
                      <c:pt idx="4359">
                        <c:v>383.60590000000002</c:v>
                      </c:pt>
                      <c:pt idx="4360">
                        <c:v>382.69040000000001</c:v>
                      </c:pt>
                      <c:pt idx="4361">
                        <c:v>383.60590000000002</c:v>
                      </c:pt>
                      <c:pt idx="4362">
                        <c:v>382.69040000000001</c:v>
                      </c:pt>
                      <c:pt idx="4363">
                        <c:v>384.5215</c:v>
                      </c:pt>
                      <c:pt idx="4364">
                        <c:v>380.85939999999999</c:v>
                      </c:pt>
                      <c:pt idx="4365">
                        <c:v>382.69040000000001</c:v>
                      </c:pt>
                      <c:pt idx="4366">
                        <c:v>382.69040000000001</c:v>
                      </c:pt>
                      <c:pt idx="4367">
                        <c:v>382.69040000000001</c:v>
                      </c:pt>
                      <c:pt idx="4368">
                        <c:v>381.7749</c:v>
                      </c:pt>
                      <c:pt idx="4369">
                        <c:v>382.69040000000001</c:v>
                      </c:pt>
                      <c:pt idx="4370">
                        <c:v>381.7749</c:v>
                      </c:pt>
                      <c:pt idx="4371">
                        <c:v>382.69040000000001</c:v>
                      </c:pt>
                      <c:pt idx="4372">
                        <c:v>383.60590000000002</c:v>
                      </c:pt>
                      <c:pt idx="4373">
                        <c:v>382.69040000000001</c:v>
                      </c:pt>
                      <c:pt idx="4374">
                        <c:v>382.69040000000001</c:v>
                      </c:pt>
                      <c:pt idx="4375">
                        <c:v>382.69040000000001</c:v>
                      </c:pt>
                      <c:pt idx="4376">
                        <c:v>382.69040000000001</c:v>
                      </c:pt>
                      <c:pt idx="4377">
                        <c:v>381.7749</c:v>
                      </c:pt>
                      <c:pt idx="4378">
                        <c:v>382.69040000000001</c:v>
                      </c:pt>
                      <c:pt idx="4379">
                        <c:v>382.69040000000001</c:v>
                      </c:pt>
                      <c:pt idx="4380">
                        <c:v>382.69040000000001</c:v>
                      </c:pt>
                      <c:pt idx="4381">
                        <c:v>382.69040000000001</c:v>
                      </c:pt>
                      <c:pt idx="4382">
                        <c:v>383.60590000000002</c:v>
                      </c:pt>
                      <c:pt idx="4383">
                        <c:v>381.7749</c:v>
                      </c:pt>
                      <c:pt idx="4384">
                        <c:v>381.7749</c:v>
                      </c:pt>
                      <c:pt idx="4385">
                        <c:v>382.69040000000001</c:v>
                      </c:pt>
                      <c:pt idx="4386">
                        <c:v>382.69040000000001</c:v>
                      </c:pt>
                      <c:pt idx="4387">
                        <c:v>382.69040000000001</c:v>
                      </c:pt>
                      <c:pt idx="4388">
                        <c:v>381.7749</c:v>
                      </c:pt>
                      <c:pt idx="4389">
                        <c:v>381.7749</c:v>
                      </c:pt>
                      <c:pt idx="4390">
                        <c:v>381.7749</c:v>
                      </c:pt>
                      <c:pt idx="4391">
                        <c:v>382.69040000000001</c:v>
                      </c:pt>
                      <c:pt idx="4392">
                        <c:v>383.60590000000002</c:v>
                      </c:pt>
                      <c:pt idx="4393">
                        <c:v>379.94380000000001</c:v>
                      </c:pt>
                      <c:pt idx="4394">
                        <c:v>379.94380000000001</c:v>
                      </c:pt>
                      <c:pt idx="4395">
                        <c:v>381.7749</c:v>
                      </c:pt>
                      <c:pt idx="4396">
                        <c:v>380.85939999999999</c:v>
                      </c:pt>
                      <c:pt idx="4397">
                        <c:v>381.67384929999997</c:v>
                      </c:pt>
                      <c:pt idx="4398">
                        <c:v>381.7749</c:v>
                      </c:pt>
                      <c:pt idx="4399">
                        <c:v>381.7749</c:v>
                      </c:pt>
                      <c:pt idx="4400">
                        <c:v>381.7749</c:v>
                      </c:pt>
                      <c:pt idx="4401">
                        <c:v>381.7749</c:v>
                      </c:pt>
                      <c:pt idx="4402">
                        <c:v>381.7749</c:v>
                      </c:pt>
                      <c:pt idx="4403">
                        <c:v>381.7749</c:v>
                      </c:pt>
                      <c:pt idx="4404">
                        <c:v>381.1948931</c:v>
                      </c:pt>
                      <c:pt idx="4405">
                        <c:v>380.85939999999999</c:v>
                      </c:pt>
                      <c:pt idx="4406">
                        <c:v>379.94380000000001</c:v>
                      </c:pt>
                      <c:pt idx="4407">
                        <c:v>383.60590000000002</c:v>
                      </c:pt>
                      <c:pt idx="4408">
                        <c:v>380.85939999999999</c:v>
                      </c:pt>
                      <c:pt idx="4409">
                        <c:v>382.69040000000001</c:v>
                      </c:pt>
                      <c:pt idx="4410">
                        <c:v>381.7749</c:v>
                      </c:pt>
                      <c:pt idx="4411">
                        <c:v>380.85939999999999</c:v>
                      </c:pt>
                      <c:pt idx="4412">
                        <c:v>380.85939999999999</c:v>
                      </c:pt>
                      <c:pt idx="4413">
                        <c:v>382.69040000000001</c:v>
                      </c:pt>
                      <c:pt idx="4414">
                        <c:v>381.7749</c:v>
                      </c:pt>
                      <c:pt idx="4415">
                        <c:v>379.94380000000001</c:v>
                      </c:pt>
                      <c:pt idx="4416">
                        <c:v>383.60590000000002</c:v>
                      </c:pt>
                      <c:pt idx="4417">
                        <c:v>379.94380000000001</c:v>
                      </c:pt>
                      <c:pt idx="4418">
                        <c:v>380.85939999999999</c:v>
                      </c:pt>
                      <c:pt idx="4419">
                        <c:v>379.0283</c:v>
                      </c:pt>
                      <c:pt idx="4420">
                        <c:v>380.85939999999999</c:v>
                      </c:pt>
                      <c:pt idx="4421">
                        <c:v>380.85939999999999</c:v>
                      </c:pt>
                      <c:pt idx="4422">
                        <c:v>381.43169460000001</c:v>
                      </c:pt>
                      <c:pt idx="4423">
                        <c:v>381.7749</c:v>
                      </c:pt>
                      <c:pt idx="4424">
                        <c:v>380.85939999999999</c:v>
                      </c:pt>
                      <c:pt idx="4425">
                        <c:v>380.85939999999999</c:v>
                      </c:pt>
                      <c:pt idx="4426">
                        <c:v>379.94380000000001</c:v>
                      </c:pt>
                      <c:pt idx="4427">
                        <c:v>380.85939999999999</c:v>
                      </c:pt>
                      <c:pt idx="4428">
                        <c:v>380.85939999999999</c:v>
                      </c:pt>
                      <c:pt idx="4429">
                        <c:v>380.85939999999999</c:v>
                      </c:pt>
                      <c:pt idx="4430">
                        <c:v>379.94380000000001</c:v>
                      </c:pt>
                      <c:pt idx="4431">
                        <c:v>381.7749</c:v>
                      </c:pt>
                      <c:pt idx="4432">
                        <c:v>380.85939999999999</c:v>
                      </c:pt>
                      <c:pt idx="4433">
                        <c:v>381.7749</c:v>
                      </c:pt>
                      <c:pt idx="4434">
                        <c:v>378.11279999999999</c:v>
                      </c:pt>
                      <c:pt idx="4435">
                        <c:v>379.94380000000001</c:v>
                      </c:pt>
                      <c:pt idx="4436">
                        <c:v>380.85939999999999</c:v>
                      </c:pt>
                      <c:pt idx="4437">
                        <c:v>379.94380000000001</c:v>
                      </c:pt>
                      <c:pt idx="4438">
                        <c:v>381.7749</c:v>
                      </c:pt>
                      <c:pt idx="4439">
                        <c:v>379.94380000000001</c:v>
                      </c:pt>
                      <c:pt idx="4440">
                        <c:v>382.69040000000001</c:v>
                      </c:pt>
                      <c:pt idx="4441">
                        <c:v>379.0283</c:v>
                      </c:pt>
                      <c:pt idx="4442">
                        <c:v>380.85939999999999</c:v>
                      </c:pt>
                      <c:pt idx="4443">
                        <c:v>379.94380000000001</c:v>
                      </c:pt>
                      <c:pt idx="4444">
                        <c:v>381.7749</c:v>
                      </c:pt>
                      <c:pt idx="4445">
                        <c:v>379.94380000000001</c:v>
                      </c:pt>
                      <c:pt idx="4446">
                        <c:v>380.85939999999999</c:v>
                      </c:pt>
                      <c:pt idx="4447">
                        <c:v>379.94380000000001</c:v>
                      </c:pt>
                      <c:pt idx="4448">
                        <c:v>380.85939999999999</c:v>
                      </c:pt>
                      <c:pt idx="4449">
                        <c:v>377.19729999999998</c:v>
                      </c:pt>
                      <c:pt idx="4450">
                        <c:v>380.85939999999999</c:v>
                      </c:pt>
                      <c:pt idx="4451">
                        <c:v>381.7749</c:v>
                      </c:pt>
                      <c:pt idx="4452">
                        <c:v>379.94380000000001</c:v>
                      </c:pt>
                      <c:pt idx="4453">
                        <c:v>379.94380000000001</c:v>
                      </c:pt>
                      <c:pt idx="4454">
                        <c:v>379.94380000000001</c:v>
                      </c:pt>
                      <c:pt idx="4455">
                        <c:v>379.94380000000001</c:v>
                      </c:pt>
                      <c:pt idx="4456">
                        <c:v>381.7749</c:v>
                      </c:pt>
                      <c:pt idx="4457">
                        <c:v>379.94380000000001</c:v>
                      </c:pt>
                      <c:pt idx="4458">
                        <c:v>379.94380000000001</c:v>
                      </c:pt>
                      <c:pt idx="4459">
                        <c:v>381.7749</c:v>
                      </c:pt>
                      <c:pt idx="4460">
                        <c:v>378.11279999999999</c:v>
                      </c:pt>
                      <c:pt idx="4461">
                        <c:v>383.60590000000002</c:v>
                      </c:pt>
                      <c:pt idx="4462">
                        <c:v>379.0283</c:v>
                      </c:pt>
                      <c:pt idx="4463">
                        <c:v>379.94380000000001</c:v>
                      </c:pt>
                      <c:pt idx="4464">
                        <c:v>379.94380000000001</c:v>
                      </c:pt>
                      <c:pt idx="4465">
                        <c:v>380.85939999999999</c:v>
                      </c:pt>
                      <c:pt idx="4466">
                        <c:v>379.94380000000001</c:v>
                      </c:pt>
                      <c:pt idx="4467">
                        <c:v>379.94380000000001</c:v>
                      </c:pt>
                      <c:pt idx="4468">
                        <c:v>379.94380000000001</c:v>
                      </c:pt>
                      <c:pt idx="4469">
                        <c:v>380.85939999999999</c:v>
                      </c:pt>
                      <c:pt idx="4470">
                        <c:v>379.94380000000001</c:v>
                      </c:pt>
                      <c:pt idx="4471">
                        <c:v>379.0283</c:v>
                      </c:pt>
                      <c:pt idx="4472">
                        <c:v>381.7749</c:v>
                      </c:pt>
                      <c:pt idx="4473">
                        <c:v>378.11279999999999</c:v>
                      </c:pt>
                      <c:pt idx="4474">
                        <c:v>379.94380000000001</c:v>
                      </c:pt>
                      <c:pt idx="4475">
                        <c:v>381.7749</c:v>
                      </c:pt>
                      <c:pt idx="4476">
                        <c:v>379.0283</c:v>
                      </c:pt>
                      <c:pt idx="4477">
                        <c:v>379.94380000000001</c:v>
                      </c:pt>
                      <c:pt idx="4478">
                        <c:v>379.0283</c:v>
                      </c:pt>
                      <c:pt idx="4479">
                        <c:v>379.0283</c:v>
                      </c:pt>
                      <c:pt idx="4480">
                        <c:v>381.7749</c:v>
                      </c:pt>
                      <c:pt idx="4481">
                        <c:v>378.11279999999999</c:v>
                      </c:pt>
                      <c:pt idx="4482">
                        <c:v>380.85939999999999</c:v>
                      </c:pt>
                      <c:pt idx="4483">
                        <c:v>379.94380000000001</c:v>
                      </c:pt>
                      <c:pt idx="4484">
                        <c:v>379.94380000000001</c:v>
                      </c:pt>
                      <c:pt idx="4485">
                        <c:v>379.94380000000001</c:v>
                      </c:pt>
                      <c:pt idx="4486">
                        <c:v>379.94380000000001</c:v>
                      </c:pt>
                      <c:pt idx="4487">
                        <c:v>379.94380000000001</c:v>
                      </c:pt>
                      <c:pt idx="4488">
                        <c:v>380.85939999999999</c:v>
                      </c:pt>
                      <c:pt idx="4489">
                        <c:v>379.0283</c:v>
                      </c:pt>
                      <c:pt idx="4490">
                        <c:v>379.0283</c:v>
                      </c:pt>
                      <c:pt idx="4491">
                        <c:v>379.94380000000001</c:v>
                      </c:pt>
                      <c:pt idx="4492">
                        <c:v>378.11279999999999</c:v>
                      </c:pt>
                      <c:pt idx="4493">
                        <c:v>380.85939999999999</c:v>
                      </c:pt>
                      <c:pt idx="4494">
                        <c:v>377.19729999999998</c:v>
                      </c:pt>
                      <c:pt idx="4495">
                        <c:v>380.85939999999999</c:v>
                      </c:pt>
                      <c:pt idx="4496">
                        <c:v>379.94380000000001</c:v>
                      </c:pt>
                      <c:pt idx="4497">
                        <c:v>379.94380000000001</c:v>
                      </c:pt>
                      <c:pt idx="4498">
                        <c:v>379.0283</c:v>
                      </c:pt>
                      <c:pt idx="4499">
                        <c:v>380.85939999999999</c:v>
                      </c:pt>
                      <c:pt idx="4500">
                        <c:v>379.94380000000001</c:v>
                      </c:pt>
                      <c:pt idx="4501">
                        <c:v>379.94380000000001</c:v>
                      </c:pt>
                      <c:pt idx="4502">
                        <c:v>379.0283</c:v>
                      </c:pt>
                      <c:pt idx="4503">
                        <c:v>378.11279999999999</c:v>
                      </c:pt>
                      <c:pt idx="4504">
                        <c:v>380.85939999999999</c:v>
                      </c:pt>
                      <c:pt idx="4505">
                        <c:v>379.94380000000001</c:v>
                      </c:pt>
                      <c:pt idx="4506">
                        <c:v>379.94380000000001</c:v>
                      </c:pt>
                      <c:pt idx="4507">
                        <c:v>379.94380000000001</c:v>
                      </c:pt>
                      <c:pt idx="4508">
                        <c:v>379.94380000000001</c:v>
                      </c:pt>
                      <c:pt idx="4509">
                        <c:v>379.94380000000001</c:v>
                      </c:pt>
                      <c:pt idx="4510">
                        <c:v>379.0283</c:v>
                      </c:pt>
                      <c:pt idx="4511">
                        <c:v>381.7749</c:v>
                      </c:pt>
                      <c:pt idx="4512">
                        <c:v>378.11279999999999</c:v>
                      </c:pt>
                      <c:pt idx="4513">
                        <c:v>379.0283</c:v>
                      </c:pt>
                      <c:pt idx="4514">
                        <c:v>379.0283</c:v>
                      </c:pt>
                      <c:pt idx="4515">
                        <c:v>377.19729999999998</c:v>
                      </c:pt>
                      <c:pt idx="4516">
                        <c:v>380.85939999999999</c:v>
                      </c:pt>
                      <c:pt idx="4517">
                        <c:v>378.11279999999999</c:v>
                      </c:pt>
                      <c:pt idx="4518">
                        <c:v>381.7749</c:v>
                      </c:pt>
                      <c:pt idx="4519">
                        <c:v>379.0283</c:v>
                      </c:pt>
                      <c:pt idx="4520">
                        <c:v>379.0283</c:v>
                      </c:pt>
                      <c:pt idx="4521">
                        <c:v>377.19729999999998</c:v>
                      </c:pt>
                      <c:pt idx="4522">
                        <c:v>379.0283</c:v>
                      </c:pt>
                      <c:pt idx="4523">
                        <c:v>377.19729999999998</c:v>
                      </c:pt>
                      <c:pt idx="4524">
                        <c:v>380.85939999999999</c:v>
                      </c:pt>
                      <c:pt idx="4525">
                        <c:v>379.0283</c:v>
                      </c:pt>
                      <c:pt idx="4526">
                        <c:v>380.85939999999999</c:v>
                      </c:pt>
                      <c:pt idx="4527">
                        <c:v>379.0283</c:v>
                      </c:pt>
                      <c:pt idx="4528">
                        <c:v>381.7749</c:v>
                      </c:pt>
                      <c:pt idx="4529">
                        <c:v>378.11279999999999</c:v>
                      </c:pt>
                      <c:pt idx="4530">
                        <c:v>378.11279999999999</c:v>
                      </c:pt>
                      <c:pt idx="4531">
                        <c:v>379.0283</c:v>
                      </c:pt>
                      <c:pt idx="4532">
                        <c:v>379.0283</c:v>
                      </c:pt>
                      <c:pt idx="4533">
                        <c:v>378.11279999999999</c:v>
                      </c:pt>
                      <c:pt idx="4534">
                        <c:v>379.0283</c:v>
                      </c:pt>
                      <c:pt idx="4535">
                        <c:v>379.0283</c:v>
                      </c:pt>
                      <c:pt idx="4536">
                        <c:v>379.0283</c:v>
                      </c:pt>
                      <c:pt idx="4537">
                        <c:v>379.0283</c:v>
                      </c:pt>
                      <c:pt idx="4538">
                        <c:v>379.94380000000001</c:v>
                      </c:pt>
                      <c:pt idx="4539">
                        <c:v>379.0283</c:v>
                      </c:pt>
                      <c:pt idx="4540">
                        <c:v>379.0283</c:v>
                      </c:pt>
                      <c:pt idx="4541">
                        <c:v>379.0283</c:v>
                      </c:pt>
                      <c:pt idx="4542">
                        <c:v>378.11279999999999</c:v>
                      </c:pt>
                      <c:pt idx="4543">
                        <c:v>379.0069641</c:v>
                      </c:pt>
                      <c:pt idx="4544">
                        <c:v>379.0283</c:v>
                      </c:pt>
                      <c:pt idx="4545">
                        <c:v>380.85939999999999</c:v>
                      </c:pt>
                      <c:pt idx="4546">
                        <c:v>377.19729999999998</c:v>
                      </c:pt>
                      <c:pt idx="4547">
                        <c:v>379.0283</c:v>
                      </c:pt>
                      <c:pt idx="4548">
                        <c:v>380.85939999999999</c:v>
                      </c:pt>
                      <c:pt idx="4549">
                        <c:v>377.19729999999998</c:v>
                      </c:pt>
                      <c:pt idx="4550">
                        <c:v>379.0283</c:v>
                      </c:pt>
                      <c:pt idx="4551">
                        <c:v>378.20636760000002</c:v>
                      </c:pt>
                      <c:pt idx="4552">
                        <c:v>378.11279999999999</c:v>
                      </c:pt>
                      <c:pt idx="4553">
                        <c:v>379.94380000000001</c:v>
                      </c:pt>
                      <c:pt idx="4554">
                        <c:v>379.94380000000001</c:v>
                      </c:pt>
                      <c:pt idx="4555">
                        <c:v>378.11279999999999</c:v>
                      </c:pt>
                      <c:pt idx="4556">
                        <c:v>379.0283</c:v>
                      </c:pt>
                      <c:pt idx="4557">
                        <c:v>380.85939999999999</c:v>
                      </c:pt>
                      <c:pt idx="4558">
                        <c:v>377.19729999999998</c:v>
                      </c:pt>
                      <c:pt idx="4559">
                        <c:v>380.85939999999999</c:v>
                      </c:pt>
                      <c:pt idx="4560">
                        <c:v>377.19729999999998</c:v>
                      </c:pt>
                      <c:pt idx="4561">
                        <c:v>377.89161430000001</c:v>
                      </c:pt>
                      <c:pt idx="4562">
                        <c:v>379.94380000000001</c:v>
                      </c:pt>
                      <c:pt idx="4563">
                        <c:v>379.0283</c:v>
                      </c:pt>
                      <c:pt idx="4564">
                        <c:v>379.0283</c:v>
                      </c:pt>
                      <c:pt idx="4565">
                        <c:v>379.0283</c:v>
                      </c:pt>
                      <c:pt idx="4566">
                        <c:v>379.0283</c:v>
                      </c:pt>
                      <c:pt idx="4567">
                        <c:v>379.0283</c:v>
                      </c:pt>
                      <c:pt idx="4568">
                        <c:v>376.2817</c:v>
                      </c:pt>
                      <c:pt idx="4569">
                        <c:v>379.94380000000001</c:v>
                      </c:pt>
                      <c:pt idx="4570">
                        <c:v>379.0283</c:v>
                      </c:pt>
                      <c:pt idx="4571">
                        <c:v>379.0283</c:v>
                      </c:pt>
                      <c:pt idx="4572">
                        <c:v>377.19729999999998</c:v>
                      </c:pt>
                      <c:pt idx="4573">
                        <c:v>379.0283</c:v>
                      </c:pt>
                      <c:pt idx="4574">
                        <c:v>378.11279999999999</c:v>
                      </c:pt>
                      <c:pt idx="4575">
                        <c:v>379.0283</c:v>
                      </c:pt>
                      <c:pt idx="4576">
                        <c:v>379.0283</c:v>
                      </c:pt>
                      <c:pt idx="4577">
                        <c:v>379.0283</c:v>
                      </c:pt>
                      <c:pt idx="4578">
                        <c:v>380.85939999999999</c:v>
                      </c:pt>
                      <c:pt idx="4579">
                        <c:v>379.0283</c:v>
                      </c:pt>
                      <c:pt idx="4580">
                        <c:v>378.11279999999999</c:v>
                      </c:pt>
                      <c:pt idx="4581">
                        <c:v>378.11279999999999</c:v>
                      </c:pt>
                      <c:pt idx="4582">
                        <c:v>379.0283</c:v>
                      </c:pt>
                      <c:pt idx="4583">
                        <c:v>378.11279999999999</c:v>
                      </c:pt>
                      <c:pt idx="4584">
                        <c:v>379.94380000000001</c:v>
                      </c:pt>
                      <c:pt idx="4585">
                        <c:v>379.94380000000001</c:v>
                      </c:pt>
                      <c:pt idx="4586">
                        <c:v>378.11279999999999</c:v>
                      </c:pt>
                      <c:pt idx="4587">
                        <c:v>379.0283</c:v>
                      </c:pt>
                      <c:pt idx="4588">
                        <c:v>378.11279999999999</c:v>
                      </c:pt>
                      <c:pt idx="4589">
                        <c:v>379.0283</c:v>
                      </c:pt>
                      <c:pt idx="4590">
                        <c:v>379.0283</c:v>
                      </c:pt>
                      <c:pt idx="4591">
                        <c:v>378.11279999999999</c:v>
                      </c:pt>
                      <c:pt idx="4592">
                        <c:v>379.0283</c:v>
                      </c:pt>
                      <c:pt idx="4593">
                        <c:v>379.0283</c:v>
                      </c:pt>
                      <c:pt idx="4594">
                        <c:v>379.0283</c:v>
                      </c:pt>
                      <c:pt idx="4595">
                        <c:v>377.19729999999998</c:v>
                      </c:pt>
                      <c:pt idx="4596">
                        <c:v>380.85939999999999</c:v>
                      </c:pt>
                      <c:pt idx="4597">
                        <c:v>379.94380000000001</c:v>
                      </c:pt>
                      <c:pt idx="4598">
                        <c:v>376.2817</c:v>
                      </c:pt>
                      <c:pt idx="4599">
                        <c:v>379.0283</c:v>
                      </c:pt>
                      <c:pt idx="4600">
                        <c:v>379.94380000000001</c:v>
                      </c:pt>
                      <c:pt idx="4601">
                        <c:v>379.0283</c:v>
                      </c:pt>
                      <c:pt idx="4602">
                        <c:v>379.0283</c:v>
                      </c:pt>
                      <c:pt idx="4603">
                        <c:v>378.11279999999999</c:v>
                      </c:pt>
                      <c:pt idx="4604">
                        <c:v>378.11279999999999</c:v>
                      </c:pt>
                      <c:pt idx="4605">
                        <c:v>377.19729999999998</c:v>
                      </c:pt>
                      <c:pt idx="4606">
                        <c:v>380.85939999999999</c:v>
                      </c:pt>
                      <c:pt idx="4607">
                        <c:v>377.19729999999998</c:v>
                      </c:pt>
                      <c:pt idx="4608">
                        <c:v>376.2817</c:v>
                      </c:pt>
                      <c:pt idx="4609">
                        <c:v>379.94380000000001</c:v>
                      </c:pt>
                      <c:pt idx="4610">
                        <c:v>378.11279999999999</c:v>
                      </c:pt>
                      <c:pt idx="4611">
                        <c:v>379.0283</c:v>
                      </c:pt>
                      <c:pt idx="4612">
                        <c:v>378.11279999999999</c:v>
                      </c:pt>
                      <c:pt idx="4613">
                        <c:v>379.0283</c:v>
                      </c:pt>
                      <c:pt idx="4614">
                        <c:v>378.11279999999999</c:v>
                      </c:pt>
                      <c:pt idx="4615">
                        <c:v>378.11279999999999</c:v>
                      </c:pt>
                      <c:pt idx="4616">
                        <c:v>378.11279999999999</c:v>
                      </c:pt>
                      <c:pt idx="4617">
                        <c:v>378.11279999999999</c:v>
                      </c:pt>
                      <c:pt idx="4618">
                        <c:v>379.94380000000001</c:v>
                      </c:pt>
                      <c:pt idx="4619">
                        <c:v>378.11279999999999</c:v>
                      </c:pt>
                      <c:pt idx="4620">
                        <c:v>379.0283</c:v>
                      </c:pt>
                      <c:pt idx="4621">
                        <c:v>377.3010329</c:v>
                      </c:pt>
                      <c:pt idx="4622">
                        <c:v>377.19729999999998</c:v>
                      </c:pt>
                      <c:pt idx="4623">
                        <c:v>378.11279999999999</c:v>
                      </c:pt>
                      <c:pt idx="4624">
                        <c:v>382.69040000000001</c:v>
                      </c:pt>
                      <c:pt idx="4625">
                        <c:v>377.19729999999998</c:v>
                      </c:pt>
                      <c:pt idx="4626">
                        <c:v>379.0283</c:v>
                      </c:pt>
                      <c:pt idx="4627">
                        <c:v>378.11279999999999</c:v>
                      </c:pt>
                      <c:pt idx="4628">
                        <c:v>380.85939999999999</c:v>
                      </c:pt>
                      <c:pt idx="4629">
                        <c:v>377.19729999999998</c:v>
                      </c:pt>
                      <c:pt idx="4630">
                        <c:v>378.11279999999999</c:v>
                      </c:pt>
                      <c:pt idx="4631">
                        <c:v>377.19729999999998</c:v>
                      </c:pt>
                      <c:pt idx="4632">
                        <c:v>380.85939999999999</c:v>
                      </c:pt>
                      <c:pt idx="4633">
                        <c:v>377.19729999999998</c:v>
                      </c:pt>
                      <c:pt idx="4634">
                        <c:v>379.94380000000001</c:v>
                      </c:pt>
                      <c:pt idx="4635">
                        <c:v>376.2817</c:v>
                      </c:pt>
                      <c:pt idx="4636">
                        <c:v>379.0283</c:v>
                      </c:pt>
                      <c:pt idx="4637">
                        <c:v>378.11279999999999</c:v>
                      </c:pt>
                      <c:pt idx="4638">
                        <c:v>378.11279999999999</c:v>
                      </c:pt>
                      <c:pt idx="4639">
                        <c:v>378.11279999999999</c:v>
                      </c:pt>
                      <c:pt idx="4640">
                        <c:v>376.2817</c:v>
                      </c:pt>
                      <c:pt idx="4641">
                        <c:v>379.94380000000001</c:v>
                      </c:pt>
                      <c:pt idx="4642">
                        <c:v>376.2817</c:v>
                      </c:pt>
                      <c:pt idx="4643">
                        <c:v>379.94380000000001</c:v>
                      </c:pt>
                      <c:pt idx="4644">
                        <c:v>379.0283</c:v>
                      </c:pt>
                      <c:pt idx="4645">
                        <c:v>378.11279999999999</c:v>
                      </c:pt>
                      <c:pt idx="4646">
                        <c:v>378.11279999999999</c:v>
                      </c:pt>
                      <c:pt idx="4647">
                        <c:v>376.2817</c:v>
                      </c:pt>
                      <c:pt idx="4648">
                        <c:v>380.85939999999999</c:v>
                      </c:pt>
                      <c:pt idx="4649">
                        <c:v>378.11279999999999</c:v>
                      </c:pt>
                      <c:pt idx="4650">
                        <c:v>378.11279999999999</c:v>
                      </c:pt>
                      <c:pt idx="4651">
                        <c:v>378.11279999999999</c:v>
                      </c:pt>
                      <c:pt idx="4652">
                        <c:v>377.19729999999998</c:v>
                      </c:pt>
                      <c:pt idx="4653">
                        <c:v>379.94380000000001</c:v>
                      </c:pt>
                      <c:pt idx="4654">
                        <c:v>378.11279999999999</c:v>
                      </c:pt>
                      <c:pt idx="4655">
                        <c:v>376.2817</c:v>
                      </c:pt>
                      <c:pt idx="4656">
                        <c:v>379.94380000000001</c:v>
                      </c:pt>
                      <c:pt idx="4657">
                        <c:v>378.11279999999999</c:v>
                      </c:pt>
                      <c:pt idx="4658">
                        <c:v>379.94380000000001</c:v>
                      </c:pt>
                      <c:pt idx="4659">
                        <c:v>376.2817</c:v>
                      </c:pt>
                      <c:pt idx="4660">
                        <c:v>378.11279999999999</c:v>
                      </c:pt>
                      <c:pt idx="4661">
                        <c:v>378.11279999999999</c:v>
                      </c:pt>
                      <c:pt idx="4662">
                        <c:v>377.19729999999998</c:v>
                      </c:pt>
                      <c:pt idx="4663">
                        <c:v>378.11279999999999</c:v>
                      </c:pt>
                      <c:pt idx="4664">
                        <c:v>376.2817</c:v>
                      </c:pt>
                      <c:pt idx="4665">
                        <c:v>378.11279999999999</c:v>
                      </c:pt>
                      <c:pt idx="4666">
                        <c:v>377.19729999999998</c:v>
                      </c:pt>
                      <c:pt idx="4667">
                        <c:v>378.11279999999999</c:v>
                      </c:pt>
                      <c:pt idx="4668">
                        <c:v>380.85939999999999</c:v>
                      </c:pt>
                      <c:pt idx="4669">
                        <c:v>377.19729999999998</c:v>
                      </c:pt>
                      <c:pt idx="4670">
                        <c:v>378.11279999999999</c:v>
                      </c:pt>
                      <c:pt idx="4671">
                        <c:v>379.0283</c:v>
                      </c:pt>
                      <c:pt idx="4672">
                        <c:v>378.11279999999999</c:v>
                      </c:pt>
                      <c:pt idx="4673">
                        <c:v>378.11279999999999</c:v>
                      </c:pt>
                      <c:pt idx="4674">
                        <c:v>378.11279999999999</c:v>
                      </c:pt>
                      <c:pt idx="4675">
                        <c:v>378.11279999999999</c:v>
                      </c:pt>
                      <c:pt idx="4676">
                        <c:v>378.11279999999999</c:v>
                      </c:pt>
                      <c:pt idx="4677">
                        <c:v>376.2817</c:v>
                      </c:pt>
                      <c:pt idx="4678">
                        <c:v>378.11279999999999</c:v>
                      </c:pt>
                      <c:pt idx="4679">
                        <c:v>378.11279999999999</c:v>
                      </c:pt>
                      <c:pt idx="4680">
                        <c:v>377.6893197</c:v>
                      </c:pt>
                      <c:pt idx="4681">
                        <c:v>376.2817</c:v>
                      </c:pt>
                      <c:pt idx="4682">
                        <c:v>379.94380000000001</c:v>
                      </c:pt>
                      <c:pt idx="4683">
                        <c:v>378.11279999999999</c:v>
                      </c:pt>
                      <c:pt idx="4684">
                        <c:v>379.0283</c:v>
                      </c:pt>
                      <c:pt idx="4685">
                        <c:v>378.11279999999999</c:v>
                      </c:pt>
                      <c:pt idx="4686">
                        <c:v>378.11279999999999</c:v>
                      </c:pt>
                      <c:pt idx="4687">
                        <c:v>379.0283</c:v>
                      </c:pt>
                      <c:pt idx="4688">
                        <c:v>376.2817</c:v>
                      </c:pt>
                      <c:pt idx="4689">
                        <c:v>379.94380000000001</c:v>
                      </c:pt>
                      <c:pt idx="4690">
                        <c:v>377.19729999999998</c:v>
                      </c:pt>
                      <c:pt idx="4691">
                        <c:v>377.19729999999998</c:v>
                      </c:pt>
                      <c:pt idx="4692">
                        <c:v>379.94380000000001</c:v>
                      </c:pt>
                      <c:pt idx="4693">
                        <c:v>376.2817</c:v>
                      </c:pt>
                      <c:pt idx="4694">
                        <c:v>379.0283</c:v>
                      </c:pt>
                      <c:pt idx="4695">
                        <c:v>378.11279999999999</c:v>
                      </c:pt>
                      <c:pt idx="4696">
                        <c:v>377.19729999999998</c:v>
                      </c:pt>
                      <c:pt idx="4697">
                        <c:v>378.11279999999999</c:v>
                      </c:pt>
                      <c:pt idx="4698">
                        <c:v>377.19729999999998</c:v>
                      </c:pt>
                      <c:pt idx="4699">
                        <c:v>378.11279999999999</c:v>
                      </c:pt>
                      <c:pt idx="4700">
                        <c:v>378.11279999999999</c:v>
                      </c:pt>
                      <c:pt idx="4701">
                        <c:v>378.11279999999999</c:v>
                      </c:pt>
                      <c:pt idx="4702">
                        <c:v>377.19729999999998</c:v>
                      </c:pt>
                      <c:pt idx="4703">
                        <c:v>378.11279999999999</c:v>
                      </c:pt>
                      <c:pt idx="4704">
                        <c:v>376.2817</c:v>
                      </c:pt>
                      <c:pt idx="4705">
                        <c:v>379.94380000000001</c:v>
                      </c:pt>
                      <c:pt idx="4706">
                        <c:v>377.19729999999998</c:v>
                      </c:pt>
                      <c:pt idx="4707">
                        <c:v>378.0646003</c:v>
                      </c:pt>
                      <c:pt idx="4708">
                        <c:v>378.11279999999999</c:v>
                      </c:pt>
                      <c:pt idx="4709">
                        <c:v>377.19729999999998</c:v>
                      </c:pt>
                      <c:pt idx="4710">
                        <c:v>378.11279999999999</c:v>
                      </c:pt>
                      <c:pt idx="4711">
                        <c:v>377.19729999999998</c:v>
                      </c:pt>
                      <c:pt idx="4712">
                        <c:v>378.11279999999999</c:v>
                      </c:pt>
                      <c:pt idx="4713">
                        <c:v>378.11279999999999</c:v>
                      </c:pt>
                      <c:pt idx="4714">
                        <c:v>377.19729999999998</c:v>
                      </c:pt>
                      <c:pt idx="4715">
                        <c:v>379.0283</c:v>
                      </c:pt>
                      <c:pt idx="4716">
                        <c:v>376.2817</c:v>
                      </c:pt>
                      <c:pt idx="4717">
                        <c:v>378.11279999999999</c:v>
                      </c:pt>
                      <c:pt idx="4718">
                        <c:v>378.11279999999999</c:v>
                      </c:pt>
                      <c:pt idx="4719">
                        <c:v>377.19729999999998</c:v>
                      </c:pt>
                      <c:pt idx="4720">
                        <c:v>378.11279999999999</c:v>
                      </c:pt>
                      <c:pt idx="4721">
                        <c:v>377.19729999999998</c:v>
                      </c:pt>
                      <c:pt idx="4722">
                        <c:v>378.11279999999999</c:v>
                      </c:pt>
                      <c:pt idx="4723">
                        <c:v>379.0283</c:v>
                      </c:pt>
                      <c:pt idx="4724">
                        <c:v>378.11279999999999</c:v>
                      </c:pt>
                      <c:pt idx="4725">
                        <c:v>378.11279999999999</c:v>
                      </c:pt>
                      <c:pt idx="4726">
                        <c:v>377.19729999999998</c:v>
                      </c:pt>
                      <c:pt idx="4727">
                        <c:v>377.23074050000002</c:v>
                      </c:pt>
                      <c:pt idx="4728">
                        <c:v>378.11279999999999</c:v>
                      </c:pt>
                      <c:pt idx="4729">
                        <c:v>377.19729999999998</c:v>
                      </c:pt>
                      <c:pt idx="4730">
                        <c:v>377.19729999999998</c:v>
                      </c:pt>
                      <c:pt idx="4731">
                        <c:v>377.19729999999998</c:v>
                      </c:pt>
                      <c:pt idx="4732">
                        <c:v>378.11279999999999</c:v>
                      </c:pt>
                      <c:pt idx="4733">
                        <c:v>377.19729999999998</c:v>
                      </c:pt>
                      <c:pt idx="4734">
                        <c:v>378.11279999999999</c:v>
                      </c:pt>
                      <c:pt idx="4735">
                        <c:v>377.19729999999998</c:v>
                      </c:pt>
                      <c:pt idx="4736">
                        <c:v>377.19729999999998</c:v>
                      </c:pt>
                      <c:pt idx="4737">
                        <c:v>377.19729999999998</c:v>
                      </c:pt>
                      <c:pt idx="4738">
                        <c:v>377.19729999999998</c:v>
                      </c:pt>
                      <c:pt idx="4739">
                        <c:v>377.19729999999998</c:v>
                      </c:pt>
                      <c:pt idx="4740">
                        <c:v>376.2817</c:v>
                      </c:pt>
                      <c:pt idx="4741">
                        <c:v>378.11279999999999</c:v>
                      </c:pt>
                      <c:pt idx="4742">
                        <c:v>376.2817</c:v>
                      </c:pt>
                      <c:pt idx="4743">
                        <c:v>377.19729999999998</c:v>
                      </c:pt>
                      <c:pt idx="4744">
                        <c:v>378.11279999999999</c:v>
                      </c:pt>
                      <c:pt idx="4745">
                        <c:v>377.19729999999998</c:v>
                      </c:pt>
                      <c:pt idx="4746">
                        <c:v>379.94380000000001</c:v>
                      </c:pt>
                      <c:pt idx="4747">
                        <c:v>376.2817</c:v>
                      </c:pt>
                      <c:pt idx="4748">
                        <c:v>379.0283</c:v>
                      </c:pt>
                      <c:pt idx="4749">
                        <c:v>378.2705057</c:v>
                      </c:pt>
                      <c:pt idx="4750">
                        <c:v>377.19729999999998</c:v>
                      </c:pt>
                      <c:pt idx="4751">
                        <c:v>377.19729999999998</c:v>
                      </c:pt>
                      <c:pt idx="4752">
                        <c:v>377.19729999999998</c:v>
                      </c:pt>
                      <c:pt idx="4753">
                        <c:v>377.19729999999998</c:v>
                      </c:pt>
                      <c:pt idx="4754">
                        <c:v>377.19729999999998</c:v>
                      </c:pt>
                      <c:pt idx="4755">
                        <c:v>376.2817</c:v>
                      </c:pt>
                      <c:pt idx="4756">
                        <c:v>377.19729999999998</c:v>
                      </c:pt>
                      <c:pt idx="4757">
                        <c:v>377.19729999999998</c:v>
                      </c:pt>
                      <c:pt idx="4758">
                        <c:v>377.19729999999998</c:v>
                      </c:pt>
                      <c:pt idx="4759">
                        <c:v>376.2817</c:v>
                      </c:pt>
                      <c:pt idx="4760">
                        <c:v>378.11279999999999</c:v>
                      </c:pt>
                      <c:pt idx="4761">
                        <c:v>375.36619999999999</c:v>
                      </c:pt>
                      <c:pt idx="4762">
                        <c:v>379.0283</c:v>
                      </c:pt>
                      <c:pt idx="4763">
                        <c:v>375.36619999999999</c:v>
                      </c:pt>
                      <c:pt idx="4764">
                        <c:v>377.19729999999998</c:v>
                      </c:pt>
                      <c:pt idx="4765">
                        <c:v>377.19729999999998</c:v>
                      </c:pt>
                      <c:pt idx="4766">
                        <c:v>377.19729999999998</c:v>
                      </c:pt>
                      <c:pt idx="4767">
                        <c:v>378.11279999999999</c:v>
                      </c:pt>
                      <c:pt idx="4768">
                        <c:v>377.34488579999999</c:v>
                      </c:pt>
                      <c:pt idx="4769">
                        <c:v>377.19729999999998</c:v>
                      </c:pt>
                      <c:pt idx="4770">
                        <c:v>377.58723120000002</c:v>
                      </c:pt>
                      <c:pt idx="4771">
                        <c:v>378.11279999999999</c:v>
                      </c:pt>
                      <c:pt idx="4772">
                        <c:v>377.19729999999998</c:v>
                      </c:pt>
                      <c:pt idx="4773">
                        <c:v>377.19729999999998</c:v>
                      </c:pt>
                      <c:pt idx="4774">
                        <c:v>378.11279999999999</c:v>
                      </c:pt>
                      <c:pt idx="4775">
                        <c:v>378.11279999999999</c:v>
                      </c:pt>
                      <c:pt idx="4776">
                        <c:v>378.11279999999999</c:v>
                      </c:pt>
                      <c:pt idx="4777">
                        <c:v>375.36619999999999</c:v>
                      </c:pt>
                      <c:pt idx="4778">
                        <c:v>377.19729999999998</c:v>
                      </c:pt>
                      <c:pt idx="4779">
                        <c:v>377.19729999999998</c:v>
                      </c:pt>
                      <c:pt idx="4780">
                        <c:v>377.19729999999998</c:v>
                      </c:pt>
                      <c:pt idx="4781">
                        <c:v>379.0283</c:v>
                      </c:pt>
                      <c:pt idx="4782">
                        <c:v>377.19729999999998</c:v>
                      </c:pt>
                      <c:pt idx="4783">
                        <c:v>379.94380000000001</c:v>
                      </c:pt>
                      <c:pt idx="4784">
                        <c:v>376.2817</c:v>
                      </c:pt>
                      <c:pt idx="4785">
                        <c:v>377.19729999999998</c:v>
                      </c:pt>
                      <c:pt idx="4786">
                        <c:v>379.0283</c:v>
                      </c:pt>
                      <c:pt idx="4787">
                        <c:v>377.19729999999998</c:v>
                      </c:pt>
                      <c:pt idx="4788">
                        <c:v>375.36619999999999</c:v>
                      </c:pt>
                      <c:pt idx="4789">
                        <c:v>377.19729999999998</c:v>
                      </c:pt>
                      <c:pt idx="4790">
                        <c:v>377.19729999999998</c:v>
                      </c:pt>
                      <c:pt idx="4791">
                        <c:v>376.2817</c:v>
                      </c:pt>
                      <c:pt idx="4792">
                        <c:v>377.19729999999998</c:v>
                      </c:pt>
                      <c:pt idx="4793">
                        <c:v>377.19729999999998</c:v>
                      </c:pt>
                      <c:pt idx="4794">
                        <c:v>375.36619999999999</c:v>
                      </c:pt>
                      <c:pt idx="4795">
                        <c:v>379.0283</c:v>
                      </c:pt>
                      <c:pt idx="4796">
                        <c:v>377.19729999999998</c:v>
                      </c:pt>
                      <c:pt idx="4797">
                        <c:v>377.19729999999998</c:v>
                      </c:pt>
                      <c:pt idx="4798">
                        <c:v>377.19729999999998</c:v>
                      </c:pt>
                      <c:pt idx="4799">
                        <c:v>377.19729999999998</c:v>
                      </c:pt>
                      <c:pt idx="4800">
                        <c:v>379.0283</c:v>
                      </c:pt>
                      <c:pt idx="4801">
                        <c:v>377.19729999999998</c:v>
                      </c:pt>
                      <c:pt idx="4802">
                        <c:v>377.19729999999998</c:v>
                      </c:pt>
                      <c:pt idx="4803">
                        <c:v>377.19729999999998</c:v>
                      </c:pt>
                      <c:pt idx="4804">
                        <c:v>377.19729999999998</c:v>
                      </c:pt>
                      <c:pt idx="4805">
                        <c:v>377.19729999999998</c:v>
                      </c:pt>
                      <c:pt idx="4806">
                        <c:v>377.19729999999998</c:v>
                      </c:pt>
                      <c:pt idx="4807">
                        <c:v>375.36619999999999</c:v>
                      </c:pt>
                      <c:pt idx="4808">
                        <c:v>379.0283</c:v>
                      </c:pt>
                      <c:pt idx="4809">
                        <c:v>376.2817</c:v>
                      </c:pt>
                      <c:pt idx="4810">
                        <c:v>377.19729999999998</c:v>
                      </c:pt>
                      <c:pt idx="4811">
                        <c:v>377.19729999999998</c:v>
                      </c:pt>
                      <c:pt idx="4812">
                        <c:v>377.19729999999998</c:v>
                      </c:pt>
                      <c:pt idx="4813">
                        <c:v>375.36619999999999</c:v>
                      </c:pt>
                      <c:pt idx="4814">
                        <c:v>377.19729999999998</c:v>
                      </c:pt>
                      <c:pt idx="4815">
                        <c:v>377.19729999999998</c:v>
                      </c:pt>
                      <c:pt idx="4816">
                        <c:v>376.2817</c:v>
                      </c:pt>
                      <c:pt idx="4817">
                        <c:v>377.19729999999998</c:v>
                      </c:pt>
                      <c:pt idx="4818">
                        <c:v>376.2817</c:v>
                      </c:pt>
                      <c:pt idx="4819">
                        <c:v>377.19729999999998</c:v>
                      </c:pt>
                      <c:pt idx="4820">
                        <c:v>377.19729999999998</c:v>
                      </c:pt>
                      <c:pt idx="4821">
                        <c:v>377.19729999999998</c:v>
                      </c:pt>
                      <c:pt idx="4822">
                        <c:v>377.19729999999998</c:v>
                      </c:pt>
                      <c:pt idx="4823">
                        <c:v>377.19729999999998</c:v>
                      </c:pt>
                      <c:pt idx="4824">
                        <c:v>377.19729999999998</c:v>
                      </c:pt>
                      <c:pt idx="4825">
                        <c:v>378.11279999999999</c:v>
                      </c:pt>
                      <c:pt idx="4826">
                        <c:v>379.0283</c:v>
                      </c:pt>
                      <c:pt idx="4827">
                        <c:v>377.19729999999998</c:v>
                      </c:pt>
                      <c:pt idx="4828">
                        <c:v>377.19729999999998</c:v>
                      </c:pt>
                      <c:pt idx="4829">
                        <c:v>375.36619999999999</c:v>
                      </c:pt>
                      <c:pt idx="4830">
                        <c:v>378.11279999999999</c:v>
                      </c:pt>
                      <c:pt idx="4831">
                        <c:v>377.19729999999998</c:v>
                      </c:pt>
                      <c:pt idx="4832">
                        <c:v>376.2817</c:v>
                      </c:pt>
                      <c:pt idx="4833">
                        <c:v>377.19729999999998</c:v>
                      </c:pt>
                      <c:pt idx="4834">
                        <c:v>376.2817</c:v>
                      </c:pt>
                      <c:pt idx="4835">
                        <c:v>377.19729999999998</c:v>
                      </c:pt>
                      <c:pt idx="4836">
                        <c:v>377.19729999999998</c:v>
                      </c:pt>
                      <c:pt idx="4837">
                        <c:v>377.19729999999998</c:v>
                      </c:pt>
                      <c:pt idx="4838">
                        <c:v>378.11279999999999</c:v>
                      </c:pt>
                      <c:pt idx="4839">
                        <c:v>377.19729999999998</c:v>
                      </c:pt>
                      <c:pt idx="4840">
                        <c:v>377.19729999999998</c:v>
                      </c:pt>
                      <c:pt idx="4841">
                        <c:v>377.19729999999998</c:v>
                      </c:pt>
                      <c:pt idx="4842">
                        <c:v>377.19729999999998</c:v>
                      </c:pt>
                      <c:pt idx="4843">
                        <c:v>376.2817</c:v>
                      </c:pt>
                      <c:pt idx="4844">
                        <c:v>379.0283</c:v>
                      </c:pt>
                      <c:pt idx="4845">
                        <c:v>377.19729999999998</c:v>
                      </c:pt>
                      <c:pt idx="4846">
                        <c:v>378.11279999999999</c:v>
                      </c:pt>
                      <c:pt idx="4847">
                        <c:v>376.46469830000001</c:v>
                      </c:pt>
                      <c:pt idx="4848">
                        <c:v>376.2817</c:v>
                      </c:pt>
                      <c:pt idx="4849">
                        <c:v>377.19729999999998</c:v>
                      </c:pt>
                      <c:pt idx="4850">
                        <c:v>378.11279999999999</c:v>
                      </c:pt>
                      <c:pt idx="4851">
                        <c:v>377.19729999999998</c:v>
                      </c:pt>
                      <c:pt idx="4852">
                        <c:v>379.0283</c:v>
                      </c:pt>
                      <c:pt idx="4853">
                        <c:v>375.36619999999999</c:v>
                      </c:pt>
                      <c:pt idx="4854">
                        <c:v>377.19729999999998</c:v>
                      </c:pt>
                      <c:pt idx="4855">
                        <c:v>376.2817</c:v>
                      </c:pt>
                      <c:pt idx="4856">
                        <c:v>379.94380000000001</c:v>
                      </c:pt>
                      <c:pt idx="4857">
                        <c:v>379.0283</c:v>
                      </c:pt>
                      <c:pt idx="4858">
                        <c:v>377.19729999999998</c:v>
                      </c:pt>
                      <c:pt idx="4859">
                        <c:v>375.36619999999999</c:v>
                      </c:pt>
                      <c:pt idx="4860">
                        <c:v>377.19729999999998</c:v>
                      </c:pt>
                      <c:pt idx="4861">
                        <c:v>377.19729999999998</c:v>
                      </c:pt>
                      <c:pt idx="4862">
                        <c:v>377.19729999999998</c:v>
                      </c:pt>
                      <c:pt idx="4863">
                        <c:v>377.19729999999998</c:v>
                      </c:pt>
                      <c:pt idx="4864">
                        <c:v>377.19729999999998</c:v>
                      </c:pt>
                      <c:pt idx="4865">
                        <c:v>379.0283</c:v>
                      </c:pt>
                      <c:pt idx="4866">
                        <c:v>375.36619999999999</c:v>
                      </c:pt>
                      <c:pt idx="4867">
                        <c:v>378.11279999999999</c:v>
                      </c:pt>
                      <c:pt idx="4868">
                        <c:v>377.19729999999998</c:v>
                      </c:pt>
                      <c:pt idx="4869">
                        <c:v>378.11279999999999</c:v>
                      </c:pt>
                      <c:pt idx="4870">
                        <c:v>374.45069999999998</c:v>
                      </c:pt>
                      <c:pt idx="4871">
                        <c:v>379.0283</c:v>
                      </c:pt>
                      <c:pt idx="4872">
                        <c:v>377.19729999999998</c:v>
                      </c:pt>
                      <c:pt idx="4873">
                        <c:v>375.36619999999999</c:v>
                      </c:pt>
                      <c:pt idx="4874">
                        <c:v>379.0283</c:v>
                      </c:pt>
                      <c:pt idx="4875">
                        <c:v>378.11279999999999</c:v>
                      </c:pt>
                      <c:pt idx="4876">
                        <c:v>378.11279999999999</c:v>
                      </c:pt>
                      <c:pt idx="4877">
                        <c:v>378.11279999999999</c:v>
                      </c:pt>
                      <c:pt idx="4878">
                        <c:v>376.2817</c:v>
                      </c:pt>
                      <c:pt idx="4879">
                        <c:v>378.11279999999999</c:v>
                      </c:pt>
                      <c:pt idx="4880">
                        <c:v>378.11279999999999</c:v>
                      </c:pt>
                      <c:pt idx="4881">
                        <c:v>376.2817</c:v>
                      </c:pt>
                      <c:pt idx="4882">
                        <c:v>379.0283</c:v>
                      </c:pt>
                      <c:pt idx="4883">
                        <c:v>378.11279999999999</c:v>
                      </c:pt>
                      <c:pt idx="4884">
                        <c:v>379.94380000000001</c:v>
                      </c:pt>
                      <c:pt idx="4885">
                        <c:v>378.11279999999999</c:v>
                      </c:pt>
                      <c:pt idx="4886">
                        <c:v>378.11279999999999</c:v>
                      </c:pt>
                      <c:pt idx="4887">
                        <c:v>378.93580930000002</c:v>
                      </c:pt>
                      <c:pt idx="4888">
                        <c:v>379.0283</c:v>
                      </c:pt>
                      <c:pt idx="4889">
                        <c:v>377.19729999999998</c:v>
                      </c:pt>
                      <c:pt idx="4890">
                        <c:v>378.11279999999999</c:v>
                      </c:pt>
                      <c:pt idx="4891">
                        <c:v>378.11279999999999</c:v>
                      </c:pt>
                      <c:pt idx="4892">
                        <c:v>376.2817</c:v>
                      </c:pt>
                      <c:pt idx="4893">
                        <c:v>378.11279999999999</c:v>
                      </c:pt>
                      <c:pt idx="4894">
                        <c:v>377.19729999999998</c:v>
                      </c:pt>
                      <c:pt idx="4895">
                        <c:v>378.11279999999999</c:v>
                      </c:pt>
                      <c:pt idx="4896">
                        <c:v>378.11279999999999</c:v>
                      </c:pt>
                      <c:pt idx="4897">
                        <c:v>376.2817</c:v>
                      </c:pt>
                      <c:pt idx="4898">
                        <c:v>379.94380000000001</c:v>
                      </c:pt>
                      <c:pt idx="4899">
                        <c:v>378.51363900000001</c:v>
                      </c:pt>
                      <c:pt idx="4900">
                        <c:v>376.2817</c:v>
                      </c:pt>
                      <c:pt idx="4901">
                        <c:v>379.94380000000001</c:v>
                      </c:pt>
                      <c:pt idx="4902">
                        <c:v>379.44080739999998</c:v>
                      </c:pt>
                      <c:pt idx="4903">
                        <c:v>378.11279999999999</c:v>
                      </c:pt>
                      <c:pt idx="4904">
                        <c:v>378.11279999999999</c:v>
                      </c:pt>
                      <c:pt idx="4905">
                        <c:v>377.19729999999998</c:v>
                      </c:pt>
                      <c:pt idx="4906">
                        <c:v>376.2817</c:v>
                      </c:pt>
                      <c:pt idx="4907">
                        <c:v>378.11279999999999</c:v>
                      </c:pt>
                      <c:pt idx="4908">
                        <c:v>378.11279999999999</c:v>
                      </c:pt>
                      <c:pt idx="4909">
                        <c:v>378.11279999999999</c:v>
                      </c:pt>
                      <c:pt idx="4910">
                        <c:v>376.2817</c:v>
                      </c:pt>
                      <c:pt idx="4911">
                        <c:v>378.11279999999999</c:v>
                      </c:pt>
                      <c:pt idx="4912">
                        <c:v>378.11279999999999</c:v>
                      </c:pt>
                      <c:pt idx="4913">
                        <c:v>378.11279999999999</c:v>
                      </c:pt>
                      <c:pt idx="4914">
                        <c:v>378.11279999999999</c:v>
                      </c:pt>
                      <c:pt idx="4915">
                        <c:v>377.19729999999998</c:v>
                      </c:pt>
                      <c:pt idx="4916">
                        <c:v>378.11279999999999</c:v>
                      </c:pt>
                      <c:pt idx="4917">
                        <c:v>378.11279999999999</c:v>
                      </c:pt>
                      <c:pt idx="4918">
                        <c:v>378.11279999999999</c:v>
                      </c:pt>
                      <c:pt idx="4919">
                        <c:v>376.2817</c:v>
                      </c:pt>
                      <c:pt idx="4920">
                        <c:v>378.11279999999999</c:v>
                      </c:pt>
                      <c:pt idx="4921">
                        <c:v>376.2817</c:v>
                      </c:pt>
                      <c:pt idx="4922">
                        <c:v>377.19729999999998</c:v>
                      </c:pt>
                      <c:pt idx="4923">
                        <c:v>378.11279999999999</c:v>
                      </c:pt>
                      <c:pt idx="4924">
                        <c:v>377.19729999999998</c:v>
                      </c:pt>
                      <c:pt idx="4925">
                        <c:v>376.2817</c:v>
                      </c:pt>
                      <c:pt idx="4926">
                        <c:v>378.11279999999999</c:v>
                      </c:pt>
                      <c:pt idx="4927">
                        <c:v>378.11279999999999</c:v>
                      </c:pt>
                      <c:pt idx="4928">
                        <c:v>378.11279999999999</c:v>
                      </c:pt>
                      <c:pt idx="4929">
                        <c:v>377.19729999999998</c:v>
                      </c:pt>
                      <c:pt idx="4930">
                        <c:v>378.11279999999999</c:v>
                      </c:pt>
                      <c:pt idx="4931">
                        <c:v>378.11279999999999</c:v>
                      </c:pt>
                      <c:pt idx="4932">
                        <c:v>378.11279999999999</c:v>
                      </c:pt>
                      <c:pt idx="4933">
                        <c:v>377.19729999999998</c:v>
                      </c:pt>
                      <c:pt idx="4934">
                        <c:v>378.11279999999999</c:v>
                      </c:pt>
                      <c:pt idx="4935">
                        <c:v>377.19729999999998</c:v>
                      </c:pt>
                      <c:pt idx="4936">
                        <c:v>379.94380000000001</c:v>
                      </c:pt>
                      <c:pt idx="4937">
                        <c:v>376.2817</c:v>
                      </c:pt>
                      <c:pt idx="4938">
                        <c:v>379.0283</c:v>
                      </c:pt>
                      <c:pt idx="4939">
                        <c:v>378.26724589999998</c:v>
                      </c:pt>
                      <c:pt idx="4940">
                        <c:v>377.19729999999998</c:v>
                      </c:pt>
                      <c:pt idx="4941">
                        <c:v>379.0283</c:v>
                      </c:pt>
                      <c:pt idx="4942">
                        <c:v>379.0283</c:v>
                      </c:pt>
                      <c:pt idx="4943">
                        <c:v>378.11279999999999</c:v>
                      </c:pt>
                      <c:pt idx="4944">
                        <c:v>377.19729999999998</c:v>
                      </c:pt>
                      <c:pt idx="4945">
                        <c:v>379.0283</c:v>
                      </c:pt>
                      <c:pt idx="4946">
                        <c:v>378.11279999999999</c:v>
                      </c:pt>
                      <c:pt idx="4947">
                        <c:v>378.11279999999999</c:v>
                      </c:pt>
                      <c:pt idx="4948">
                        <c:v>379.94380000000001</c:v>
                      </c:pt>
                      <c:pt idx="4949">
                        <c:v>376.2817</c:v>
                      </c:pt>
                      <c:pt idx="4950">
                        <c:v>378.11279999999999</c:v>
                      </c:pt>
                      <c:pt idx="4951">
                        <c:v>379.0283</c:v>
                      </c:pt>
                      <c:pt idx="4952">
                        <c:v>379.94380000000001</c:v>
                      </c:pt>
                      <c:pt idx="4953">
                        <c:v>378.11279999999999</c:v>
                      </c:pt>
                      <c:pt idx="4954">
                        <c:v>378.11279999999999</c:v>
                      </c:pt>
                      <c:pt idx="4955">
                        <c:v>380.85939999999999</c:v>
                      </c:pt>
                      <c:pt idx="4956">
                        <c:v>377.19729999999998</c:v>
                      </c:pt>
                      <c:pt idx="4957">
                        <c:v>380.85939999999999</c:v>
                      </c:pt>
                      <c:pt idx="4958">
                        <c:v>377.19729999999998</c:v>
                      </c:pt>
                      <c:pt idx="4959">
                        <c:v>379.0283</c:v>
                      </c:pt>
                      <c:pt idx="4960">
                        <c:v>377.19729999999998</c:v>
                      </c:pt>
                      <c:pt idx="4961">
                        <c:v>378.11279999999999</c:v>
                      </c:pt>
                      <c:pt idx="4962">
                        <c:v>377.19729999999998</c:v>
                      </c:pt>
                      <c:pt idx="4963">
                        <c:v>376.2817</c:v>
                      </c:pt>
                      <c:pt idx="4964">
                        <c:v>376.2817</c:v>
                      </c:pt>
                      <c:pt idx="4965">
                        <c:v>375.36619999999999</c:v>
                      </c:pt>
                      <c:pt idx="4966">
                        <c:v>375.36619999999999</c:v>
                      </c:pt>
                      <c:pt idx="4967">
                        <c:v>373.53519999999997</c:v>
                      </c:pt>
                      <c:pt idx="4968">
                        <c:v>377.19729999999998</c:v>
                      </c:pt>
                      <c:pt idx="4969">
                        <c:v>376.2817</c:v>
                      </c:pt>
                      <c:pt idx="4970">
                        <c:v>376.2817</c:v>
                      </c:pt>
                      <c:pt idx="4971">
                        <c:v>375.36619999999999</c:v>
                      </c:pt>
                      <c:pt idx="4972">
                        <c:v>376.9878597</c:v>
                      </c:pt>
                      <c:pt idx="4973">
                        <c:v>377.19729999999998</c:v>
                      </c:pt>
                      <c:pt idx="4974">
                        <c:v>375.36619999999999</c:v>
                      </c:pt>
                      <c:pt idx="4975">
                        <c:v>375.36619999999999</c:v>
                      </c:pt>
                      <c:pt idx="4976">
                        <c:v>375.36619999999999</c:v>
                      </c:pt>
                      <c:pt idx="4977">
                        <c:v>375.36619999999999</c:v>
                      </c:pt>
                      <c:pt idx="4978">
                        <c:v>375.36619999999999</c:v>
                      </c:pt>
                      <c:pt idx="4979">
                        <c:v>374.45069999999998</c:v>
                      </c:pt>
                      <c:pt idx="4980">
                        <c:v>375.36619999999999</c:v>
                      </c:pt>
                      <c:pt idx="4981">
                        <c:v>377.19729999999998</c:v>
                      </c:pt>
                      <c:pt idx="4982">
                        <c:v>375.36619999999999</c:v>
                      </c:pt>
                      <c:pt idx="4983">
                        <c:v>373.53519999999997</c:v>
                      </c:pt>
                      <c:pt idx="4984">
                        <c:v>375.36619999999999</c:v>
                      </c:pt>
                      <c:pt idx="4985">
                        <c:v>375.36619999999999</c:v>
                      </c:pt>
                      <c:pt idx="4986">
                        <c:v>375.36619999999999</c:v>
                      </c:pt>
                      <c:pt idx="4987">
                        <c:v>375.36619999999999</c:v>
                      </c:pt>
                      <c:pt idx="4988">
                        <c:v>375.36619999999999</c:v>
                      </c:pt>
                      <c:pt idx="4989">
                        <c:v>377.19729999999998</c:v>
                      </c:pt>
                      <c:pt idx="4990">
                        <c:v>373.53519999999997</c:v>
                      </c:pt>
                      <c:pt idx="4991">
                        <c:v>375.36619999999999</c:v>
                      </c:pt>
                      <c:pt idx="4992">
                        <c:v>376.2817</c:v>
                      </c:pt>
                      <c:pt idx="4993">
                        <c:v>375.36619999999999</c:v>
                      </c:pt>
                      <c:pt idx="4994">
                        <c:v>373.53519999999997</c:v>
                      </c:pt>
                      <c:pt idx="4995">
                        <c:v>377.19729999999998</c:v>
                      </c:pt>
                      <c:pt idx="4996">
                        <c:v>377.1662791</c:v>
                      </c:pt>
                      <c:pt idx="4997">
                        <c:v>375.36619999999999</c:v>
                      </c:pt>
                      <c:pt idx="4998">
                        <c:v>375.36619999999999</c:v>
                      </c:pt>
                      <c:pt idx="4999">
                        <c:v>375.36619999999999</c:v>
                      </c:pt>
                      <c:pt idx="5000">
                        <c:v>375.36619999999999</c:v>
                      </c:pt>
                      <c:pt idx="5001">
                        <c:v>378.11279999999999</c:v>
                      </c:pt>
                      <c:pt idx="5002">
                        <c:v>374.45069999999998</c:v>
                      </c:pt>
                      <c:pt idx="5003">
                        <c:v>375.36619999999999</c:v>
                      </c:pt>
                      <c:pt idx="5004">
                        <c:v>375.36619999999999</c:v>
                      </c:pt>
                      <c:pt idx="5005">
                        <c:v>375.36619999999999</c:v>
                      </c:pt>
                      <c:pt idx="5006">
                        <c:v>375.36619999999999</c:v>
                      </c:pt>
                      <c:pt idx="5007">
                        <c:v>375.36619999999999</c:v>
                      </c:pt>
                      <c:pt idx="5008">
                        <c:v>374.45069999999998</c:v>
                      </c:pt>
                      <c:pt idx="5009">
                        <c:v>375.36619999999999</c:v>
                      </c:pt>
                      <c:pt idx="5010">
                        <c:v>374.45069999999998</c:v>
                      </c:pt>
                      <c:pt idx="5011">
                        <c:v>375.36619999999999</c:v>
                      </c:pt>
                      <c:pt idx="5012">
                        <c:v>375.36619999999999</c:v>
                      </c:pt>
                      <c:pt idx="5013">
                        <c:v>375.36619999999999</c:v>
                      </c:pt>
                      <c:pt idx="5014">
                        <c:v>375.36619999999999</c:v>
                      </c:pt>
                      <c:pt idx="5015">
                        <c:v>373.53519999999997</c:v>
                      </c:pt>
                      <c:pt idx="5016">
                        <c:v>377.19729999999998</c:v>
                      </c:pt>
                      <c:pt idx="5017">
                        <c:v>374.45069999999998</c:v>
                      </c:pt>
                      <c:pt idx="5018">
                        <c:v>374.45069999999998</c:v>
                      </c:pt>
                      <c:pt idx="5019">
                        <c:v>374.45069999999998</c:v>
                      </c:pt>
                      <c:pt idx="5020">
                        <c:v>375.3301184</c:v>
                      </c:pt>
                      <c:pt idx="5021">
                        <c:v>375.36619999999999</c:v>
                      </c:pt>
                      <c:pt idx="5022">
                        <c:v>373.53519999999997</c:v>
                      </c:pt>
                      <c:pt idx="5023">
                        <c:v>375.36619999999999</c:v>
                      </c:pt>
                      <c:pt idx="5024">
                        <c:v>375.36619999999999</c:v>
                      </c:pt>
                      <c:pt idx="5025">
                        <c:v>373.53519999999997</c:v>
                      </c:pt>
                      <c:pt idx="5026">
                        <c:v>375.36619999999999</c:v>
                      </c:pt>
                      <c:pt idx="5027">
                        <c:v>376.2817</c:v>
                      </c:pt>
                      <c:pt idx="5028">
                        <c:v>374.45069999999998</c:v>
                      </c:pt>
                      <c:pt idx="5029">
                        <c:v>374.45069999999998</c:v>
                      </c:pt>
                      <c:pt idx="5030">
                        <c:v>374.45069999999998</c:v>
                      </c:pt>
                      <c:pt idx="5031">
                        <c:v>372.61959999999999</c:v>
                      </c:pt>
                      <c:pt idx="5032">
                        <c:v>374.45069999999998</c:v>
                      </c:pt>
                      <c:pt idx="5033">
                        <c:v>375.36619999999999</c:v>
                      </c:pt>
                      <c:pt idx="5034">
                        <c:v>375.36619999999999</c:v>
                      </c:pt>
                      <c:pt idx="5035">
                        <c:v>375.36619999999999</c:v>
                      </c:pt>
                      <c:pt idx="5036">
                        <c:v>375.36619999999999</c:v>
                      </c:pt>
                      <c:pt idx="5037">
                        <c:v>375.36619999999999</c:v>
                      </c:pt>
                      <c:pt idx="5038">
                        <c:v>375.36619999999999</c:v>
                      </c:pt>
                      <c:pt idx="5039">
                        <c:v>375.36619999999999</c:v>
                      </c:pt>
                      <c:pt idx="5040">
                        <c:v>376.2817</c:v>
                      </c:pt>
                      <c:pt idx="5041">
                        <c:v>376.2817</c:v>
                      </c:pt>
                      <c:pt idx="5042">
                        <c:v>376.2817</c:v>
                      </c:pt>
                      <c:pt idx="5043">
                        <c:v>374.45069999999998</c:v>
                      </c:pt>
                      <c:pt idx="5044">
                        <c:v>375.79581239999999</c:v>
                      </c:pt>
                      <c:pt idx="5045">
                        <c:v>376.2817</c:v>
                      </c:pt>
                      <c:pt idx="5046">
                        <c:v>374.45069999999998</c:v>
                      </c:pt>
                      <c:pt idx="5047">
                        <c:v>375.36619999999999</c:v>
                      </c:pt>
                      <c:pt idx="5048">
                        <c:v>373.53519999999997</c:v>
                      </c:pt>
                      <c:pt idx="5049">
                        <c:v>376.2817</c:v>
                      </c:pt>
                      <c:pt idx="5050">
                        <c:v>374.45069999999998</c:v>
                      </c:pt>
                      <c:pt idx="5051">
                        <c:v>374.45069999999998</c:v>
                      </c:pt>
                      <c:pt idx="5052">
                        <c:v>373.53519999999997</c:v>
                      </c:pt>
                      <c:pt idx="5053">
                        <c:v>374.45069999999998</c:v>
                      </c:pt>
                      <c:pt idx="5054">
                        <c:v>376.2817</c:v>
                      </c:pt>
                      <c:pt idx="5055">
                        <c:v>374.45069999999998</c:v>
                      </c:pt>
                      <c:pt idx="5056">
                        <c:v>375.36619999999999</c:v>
                      </c:pt>
                      <c:pt idx="5057">
                        <c:v>375.36619999999999</c:v>
                      </c:pt>
                      <c:pt idx="5058">
                        <c:v>375.36619999999999</c:v>
                      </c:pt>
                      <c:pt idx="5059">
                        <c:v>375.36619999999999</c:v>
                      </c:pt>
                      <c:pt idx="5060">
                        <c:v>375.36619999999999</c:v>
                      </c:pt>
                      <c:pt idx="5061">
                        <c:v>375.36619999999999</c:v>
                      </c:pt>
                      <c:pt idx="5062">
                        <c:v>374.45069999999998</c:v>
                      </c:pt>
                      <c:pt idx="5063">
                        <c:v>375.36619999999999</c:v>
                      </c:pt>
                      <c:pt idx="5064">
                        <c:v>375.36619999999999</c:v>
                      </c:pt>
                      <c:pt idx="5065">
                        <c:v>374.45069999999998</c:v>
                      </c:pt>
                      <c:pt idx="5066">
                        <c:v>376.2817</c:v>
                      </c:pt>
                      <c:pt idx="5067">
                        <c:v>374.45069999999998</c:v>
                      </c:pt>
                      <c:pt idx="5068">
                        <c:v>373.53519999999997</c:v>
                      </c:pt>
                      <c:pt idx="5069">
                        <c:v>377.19729999999998</c:v>
                      </c:pt>
                      <c:pt idx="5070">
                        <c:v>373.53519999999997</c:v>
                      </c:pt>
                      <c:pt idx="5071">
                        <c:v>375.36619999999999</c:v>
                      </c:pt>
                      <c:pt idx="5072">
                        <c:v>377.19729999999998</c:v>
                      </c:pt>
                      <c:pt idx="5073">
                        <c:v>373.53519999999997</c:v>
                      </c:pt>
                      <c:pt idx="5074">
                        <c:v>374.45069999999998</c:v>
                      </c:pt>
                      <c:pt idx="5075">
                        <c:v>374.45069999999998</c:v>
                      </c:pt>
                      <c:pt idx="5076">
                        <c:v>374.45069999999998</c:v>
                      </c:pt>
                      <c:pt idx="5077">
                        <c:v>374.45069999999998</c:v>
                      </c:pt>
                      <c:pt idx="5078">
                        <c:v>374.45069999999998</c:v>
                      </c:pt>
                      <c:pt idx="5079">
                        <c:v>374.45069999999998</c:v>
                      </c:pt>
                      <c:pt idx="5080">
                        <c:v>374.45069999999998</c:v>
                      </c:pt>
                      <c:pt idx="5081">
                        <c:v>376.2817</c:v>
                      </c:pt>
                      <c:pt idx="5082">
                        <c:v>372.61959999999999</c:v>
                      </c:pt>
                      <c:pt idx="5083">
                        <c:v>374.45069999999998</c:v>
                      </c:pt>
                      <c:pt idx="5084">
                        <c:v>374.45069999999998</c:v>
                      </c:pt>
                      <c:pt idx="5085">
                        <c:v>372.61959999999999</c:v>
                      </c:pt>
                      <c:pt idx="5086">
                        <c:v>374.45069999999998</c:v>
                      </c:pt>
                      <c:pt idx="5087">
                        <c:v>374.45069999999998</c:v>
                      </c:pt>
                      <c:pt idx="5088">
                        <c:v>374.45069999999998</c:v>
                      </c:pt>
                      <c:pt idx="5089">
                        <c:v>374.45069999999998</c:v>
                      </c:pt>
                      <c:pt idx="5090">
                        <c:v>374.45069999999998</c:v>
                      </c:pt>
                      <c:pt idx="5091">
                        <c:v>375.36619999999999</c:v>
                      </c:pt>
                      <c:pt idx="5092">
                        <c:v>372.61959999999999</c:v>
                      </c:pt>
                      <c:pt idx="5093">
                        <c:v>376.2817</c:v>
                      </c:pt>
                      <c:pt idx="5094">
                        <c:v>374.45069999999998</c:v>
                      </c:pt>
                      <c:pt idx="5095">
                        <c:v>376.2817</c:v>
                      </c:pt>
                      <c:pt idx="5096">
                        <c:v>372.61959999999999</c:v>
                      </c:pt>
                      <c:pt idx="5097">
                        <c:v>375.36619999999999</c:v>
                      </c:pt>
                      <c:pt idx="5098">
                        <c:v>374.45069999999998</c:v>
                      </c:pt>
                      <c:pt idx="5099">
                        <c:v>376.2817</c:v>
                      </c:pt>
                      <c:pt idx="5100">
                        <c:v>375.36619999999999</c:v>
                      </c:pt>
                      <c:pt idx="5101">
                        <c:v>375.36619999999999</c:v>
                      </c:pt>
                      <c:pt idx="5102">
                        <c:v>375.36619999999999</c:v>
                      </c:pt>
                      <c:pt idx="5103">
                        <c:v>375.36619999999999</c:v>
                      </c:pt>
                      <c:pt idx="5104">
                        <c:v>375.36619999999999</c:v>
                      </c:pt>
                      <c:pt idx="5105">
                        <c:v>374.45069999999998</c:v>
                      </c:pt>
                      <c:pt idx="5106">
                        <c:v>376.2817</c:v>
                      </c:pt>
                      <c:pt idx="5107">
                        <c:v>375.36619999999999</c:v>
                      </c:pt>
                      <c:pt idx="5108">
                        <c:v>375.36619999999999</c:v>
                      </c:pt>
                      <c:pt idx="5109">
                        <c:v>374.45069999999998</c:v>
                      </c:pt>
                      <c:pt idx="5110">
                        <c:v>375.36619999999999</c:v>
                      </c:pt>
                      <c:pt idx="5111">
                        <c:v>374.45069999999998</c:v>
                      </c:pt>
                      <c:pt idx="5112">
                        <c:v>376.2817</c:v>
                      </c:pt>
                      <c:pt idx="5113">
                        <c:v>374.45069999999998</c:v>
                      </c:pt>
                      <c:pt idx="5114">
                        <c:v>375.36619999999999</c:v>
                      </c:pt>
                      <c:pt idx="5115">
                        <c:v>373.53519999999997</c:v>
                      </c:pt>
                      <c:pt idx="5116">
                        <c:v>375.36619999999999</c:v>
                      </c:pt>
                      <c:pt idx="5117">
                        <c:v>374.45069999999998</c:v>
                      </c:pt>
                      <c:pt idx="5118">
                        <c:v>374.45069999999998</c:v>
                      </c:pt>
                      <c:pt idx="5119">
                        <c:v>375.36619999999999</c:v>
                      </c:pt>
                      <c:pt idx="5120">
                        <c:v>376.2817</c:v>
                      </c:pt>
                      <c:pt idx="5121">
                        <c:v>374.45069999999998</c:v>
                      </c:pt>
                      <c:pt idx="5122">
                        <c:v>375.36619999999999</c:v>
                      </c:pt>
                      <c:pt idx="5123">
                        <c:v>375.36619999999999</c:v>
                      </c:pt>
                      <c:pt idx="5124">
                        <c:v>376.2817</c:v>
                      </c:pt>
                      <c:pt idx="5125">
                        <c:v>376.2817</c:v>
                      </c:pt>
                      <c:pt idx="5126">
                        <c:v>377.19729999999998</c:v>
                      </c:pt>
                      <c:pt idx="5127">
                        <c:v>376.2817</c:v>
                      </c:pt>
                      <c:pt idx="5128">
                        <c:v>378.11279999999999</c:v>
                      </c:pt>
                      <c:pt idx="5129">
                        <c:v>374.45069999999998</c:v>
                      </c:pt>
                      <c:pt idx="5130">
                        <c:v>378.11279999999999</c:v>
                      </c:pt>
                      <c:pt idx="5131">
                        <c:v>376.2817</c:v>
                      </c:pt>
                      <c:pt idx="5132">
                        <c:v>377.19729999999998</c:v>
                      </c:pt>
                      <c:pt idx="5133">
                        <c:v>376.2817</c:v>
                      </c:pt>
                      <c:pt idx="5134">
                        <c:v>376.2817</c:v>
                      </c:pt>
                      <c:pt idx="5135">
                        <c:v>374.45069999999998</c:v>
                      </c:pt>
                      <c:pt idx="5136">
                        <c:v>378.11279999999999</c:v>
                      </c:pt>
                      <c:pt idx="5137">
                        <c:v>377.19729999999998</c:v>
                      </c:pt>
                      <c:pt idx="5138">
                        <c:v>376.2817</c:v>
                      </c:pt>
                      <c:pt idx="5139">
                        <c:v>378.11279999999999</c:v>
                      </c:pt>
                      <c:pt idx="5140">
                        <c:v>376.2817</c:v>
                      </c:pt>
                      <c:pt idx="5141">
                        <c:v>377.19729999999998</c:v>
                      </c:pt>
                      <c:pt idx="5142">
                        <c:v>375.66202959999998</c:v>
                      </c:pt>
                      <c:pt idx="5143">
                        <c:v>375.36619999999999</c:v>
                      </c:pt>
                      <c:pt idx="5144">
                        <c:v>378.11279999999999</c:v>
                      </c:pt>
                      <c:pt idx="5145">
                        <c:v>378.11279999999999</c:v>
                      </c:pt>
                      <c:pt idx="5146">
                        <c:v>376.2817</c:v>
                      </c:pt>
                      <c:pt idx="5147">
                        <c:v>376.2817</c:v>
                      </c:pt>
                      <c:pt idx="5148">
                        <c:v>376.70083039999997</c:v>
                      </c:pt>
                      <c:pt idx="5149">
                        <c:v>377.19729999999998</c:v>
                      </c:pt>
                      <c:pt idx="5150">
                        <c:v>377.19729999999998</c:v>
                      </c:pt>
                      <c:pt idx="5151">
                        <c:v>377.19729999999998</c:v>
                      </c:pt>
                      <c:pt idx="5152">
                        <c:v>377.19729999999998</c:v>
                      </c:pt>
                      <c:pt idx="5153">
                        <c:v>379.0283</c:v>
                      </c:pt>
                      <c:pt idx="5154">
                        <c:v>378.11279999999999</c:v>
                      </c:pt>
                      <c:pt idx="5155">
                        <c:v>376.2817</c:v>
                      </c:pt>
                      <c:pt idx="5156">
                        <c:v>378.11279999999999</c:v>
                      </c:pt>
                      <c:pt idx="5157">
                        <c:v>378.11279999999999</c:v>
                      </c:pt>
                      <c:pt idx="5158">
                        <c:v>378.11279999999999</c:v>
                      </c:pt>
                      <c:pt idx="5159">
                        <c:v>378.11279999999999</c:v>
                      </c:pt>
                      <c:pt idx="5160">
                        <c:v>379.0283</c:v>
                      </c:pt>
                      <c:pt idx="5161">
                        <c:v>379.0283</c:v>
                      </c:pt>
                      <c:pt idx="5162">
                        <c:v>379.0283</c:v>
                      </c:pt>
                      <c:pt idx="5163">
                        <c:v>379.0283</c:v>
                      </c:pt>
                      <c:pt idx="5164">
                        <c:v>380.85939999999999</c:v>
                      </c:pt>
                      <c:pt idx="5165">
                        <c:v>379.94380000000001</c:v>
                      </c:pt>
                      <c:pt idx="5166">
                        <c:v>380.85939999999999</c:v>
                      </c:pt>
                      <c:pt idx="5167">
                        <c:v>380.65756820000001</c:v>
                      </c:pt>
                      <c:pt idx="5168">
                        <c:v>380.21847910000002</c:v>
                      </c:pt>
                      <c:pt idx="5169">
                        <c:v>380.19976370000001</c:v>
                      </c:pt>
                      <c:pt idx="5170">
                        <c:v>380.18162510000002</c:v>
                      </c:pt>
                      <c:pt idx="5171">
                        <c:v>380.163633</c:v>
                      </c:pt>
                      <c:pt idx="5172">
                        <c:v>380.1269163</c:v>
                      </c:pt>
                      <c:pt idx="5173">
                        <c:v>380.0149351</c:v>
                      </c:pt>
                      <c:pt idx="5174">
                        <c:v>379.94380000000001</c:v>
                      </c:pt>
                      <c:pt idx="5175">
                        <c:v>382.69040000000001</c:v>
                      </c:pt>
                      <c:pt idx="5176">
                        <c:v>379.0283</c:v>
                      </c:pt>
                      <c:pt idx="5177">
                        <c:v>382.69040000000001</c:v>
                      </c:pt>
                      <c:pt idx="5178">
                        <c:v>382.69040000000001</c:v>
                      </c:pt>
                      <c:pt idx="5179">
                        <c:v>381.7749</c:v>
                      </c:pt>
                      <c:pt idx="5180">
                        <c:v>382.69040000000001</c:v>
                      </c:pt>
                      <c:pt idx="5181">
                        <c:v>382.69040000000001</c:v>
                      </c:pt>
                      <c:pt idx="5182">
                        <c:v>382.69040000000001</c:v>
                      </c:pt>
                      <c:pt idx="5183">
                        <c:v>382.97024349999998</c:v>
                      </c:pt>
                      <c:pt idx="5184">
                        <c:v>383.60590000000002</c:v>
                      </c:pt>
                      <c:pt idx="5185">
                        <c:v>382.69040000000001</c:v>
                      </c:pt>
                      <c:pt idx="5186">
                        <c:v>382.69040000000001</c:v>
                      </c:pt>
                      <c:pt idx="5187">
                        <c:v>382.69040000000001</c:v>
                      </c:pt>
                      <c:pt idx="5188">
                        <c:v>382.69040000000001</c:v>
                      </c:pt>
                      <c:pt idx="5189">
                        <c:v>383.60590000000002</c:v>
                      </c:pt>
                      <c:pt idx="5190">
                        <c:v>383.60590000000002</c:v>
                      </c:pt>
                      <c:pt idx="5191">
                        <c:v>382.01602819999999</c:v>
                      </c:pt>
                      <c:pt idx="5192">
                        <c:v>381.7749</c:v>
                      </c:pt>
                      <c:pt idx="5193">
                        <c:v>382.69040000000001</c:v>
                      </c:pt>
                      <c:pt idx="5194">
                        <c:v>382.69040000000001</c:v>
                      </c:pt>
                      <c:pt idx="5195">
                        <c:v>382.69040000000001</c:v>
                      </c:pt>
                      <c:pt idx="5196">
                        <c:v>381.7749</c:v>
                      </c:pt>
                      <c:pt idx="5197">
                        <c:v>383.60590000000002</c:v>
                      </c:pt>
                      <c:pt idx="5198">
                        <c:v>382.69040000000001</c:v>
                      </c:pt>
                      <c:pt idx="5199">
                        <c:v>381.82578369999999</c:v>
                      </c:pt>
                      <c:pt idx="5200">
                        <c:v>381.7749</c:v>
                      </c:pt>
                      <c:pt idx="5201">
                        <c:v>381.7749</c:v>
                      </c:pt>
                      <c:pt idx="5202">
                        <c:v>381.7749</c:v>
                      </c:pt>
                      <c:pt idx="5203">
                        <c:v>381.7749</c:v>
                      </c:pt>
                      <c:pt idx="5204">
                        <c:v>381.7749</c:v>
                      </c:pt>
                      <c:pt idx="5205">
                        <c:v>381.7749</c:v>
                      </c:pt>
                      <c:pt idx="5206">
                        <c:v>381.7749</c:v>
                      </c:pt>
                      <c:pt idx="5207">
                        <c:v>381.7749</c:v>
                      </c:pt>
                      <c:pt idx="5208">
                        <c:v>381.7749</c:v>
                      </c:pt>
                      <c:pt idx="5209">
                        <c:v>381.7749</c:v>
                      </c:pt>
                      <c:pt idx="5210">
                        <c:v>381.7749</c:v>
                      </c:pt>
                      <c:pt idx="5211">
                        <c:v>381.7749</c:v>
                      </c:pt>
                      <c:pt idx="5212">
                        <c:v>381.7749</c:v>
                      </c:pt>
                      <c:pt idx="5213">
                        <c:v>381.7749</c:v>
                      </c:pt>
                      <c:pt idx="5214">
                        <c:v>381.7749</c:v>
                      </c:pt>
                      <c:pt idx="5215">
                        <c:v>381.7749</c:v>
                      </c:pt>
                      <c:pt idx="5216">
                        <c:v>381.7749</c:v>
                      </c:pt>
                      <c:pt idx="5217">
                        <c:v>381.7749</c:v>
                      </c:pt>
                      <c:pt idx="5218">
                        <c:v>381.7749</c:v>
                      </c:pt>
                      <c:pt idx="5219">
                        <c:v>381.7749</c:v>
                      </c:pt>
                      <c:pt idx="5220">
                        <c:v>381.7749</c:v>
                      </c:pt>
                      <c:pt idx="5221">
                        <c:v>381.7749</c:v>
                      </c:pt>
                      <c:pt idx="5222">
                        <c:v>381.7749</c:v>
                      </c:pt>
                      <c:pt idx="5223">
                        <c:v>381.7749</c:v>
                      </c:pt>
                      <c:pt idx="5224">
                        <c:v>381.7749</c:v>
                      </c:pt>
                      <c:pt idx="5225">
                        <c:v>381.7749</c:v>
                      </c:pt>
                      <c:pt idx="5226">
                        <c:v>381.7749</c:v>
                      </c:pt>
                      <c:pt idx="5227">
                        <c:v>381.7749</c:v>
                      </c:pt>
                      <c:pt idx="5228">
                        <c:v>381.7749</c:v>
                      </c:pt>
                      <c:pt idx="5229">
                        <c:v>381.7749</c:v>
                      </c:pt>
                      <c:pt idx="5230">
                        <c:v>381.7749</c:v>
                      </c:pt>
                      <c:pt idx="5231">
                        <c:v>381.7749</c:v>
                      </c:pt>
                      <c:pt idx="5232">
                        <c:v>381.7749</c:v>
                      </c:pt>
                      <c:pt idx="5233">
                        <c:v>381.7749</c:v>
                      </c:pt>
                      <c:pt idx="5234">
                        <c:v>381.7749</c:v>
                      </c:pt>
                      <c:pt idx="5235">
                        <c:v>381.7749</c:v>
                      </c:pt>
                      <c:pt idx="5236">
                        <c:v>381.7749</c:v>
                      </c:pt>
                      <c:pt idx="5237">
                        <c:v>381.7749</c:v>
                      </c:pt>
                      <c:pt idx="5238">
                        <c:v>381.7749</c:v>
                      </c:pt>
                      <c:pt idx="5239">
                        <c:v>381.7749</c:v>
                      </c:pt>
                      <c:pt idx="5240">
                        <c:v>381.7749</c:v>
                      </c:pt>
                      <c:pt idx="5241">
                        <c:v>381.7749</c:v>
                      </c:pt>
                      <c:pt idx="5242">
                        <c:v>381.7749</c:v>
                      </c:pt>
                      <c:pt idx="5243">
                        <c:v>381.7749</c:v>
                      </c:pt>
                      <c:pt idx="5244">
                        <c:v>381.7749</c:v>
                      </c:pt>
                      <c:pt idx="5245">
                        <c:v>381.7749</c:v>
                      </c:pt>
                      <c:pt idx="5246">
                        <c:v>381.7749</c:v>
                      </c:pt>
                      <c:pt idx="5247">
                        <c:v>381.7749</c:v>
                      </c:pt>
                      <c:pt idx="5248">
                        <c:v>381.7749</c:v>
                      </c:pt>
                      <c:pt idx="5249">
                        <c:v>381.7749</c:v>
                      </c:pt>
                      <c:pt idx="5250">
                        <c:v>381.7749</c:v>
                      </c:pt>
                      <c:pt idx="5251">
                        <c:v>381.7749</c:v>
                      </c:pt>
                      <c:pt idx="5252">
                        <c:v>381.7749</c:v>
                      </c:pt>
                      <c:pt idx="5253">
                        <c:v>381.7749</c:v>
                      </c:pt>
                      <c:pt idx="5254">
                        <c:v>381.7749</c:v>
                      </c:pt>
                      <c:pt idx="5255">
                        <c:v>381.7749</c:v>
                      </c:pt>
                      <c:pt idx="5256">
                        <c:v>381.7749</c:v>
                      </c:pt>
                      <c:pt idx="5257">
                        <c:v>381.7749</c:v>
                      </c:pt>
                      <c:pt idx="5258">
                        <c:v>381.7749</c:v>
                      </c:pt>
                      <c:pt idx="5259">
                        <c:v>381.7749</c:v>
                      </c:pt>
                      <c:pt idx="5260">
                        <c:v>381.7749</c:v>
                      </c:pt>
                      <c:pt idx="5261">
                        <c:v>381.7749</c:v>
                      </c:pt>
                      <c:pt idx="5262">
                        <c:v>381.7749</c:v>
                      </c:pt>
                      <c:pt idx="5263">
                        <c:v>381.7749</c:v>
                      </c:pt>
                      <c:pt idx="5264">
                        <c:v>381.7749</c:v>
                      </c:pt>
                      <c:pt idx="5265">
                        <c:v>381.7749</c:v>
                      </c:pt>
                      <c:pt idx="5266">
                        <c:v>381.7749</c:v>
                      </c:pt>
                      <c:pt idx="5267">
                        <c:v>381.7749</c:v>
                      </c:pt>
                      <c:pt idx="5268">
                        <c:v>381.7749</c:v>
                      </c:pt>
                      <c:pt idx="5269">
                        <c:v>381.7749</c:v>
                      </c:pt>
                      <c:pt idx="5270">
                        <c:v>381.7749</c:v>
                      </c:pt>
                      <c:pt idx="5271">
                        <c:v>381.7749</c:v>
                      </c:pt>
                      <c:pt idx="5272">
                        <c:v>381.7749</c:v>
                      </c:pt>
                      <c:pt idx="5273">
                        <c:v>381.7749</c:v>
                      </c:pt>
                      <c:pt idx="5274">
                        <c:v>381.7749</c:v>
                      </c:pt>
                      <c:pt idx="5275">
                        <c:v>381.7749</c:v>
                      </c:pt>
                      <c:pt idx="5276">
                        <c:v>381.7749</c:v>
                      </c:pt>
                      <c:pt idx="5277">
                        <c:v>381.7749</c:v>
                      </c:pt>
                      <c:pt idx="5278">
                        <c:v>381.7749</c:v>
                      </c:pt>
                      <c:pt idx="5279">
                        <c:v>381.7749</c:v>
                      </c:pt>
                      <c:pt idx="5280">
                        <c:v>381.7749</c:v>
                      </c:pt>
                      <c:pt idx="5281">
                        <c:v>381.7749</c:v>
                      </c:pt>
                      <c:pt idx="5282">
                        <c:v>381.7749</c:v>
                      </c:pt>
                      <c:pt idx="5283">
                        <c:v>381.7749</c:v>
                      </c:pt>
                      <c:pt idx="5284">
                        <c:v>381.7749</c:v>
                      </c:pt>
                      <c:pt idx="5285">
                        <c:v>381.7749</c:v>
                      </c:pt>
                      <c:pt idx="5286">
                        <c:v>381.7749</c:v>
                      </c:pt>
                      <c:pt idx="5287">
                        <c:v>381.7749</c:v>
                      </c:pt>
                      <c:pt idx="5288">
                        <c:v>381.7749</c:v>
                      </c:pt>
                      <c:pt idx="5289">
                        <c:v>381.7749</c:v>
                      </c:pt>
                      <c:pt idx="5290">
                        <c:v>381.7749</c:v>
                      </c:pt>
                      <c:pt idx="5291">
                        <c:v>381.7749</c:v>
                      </c:pt>
                      <c:pt idx="5292">
                        <c:v>381.7749</c:v>
                      </c:pt>
                      <c:pt idx="5293">
                        <c:v>381.7749</c:v>
                      </c:pt>
                      <c:pt idx="5294">
                        <c:v>381.7749</c:v>
                      </c:pt>
                      <c:pt idx="5295">
                        <c:v>381.7749</c:v>
                      </c:pt>
                      <c:pt idx="5296">
                        <c:v>381.7749</c:v>
                      </c:pt>
                      <c:pt idx="5297">
                        <c:v>381.7749</c:v>
                      </c:pt>
                      <c:pt idx="5298">
                        <c:v>381.7749</c:v>
                      </c:pt>
                      <c:pt idx="5299">
                        <c:v>381.7749</c:v>
                      </c:pt>
                      <c:pt idx="5300">
                        <c:v>381.7749</c:v>
                      </c:pt>
                      <c:pt idx="5301">
                        <c:v>379.0283</c:v>
                      </c:pt>
                      <c:pt idx="5302">
                        <c:v>383.60590000000002</c:v>
                      </c:pt>
                      <c:pt idx="5303">
                        <c:v>383.46866779999999</c:v>
                      </c:pt>
                      <c:pt idx="5304">
                        <c:v>383.33363459999998</c:v>
                      </c:pt>
                      <c:pt idx="5305">
                        <c:v>383.1975018</c:v>
                      </c:pt>
                      <c:pt idx="5306">
                        <c:v>382.92193789999999</c:v>
                      </c:pt>
                      <c:pt idx="5307">
                        <c:v>381.96035019999999</c:v>
                      </c:pt>
                      <c:pt idx="5308">
                        <c:v>381.81885740000001</c:v>
                      </c:pt>
                      <c:pt idx="5309">
                        <c:v>381.40716070000002</c:v>
                      </c:pt>
                      <c:pt idx="5310">
                        <c:v>381.13599479999999</c:v>
                      </c:pt>
                      <c:pt idx="5311">
                        <c:v>380.9944332</c:v>
                      </c:pt>
                      <c:pt idx="5312">
                        <c:v>380.85939999999999</c:v>
                      </c:pt>
                      <c:pt idx="5313">
                        <c:v>380.90472369999998</c:v>
                      </c:pt>
                      <c:pt idx="5314">
                        <c:v>380.95041350000002</c:v>
                      </c:pt>
                      <c:pt idx="5315">
                        <c:v>380.99752180000002</c:v>
                      </c:pt>
                      <c:pt idx="5316">
                        <c:v>381.04250230000002</c:v>
                      </c:pt>
                      <c:pt idx="5317">
                        <c:v>381.36338319999999</c:v>
                      </c:pt>
                      <c:pt idx="5318">
                        <c:v>381.40799759999999</c:v>
                      </c:pt>
                      <c:pt idx="5319">
                        <c:v>381.5457533</c:v>
                      </c:pt>
                      <c:pt idx="5320">
                        <c:v>381.63676679999998</c:v>
                      </c:pt>
                      <c:pt idx="5321">
                        <c:v>381.68387510000002</c:v>
                      </c:pt>
                      <c:pt idx="5322">
                        <c:v>381.72885559999997</c:v>
                      </c:pt>
                      <c:pt idx="5323">
                        <c:v>381.77454540000002</c:v>
                      </c:pt>
                      <c:pt idx="5324">
                        <c:v>381.81986910000001</c:v>
                      </c:pt>
                      <c:pt idx="5325">
                        <c:v>381.95728159999999</c:v>
                      </c:pt>
                      <c:pt idx="5326">
                        <c:v>382.0040467</c:v>
                      </c:pt>
                      <c:pt idx="5327">
                        <c:v>382.04973649999999</c:v>
                      </c:pt>
                      <c:pt idx="5328">
                        <c:v>382.18714899999998</c:v>
                      </c:pt>
                      <c:pt idx="5329">
                        <c:v>382.27743029999999</c:v>
                      </c:pt>
                      <c:pt idx="5330">
                        <c:v>382.3698852</c:v>
                      </c:pt>
                      <c:pt idx="5331">
                        <c:v>382.50622240000001</c:v>
                      </c:pt>
                      <c:pt idx="5332">
                        <c:v>382.6436349</c:v>
                      </c:pt>
                      <c:pt idx="5333">
                        <c:v>382.69040000000001</c:v>
                      </c:pt>
                      <c:pt idx="5334">
                        <c:v>382.61155789999998</c:v>
                      </c:pt>
                      <c:pt idx="5335">
                        <c:v>380.85082849999998</c:v>
                      </c:pt>
                      <c:pt idx="5336">
                        <c:v>380.39915309999998</c:v>
                      </c:pt>
                      <c:pt idx="5337">
                        <c:v>379.94380000000001</c:v>
                      </c:pt>
                      <c:pt idx="5338">
                        <c:v>383.60590000000002</c:v>
                      </c:pt>
                      <c:pt idx="5339">
                        <c:v>383.53237530000001</c:v>
                      </c:pt>
                      <c:pt idx="5340">
                        <c:v>383.00846480000001</c:v>
                      </c:pt>
                      <c:pt idx="5341">
                        <c:v>382.9956373</c:v>
                      </c:pt>
                      <c:pt idx="5342">
                        <c:v>382.93378080000002</c:v>
                      </c:pt>
                      <c:pt idx="5343">
                        <c:v>382.86085439999999</c:v>
                      </c:pt>
                      <c:pt idx="5344">
                        <c:v>382.56159450000001</c:v>
                      </c:pt>
                      <c:pt idx="5345">
                        <c:v>382.48399339999997</c:v>
                      </c:pt>
                      <c:pt idx="5346">
                        <c:v>382.40990770000002</c:v>
                      </c:pt>
                      <c:pt idx="5347">
                        <c:v>382.33698129999999</c:v>
                      </c:pt>
                      <c:pt idx="5348">
                        <c:v>382.11001210000001</c:v>
                      </c:pt>
                      <c:pt idx="5349">
                        <c:v>382.03592639999999</c:v>
                      </c:pt>
                      <c:pt idx="5350">
                        <c:v>381.96300000000002</c:v>
                      </c:pt>
                      <c:pt idx="5351">
                        <c:v>381.88655820000002</c:v>
                      </c:pt>
                      <c:pt idx="5352">
                        <c:v>381.87316970000001</c:v>
                      </c:pt>
                      <c:pt idx="5353">
                        <c:v>381.81187419999998</c:v>
                      </c:pt>
                      <c:pt idx="5354">
                        <c:v>381.73894780000001</c:v>
                      </c:pt>
                      <c:pt idx="5355">
                        <c:v>381.66486209999999</c:v>
                      </c:pt>
                      <c:pt idx="5356">
                        <c:v>381.58726100000001</c:v>
                      </c:pt>
                      <c:pt idx="5357">
                        <c:v>381.51377359999998</c:v>
                      </c:pt>
                      <c:pt idx="5358">
                        <c:v>381.43968790000002</c:v>
                      </c:pt>
                      <c:pt idx="5359">
                        <c:v>381.36208679999999</c:v>
                      </c:pt>
                      <c:pt idx="5360">
                        <c:v>381.28800109999997</c:v>
                      </c:pt>
                      <c:pt idx="5361">
                        <c:v>381.2150747</c:v>
                      </c:pt>
                      <c:pt idx="5362">
                        <c:v>381.13979230000001</c:v>
                      </c:pt>
                      <c:pt idx="5363">
                        <c:v>381.0657066</c:v>
                      </c:pt>
                      <c:pt idx="5364">
                        <c:v>380.98810550000002</c:v>
                      </c:pt>
                      <c:pt idx="5365">
                        <c:v>380.91401980000001</c:v>
                      </c:pt>
                      <c:pt idx="5366">
                        <c:v>380.84109339999998</c:v>
                      </c:pt>
                      <c:pt idx="5367">
                        <c:v>380.76465159999998</c:v>
                      </c:pt>
                      <c:pt idx="5368">
                        <c:v>380.75182410000002</c:v>
                      </c:pt>
                      <c:pt idx="5369">
                        <c:v>380.69000499999999</c:v>
                      </c:pt>
                      <c:pt idx="5370">
                        <c:v>380.61704120000002</c:v>
                      </c:pt>
                      <c:pt idx="5371">
                        <c:v>380.53947749999998</c:v>
                      </c:pt>
                      <c:pt idx="5372">
                        <c:v>380.46535440000002</c:v>
                      </c:pt>
                      <c:pt idx="5373">
                        <c:v>380.39186699999999</c:v>
                      </c:pt>
                      <c:pt idx="5374">
                        <c:v>380.31778129999998</c:v>
                      </c:pt>
                      <c:pt idx="5375">
                        <c:v>380.2401802</c:v>
                      </c:pt>
                      <c:pt idx="5376">
                        <c:v>380.16609449999999</c:v>
                      </c:pt>
                      <c:pt idx="5377">
                        <c:v>380.09316810000001</c:v>
                      </c:pt>
                      <c:pt idx="5378">
                        <c:v>380.01788570000002</c:v>
                      </c:pt>
                      <c:pt idx="5379">
                        <c:v>379.94380000000001</c:v>
                      </c:pt>
                      <c:pt idx="5380">
                        <c:v>381.81728559999999</c:v>
                      </c:pt>
                      <c:pt idx="5381">
                        <c:v>383.60590000000002</c:v>
                      </c:pt>
                      <c:pt idx="5382">
                        <c:v>383.56270560000002</c:v>
                      </c:pt>
                      <c:pt idx="5383">
                        <c:v>383.51742899999999</c:v>
                      </c:pt>
                      <c:pt idx="5384">
                        <c:v>383.50949889999998</c:v>
                      </c:pt>
                      <c:pt idx="5385">
                        <c:v>383.4732156</c:v>
                      </c:pt>
                      <c:pt idx="5386">
                        <c:v>383.3819757</c:v>
                      </c:pt>
                      <c:pt idx="5387">
                        <c:v>383.34015470000003</c:v>
                      </c:pt>
                      <c:pt idx="5388">
                        <c:v>383.296628</c:v>
                      </c:pt>
                      <c:pt idx="5389">
                        <c:v>383.25274689999998</c:v>
                      </c:pt>
                      <c:pt idx="5390">
                        <c:v>383.20678359999999</c:v>
                      </c:pt>
                      <c:pt idx="5391">
                        <c:v>383.1629026</c:v>
                      </c:pt>
                      <c:pt idx="5392">
                        <c:v>383.11970810000003</c:v>
                      </c:pt>
                      <c:pt idx="5393">
                        <c:v>383.07511820000002</c:v>
                      </c:pt>
                      <c:pt idx="5394">
                        <c:v>383.0312371</c:v>
                      </c:pt>
                      <c:pt idx="5395">
                        <c:v>382.98527380000002</c:v>
                      </c:pt>
                      <c:pt idx="5396">
                        <c:v>382.94139280000002</c:v>
                      </c:pt>
                      <c:pt idx="5397">
                        <c:v>382.89819829999999</c:v>
                      </c:pt>
                      <c:pt idx="5398">
                        <c:v>382.85292170000002</c:v>
                      </c:pt>
                      <c:pt idx="5399">
                        <c:v>382.84499169999998</c:v>
                      </c:pt>
                      <c:pt idx="5400">
                        <c:v>382.8087084</c:v>
                      </c:pt>
                      <c:pt idx="5401">
                        <c:v>382.7651596</c:v>
                      </c:pt>
                      <c:pt idx="5402">
                        <c:v>382.7171141</c:v>
                      </c:pt>
                      <c:pt idx="5403">
                        <c:v>382.6756474</c:v>
                      </c:pt>
                      <c:pt idx="5404">
                        <c:v>382.6321208</c:v>
                      </c:pt>
                      <c:pt idx="5405">
                        <c:v>382.58823969999997</c:v>
                      </c:pt>
                      <c:pt idx="5406">
                        <c:v>382.54227639999999</c:v>
                      </c:pt>
                      <c:pt idx="5407">
                        <c:v>382.49839530000003</c:v>
                      </c:pt>
                      <c:pt idx="5408">
                        <c:v>382.45520090000002</c:v>
                      </c:pt>
                      <c:pt idx="5409">
                        <c:v>382.41061100000002</c:v>
                      </c:pt>
                      <c:pt idx="5410">
                        <c:v>382.3667299</c:v>
                      </c:pt>
                      <c:pt idx="5411">
                        <c:v>382.32076660000001</c:v>
                      </c:pt>
                      <c:pt idx="5412">
                        <c:v>382.27688549999999</c:v>
                      </c:pt>
                      <c:pt idx="5413">
                        <c:v>382.23369109999999</c:v>
                      </c:pt>
                      <c:pt idx="5414">
                        <c:v>382.18841450000002</c:v>
                      </c:pt>
                      <c:pt idx="5415">
                        <c:v>382.18048440000001</c:v>
                      </c:pt>
                      <c:pt idx="5416">
                        <c:v>382.14420109999998</c:v>
                      </c:pt>
                      <c:pt idx="5417">
                        <c:v>382.10065229999998</c:v>
                      </c:pt>
                      <c:pt idx="5418">
                        <c:v>382.05260679999998</c:v>
                      </c:pt>
                      <c:pt idx="5419">
                        <c:v>382.0111402</c:v>
                      </c:pt>
                      <c:pt idx="5420">
                        <c:v>381.96761350000003</c:v>
                      </c:pt>
                      <c:pt idx="5421">
                        <c:v>381.92373240000001</c:v>
                      </c:pt>
                      <c:pt idx="5422">
                        <c:v>381.87776919999999</c:v>
                      </c:pt>
                      <c:pt idx="5423">
                        <c:v>381.83422030000003</c:v>
                      </c:pt>
                      <c:pt idx="5424">
                        <c:v>381.83388810000002</c:v>
                      </c:pt>
                      <c:pt idx="5425">
                        <c:v>381.7906936</c:v>
                      </c:pt>
                      <c:pt idx="5426">
                        <c:v>381.74610369999999</c:v>
                      </c:pt>
                      <c:pt idx="5427">
                        <c:v>381.70222260000003</c:v>
                      </c:pt>
                      <c:pt idx="5428">
                        <c:v>381.65625940000001</c:v>
                      </c:pt>
                      <c:pt idx="5429">
                        <c:v>381.61237829999999</c:v>
                      </c:pt>
                      <c:pt idx="5430">
                        <c:v>381.56918380000002</c:v>
                      </c:pt>
                      <c:pt idx="5431">
                        <c:v>381.5239072</c:v>
                      </c:pt>
                      <c:pt idx="5432">
                        <c:v>381.51597720000001</c:v>
                      </c:pt>
                      <c:pt idx="5433">
                        <c:v>381.47969389999997</c:v>
                      </c:pt>
                      <c:pt idx="5434">
                        <c:v>381.43614509999998</c:v>
                      </c:pt>
                      <c:pt idx="5435">
                        <c:v>381.3881217</c:v>
                      </c:pt>
                      <c:pt idx="5436">
                        <c:v>381.346633</c:v>
                      </c:pt>
                      <c:pt idx="5437">
                        <c:v>381.34630069999997</c:v>
                      </c:pt>
                      <c:pt idx="5438">
                        <c:v>381.30310630000002</c:v>
                      </c:pt>
                      <c:pt idx="5439">
                        <c:v>381.2592252</c:v>
                      </c:pt>
                      <c:pt idx="5440">
                        <c:v>381.21290749999997</c:v>
                      </c:pt>
                      <c:pt idx="5441">
                        <c:v>381.2111797</c:v>
                      </c:pt>
                      <c:pt idx="5442">
                        <c:v>381.1693808</c:v>
                      </c:pt>
                      <c:pt idx="5443">
                        <c:v>381.125832</c:v>
                      </c:pt>
                      <c:pt idx="5444">
                        <c:v>381.08159649999999</c:v>
                      </c:pt>
                      <c:pt idx="5445">
                        <c:v>381.03771540000002</c:v>
                      </c:pt>
                      <c:pt idx="5446">
                        <c:v>380.99175209999999</c:v>
                      </c:pt>
                      <c:pt idx="5447">
                        <c:v>380.94822540000001</c:v>
                      </c:pt>
                      <c:pt idx="5448">
                        <c:v>380.94787100000002</c:v>
                      </c:pt>
                      <c:pt idx="5449">
                        <c:v>380.90467660000002</c:v>
                      </c:pt>
                      <c:pt idx="5450">
                        <c:v>380.85939999999999</c:v>
                      </c:pt>
                      <c:pt idx="5451">
                        <c:v>380.88837640000003</c:v>
                      </c:pt>
                      <c:pt idx="5452">
                        <c:v>380.91691730000002</c:v>
                      </c:pt>
                      <c:pt idx="5453">
                        <c:v>380.94704050000001</c:v>
                      </c:pt>
                      <c:pt idx="5454">
                        <c:v>380.94862289999998</c:v>
                      </c:pt>
                      <c:pt idx="5455">
                        <c:v>380.97556689999999</c:v>
                      </c:pt>
                      <c:pt idx="5456">
                        <c:v>381.00410770000002</c:v>
                      </c:pt>
                      <c:pt idx="5457">
                        <c:v>381.03286639999999</c:v>
                      </c:pt>
                      <c:pt idx="5458">
                        <c:v>381.06298959999998</c:v>
                      </c:pt>
                      <c:pt idx="5459">
                        <c:v>381.09153049999998</c:v>
                      </c:pt>
                      <c:pt idx="5460">
                        <c:v>381.09174819999998</c:v>
                      </c:pt>
                      <c:pt idx="5461">
                        <c:v>381.12005679999999</c:v>
                      </c:pt>
                      <c:pt idx="5462">
                        <c:v>381.14927999999998</c:v>
                      </c:pt>
                      <c:pt idx="5463">
                        <c:v>381.1780387</c:v>
                      </c:pt>
                      <c:pt idx="5464">
                        <c:v>381.20816189999999</c:v>
                      </c:pt>
                      <c:pt idx="5465">
                        <c:v>381.2369205</c:v>
                      </c:pt>
                      <c:pt idx="5466">
                        <c:v>381.2652291</c:v>
                      </c:pt>
                      <c:pt idx="5467">
                        <c:v>381.29490229999999</c:v>
                      </c:pt>
                      <c:pt idx="5468">
                        <c:v>381.30009949999999</c:v>
                      </c:pt>
                      <c:pt idx="5469">
                        <c:v>381.32387870000002</c:v>
                      </c:pt>
                      <c:pt idx="5470">
                        <c:v>381.35241960000002</c:v>
                      </c:pt>
                      <c:pt idx="5471">
                        <c:v>381.38254289999998</c:v>
                      </c:pt>
                      <c:pt idx="5472">
                        <c:v>381.383893</c:v>
                      </c:pt>
                      <c:pt idx="5473">
                        <c:v>381.41106919999999</c:v>
                      </c:pt>
                      <c:pt idx="5474">
                        <c:v>381.41130149999998</c:v>
                      </c:pt>
                      <c:pt idx="5475">
                        <c:v>381.43961009999998</c:v>
                      </c:pt>
                      <c:pt idx="5476">
                        <c:v>381.46836869999998</c:v>
                      </c:pt>
                      <c:pt idx="5477">
                        <c:v>381.498492</c:v>
                      </c:pt>
                      <c:pt idx="5478">
                        <c:v>381.5272506</c:v>
                      </c:pt>
                      <c:pt idx="5479">
                        <c:v>381.5555592</c:v>
                      </c:pt>
                      <c:pt idx="5480">
                        <c:v>381.58478239999999</c:v>
                      </c:pt>
                      <c:pt idx="5481">
                        <c:v>381.613541</c:v>
                      </c:pt>
                      <c:pt idx="5482">
                        <c:v>381.64366430000001</c:v>
                      </c:pt>
                      <c:pt idx="5483">
                        <c:v>381.67219060000002</c:v>
                      </c:pt>
                      <c:pt idx="5484">
                        <c:v>381.67242290000002</c:v>
                      </c:pt>
                      <c:pt idx="5485">
                        <c:v>381.70073150000002</c:v>
                      </c:pt>
                      <c:pt idx="5486">
                        <c:v>381.73062249999998</c:v>
                      </c:pt>
                      <c:pt idx="5487">
                        <c:v>381.73266940000002</c:v>
                      </c:pt>
                      <c:pt idx="5488">
                        <c:v>381.75961339999998</c:v>
                      </c:pt>
                      <c:pt idx="5489">
                        <c:v>381.78815420000001</c:v>
                      </c:pt>
                      <c:pt idx="5490">
                        <c:v>381.84680379999998</c:v>
                      </c:pt>
                      <c:pt idx="5491">
                        <c:v>381.87511239999998</c:v>
                      </c:pt>
                      <c:pt idx="5492">
                        <c:v>381.9910615</c:v>
                      </c:pt>
                      <c:pt idx="5493">
                        <c:v>382.07916660000001</c:v>
                      </c:pt>
                      <c:pt idx="5494">
                        <c:v>382.10792520000001</c:v>
                      </c:pt>
                      <c:pt idx="5495">
                        <c:v>382.13623380000001</c:v>
                      </c:pt>
                      <c:pt idx="5496">
                        <c:v>382.22342429999998</c:v>
                      </c:pt>
                      <c:pt idx="5497">
                        <c:v>382.25354759999999</c:v>
                      </c:pt>
                      <c:pt idx="5498">
                        <c:v>382.28230619999999</c:v>
                      </c:pt>
                      <c:pt idx="5499">
                        <c:v>382.3393734</c:v>
                      </c:pt>
                      <c:pt idx="5500">
                        <c:v>382.36949670000001</c:v>
                      </c:pt>
                      <c:pt idx="5501">
                        <c:v>382.48454570000001</c:v>
                      </c:pt>
                      <c:pt idx="5502">
                        <c:v>382.54319529999998</c:v>
                      </c:pt>
                      <c:pt idx="5503">
                        <c:v>382.54342759999997</c:v>
                      </c:pt>
                      <c:pt idx="5504">
                        <c:v>382.57173619999998</c:v>
                      </c:pt>
                      <c:pt idx="5505">
                        <c:v>382.60162709999997</c:v>
                      </c:pt>
                      <c:pt idx="5506">
                        <c:v>382.69040000000001</c:v>
                      </c:pt>
                      <c:pt idx="5507">
                        <c:v>382.69040000000001</c:v>
                      </c:pt>
                      <c:pt idx="5508">
                        <c:v>382.69040000000001</c:v>
                      </c:pt>
                      <c:pt idx="5509">
                        <c:v>382.69040000000001</c:v>
                      </c:pt>
                      <c:pt idx="5510">
                        <c:v>382.69040000000001</c:v>
                      </c:pt>
                      <c:pt idx="5511">
                        <c:v>382.69040000000001</c:v>
                      </c:pt>
                      <c:pt idx="5512">
                        <c:v>382.69040000000001</c:v>
                      </c:pt>
                      <c:pt idx="5513">
                        <c:v>382.69040000000001</c:v>
                      </c:pt>
                      <c:pt idx="5514">
                        <c:v>382.69040000000001</c:v>
                      </c:pt>
                      <c:pt idx="5515">
                        <c:v>382.69040000000001</c:v>
                      </c:pt>
                      <c:pt idx="5516">
                        <c:v>382.69040000000001</c:v>
                      </c:pt>
                      <c:pt idx="5517">
                        <c:v>382.69040000000001</c:v>
                      </c:pt>
                      <c:pt idx="5518">
                        <c:v>382.69040000000001</c:v>
                      </c:pt>
                      <c:pt idx="5519">
                        <c:v>382.69040000000001</c:v>
                      </c:pt>
                      <c:pt idx="5520">
                        <c:v>382.69040000000001</c:v>
                      </c:pt>
                      <c:pt idx="5521">
                        <c:v>382.69040000000001</c:v>
                      </c:pt>
                      <c:pt idx="5522">
                        <c:v>382.69040000000001</c:v>
                      </c:pt>
                      <c:pt idx="5523">
                        <c:v>382.69040000000001</c:v>
                      </c:pt>
                      <c:pt idx="5524">
                        <c:v>382.69040000000001</c:v>
                      </c:pt>
                      <c:pt idx="5525">
                        <c:v>382.69040000000001</c:v>
                      </c:pt>
                      <c:pt idx="5526">
                        <c:v>382.69040000000001</c:v>
                      </c:pt>
                      <c:pt idx="5527">
                        <c:v>382.69040000000001</c:v>
                      </c:pt>
                      <c:pt idx="5528">
                        <c:v>382.69040000000001</c:v>
                      </c:pt>
                      <c:pt idx="5529">
                        <c:v>382.69040000000001</c:v>
                      </c:pt>
                      <c:pt idx="5530">
                        <c:v>382.69040000000001</c:v>
                      </c:pt>
                      <c:pt idx="5531">
                        <c:v>382.69040000000001</c:v>
                      </c:pt>
                      <c:pt idx="5532">
                        <c:v>382.69040000000001</c:v>
                      </c:pt>
                      <c:pt idx="5533">
                        <c:v>382.69040000000001</c:v>
                      </c:pt>
                      <c:pt idx="5534">
                        <c:v>382.69040000000001</c:v>
                      </c:pt>
                      <c:pt idx="5535">
                        <c:v>382.69040000000001</c:v>
                      </c:pt>
                      <c:pt idx="5536">
                        <c:v>382.69040000000001</c:v>
                      </c:pt>
                      <c:pt idx="5537">
                        <c:v>382.69040000000001</c:v>
                      </c:pt>
                      <c:pt idx="5538">
                        <c:v>382.69040000000001</c:v>
                      </c:pt>
                      <c:pt idx="5539">
                        <c:v>382.69040000000001</c:v>
                      </c:pt>
                      <c:pt idx="5540">
                        <c:v>382.69040000000001</c:v>
                      </c:pt>
                      <c:pt idx="5541">
                        <c:v>382.69040000000001</c:v>
                      </c:pt>
                      <c:pt idx="5542">
                        <c:v>382.69040000000001</c:v>
                      </c:pt>
                      <c:pt idx="5543">
                        <c:v>382.69040000000001</c:v>
                      </c:pt>
                      <c:pt idx="5544">
                        <c:v>382.69040000000001</c:v>
                      </c:pt>
                      <c:pt idx="5545">
                        <c:v>382.69040000000001</c:v>
                      </c:pt>
                      <c:pt idx="5546">
                        <c:v>382.69040000000001</c:v>
                      </c:pt>
                      <c:pt idx="5547">
                        <c:v>382.69040000000001</c:v>
                      </c:pt>
                      <c:pt idx="5548">
                        <c:v>382.69040000000001</c:v>
                      </c:pt>
                      <c:pt idx="5549">
                        <c:v>382.69040000000001</c:v>
                      </c:pt>
                      <c:pt idx="5550">
                        <c:v>382.69040000000001</c:v>
                      </c:pt>
                      <c:pt idx="5551">
                        <c:v>382.69040000000001</c:v>
                      </c:pt>
                      <c:pt idx="5552">
                        <c:v>382.69040000000001</c:v>
                      </c:pt>
                      <c:pt idx="5553">
                        <c:v>382.69040000000001</c:v>
                      </c:pt>
                      <c:pt idx="5554">
                        <c:v>382.69040000000001</c:v>
                      </c:pt>
                      <c:pt idx="5555">
                        <c:v>382.69040000000001</c:v>
                      </c:pt>
                      <c:pt idx="5556">
                        <c:v>382.69040000000001</c:v>
                      </c:pt>
                      <c:pt idx="5557">
                        <c:v>382.69040000000001</c:v>
                      </c:pt>
                      <c:pt idx="5558">
                        <c:v>382.69040000000001</c:v>
                      </c:pt>
                      <c:pt idx="5559">
                        <c:v>382.69040000000001</c:v>
                      </c:pt>
                      <c:pt idx="5560">
                        <c:v>382.69040000000001</c:v>
                      </c:pt>
                      <c:pt idx="5561">
                        <c:v>382.69040000000001</c:v>
                      </c:pt>
                      <c:pt idx="5562">
                        <c:v>382.69040000000001</c:v>
                      </c:pt>
                      <c:pt idx="5563">
                        <c:v>382.69040000000001</c:v>
                      </c:pt>
                      <c:pt idx="5564">
                        <c:v>382.69040000000001</c:v>
                      </c:pt>
                      <c:pt idx="5565">
                        <c:v>382.69040000000001</c:v>
                      </c:pt>
                      <c:pt idx="5566">
                        <c:v>382.69040000000001</c:v>
                      </c:pt>
                      <c:pt idx="5567">
                        <c:v>382.69040000000001</c:v>
                      </c:pt>
                      <c:pt idx="5568">
                        <c:v>382.69040000000001</c:v>
                      </c:pt>
                      <c:pt idx="5569">
                        <c:v>382.69040000000001</c:v>
                      </c:pt>
                      <c:pt idx="5570">
                        <c:v>382.69040000000001</c:v>
                      </c:pt>
                      <c:pt idx="5571">
                        <c:v>382.69040000000001</c:v>
                      </c:pt>
                      <c:pt idx="5572">
                        <c:v>382.69040000000001</c:v>
                      </c:pt>
                      <c:pt idx="5573">
                        <c:v>382.69040000000001</c:v>
                      </c:pt>
                      <c:pt idx="5574">
                        <c:v>382.69040000000001</c:v>
                      </c:pt>
                      <c:pt idx="5575">
                        <c:v>382.69040000000001</c:v>
                      </c:pt>
                      <c:pt idx="5576">
                        <c:v>382.69040000000001</c:v>
                      </c:pt>
                      <c:pt idx="5577">
                        <c:v>382.69040000000001</c:v>
                      </c:pt>
                      <c:pt idx="5578">
                        <c:v>382.69040000000001</c:v>
                      </c:pt>
                      <c:pt idx="5579">
                        <c:v>382.69040000000001</c:v>
                      </c:pt>
                      <c:pt idx="5580">
                        <c:v>382.69040000000001</c:v>
                      </c:pt>
                      <c:pt idx="5581">
                        <c:v>382.69040000000001</c:v>
                      </c:pt>
                      <c:pt idx="5582">
                        <c:v>382.69040000000001</c:v>
                      </c:pt>
                      <c:pt idx="5583">
                        <c:v>382.69040000000001</c:v>
                      </c:pt>
                      <c:pt idx="5584">
                        <c:v>382.69040000000001</c:v>
                      </c:pt>
                      <c:pt idx="5585">
                        <c:v>382.69040000000001</c:v>
                      </c:pt>
                      <c:pt idx="5586">
                        <c:v>382.69040000000001</c:v>
                      </c:pt>
                      <c:pt idx="5587">
                        <c:v>382.69040000000001</c:v>
                      </c:pt>
                      <c:pt idx="5588">
                        <c:v>382.69040000000001</c:v>
                      </c:pt>
                      <c:pt idx="5589">
                        <c:v>382.69040000000001</c:v>
                      </c:pt>
                      <c:pt idx="5590">
                        <c:v>382.69040000000001</c:v>
                      </c:pt>
                      <c:pt idx="5591">
                        <c:v>382.69040000000001</c:v>
                      </c:pt>
                      <c:pt idx="5592">
                        <c:v>382.69040000000001</c:v>
                      </c:pt>
                      <c:pt idx="5593">
                        <c:v>382.69040000000001</c:v>
                      </c:pt>
                      <c:pt idx="5594">
                        <c:v>382.69040000000001</c:v>
                      </c:pt>
                      <c:pt idx="5595">
                        <c:v>382.69040000000001</c:v>
                      </c:pt>
                      <c:pt idx="5596">
                        <c:v>382.69040000000001</c:v>
                      </c:pt>
                      <c:pt idx="5597">
                        <c:v>382.69040000000001</c:v>
                      </c:pt>
                      <c:pt idx="5598">
                        <c:v>382.69040000000001</c:v>
                      </c:pt>
                      <c:pt idx="5599">
                        <c:v>382.69040000000001</c:v>
                      </c:pt>
                      <c:pt idx="5600">
                        <c:v>382.69040000000001</c:v>
                      </c:pt>
                      <c:pt idx="5601">
                        <c:v>382.69040000000001</c:v>
                      </c:pt>
                      <c:pt idx="5602">
                        <c:v>382.69040000000001</c:v>
                      </c:pt>
                      <c:pt idx="5603">
                        <c:v>382.69040000000001</c:v>
                      </c:pt>
                      <c:pt idx="5604">
                        <c:v>382.69040000000001</c:v>
                      </c:pt>
                      <c:pt idx="5605">
                        <c:v>382.69040000000001</c:v>
                      </c:pt>
                      <c:pt idx="5606">
                        <c:v>382.69040000000001</c:v>
                      </c:pt>
                      <c:pt idx="5607">
                        <c:v>382.69040000000001</c:v>
                      </c:pt>
                      <c:pt idx="5608">
                        <c:v>382.69040000000001</c:v>
                      </c:pt>
                      <c:pt idx="5609">
                        <c:v>382.69040000000001</c:v>
                      </c:pt>
                      <c:pt idx="5610">
                        <c:v>382.69040000000001</c:v>
                      </c:pt>
                      <c:pt idx="5611">
                        <c:v>382.69040000000001</c:v>
                      </c:pt>
                      <c:pt idx="5612">
                        <c:v>382.69040000000001</c:v>
                      </c:pt>
                      <c:pt idx="5613">
                        <c:v>382.69040000000001</c:v>
                      </c:pt>
                      <c:pt idx="5614">
                        <c:v>382.69040000000001</c:v>
                      </c:pt>
                      <c:pt idx="5615">
                        <c:v>382.69040000000001</c:v>
                      </c:pt>
                      <c:pt idx="5616">
                        <c:v>382.69040000000001</c:v>
                      </c:pt>
                      <c:pt idx="5617">
                        <c:v>382.69040000000001</c:v>
                      </c:pt>
                      <c:pt idx="5618">
                        <c:v>382.69040000000001</c:v>
                      </c:pt>
                      <c:pt idx="5619">
                        <c:v>382.69040000000001</c:v>
                      </c:pt>
                      <c:pt idx="5620">
                        <c:v>382.69040000000001</c:v>
                      </c:pt>
                      <c:pt idx="5621">
                        <c:v>382.69040000000001</c:v>
                      </c:pt>
                      <c:pt idx="5622">
                        <c:v>382.69040000000001</c:v>
                      </c:pt>
                      <c:pt idx="5623">
                        <c:v>382.69040000000001</c:v>
                      </c:pt>
                      <c:pt idx="5624">
                        <c:v>382.80017170000002</c:v>
                      </c:pt>
                      <c:pt idx="5625">
                        <c:v>383.0222435</c:v>
                      </c:pt>
                      <c:pt idx="5626">
                        <c:v>383.23832379999999</c:v>
                      </c:pt>
                      <c:pt idx="5627">
                        <c:v>383.34727090000001</c:v>
                      </c:pt>
                      <c:pt idx="5628">
                        <c:v>383.56934280000002</c:v>
                      </c:pt>
                      <c:pt idx="5629">
                        <c:v>383.67741039999999</c:v>
                      </c:pt>
                      <c:pt idx="5630">
                        <c:v>383.78800660000002</c:v>
                      </c:pt>
                      <c:pt idx="5631">
                        <c:v>383.89948229999999</c:v>
                      </c:pt>
                      <c:pt idx="5632">
                        <c:v>384.1267211</c:v>
                      </c:pt>
                      <c:pt idx="5633">
                        <c:v>385.21921570000001</c:v>
                      </c:pt>
                      <c:pt idx="5634">
                        <c:v>385.43700000000001</c:v>
                      </c:pt>
                      <c:pt idx="5635">
                        <c:v>381.7749</c:v>
                      </c:pt>
                      <c:pt idx="5636">
                        <c:v>381.91727309999999</c:v>
                      </c:pt>
                      <c:pt idx="5637">
                        <c:v>382.05209869999999</c:v>
                      </c:pt>
                      <c:pt idx="5638">
                        <c:v>382.3261412</c:v>
                      </c:pt>
                      <c:pt idx="5639">
                        <c:v>382.59798799999999</c:v>
                      </c:pt>
                      <c:pt idx="5640">
                        <c:v>382.74036109999997</c:v>
                      </c:pt>
                      <c:pt idx="5641">
                        <c:v>383.83536459999999</c:v>
                      </c:pt>
                      <c:pt idx="5642">
                        <c:v>384.5215</c:v>
                      </c:pt>
                      <c:pt idx="5643">
                        <c:v>384.4684914</c:v>
                      </c:pt>
                      <c:pt idx="5644">
                        <c:v>384.44594319999999</c:v>
                      </c:pt>
                      <c:pt idx="5645">
                        <c:v>384.41554339999999</c:v>
                      </c:pt>
                      <c:pt idx="5646">
                        <c:v>384.30958679999998</c:v>
                      </c:pt>
                      <c:pt idx="5647">
                        <c:v>384.30196990000002</c:v>
                      </c:pt>
                      <c:pt idx="5648">
                        <c:v>384.28703860000002</c:v>
                      </c:pt>
                      <c:pt idx="5649">
                        <c:v>384.2788314</c:v>
                      </c:pt>
                      <c:pt idx="5650">
                        <c:v>384.18845690000001</c:v>
                      </c:pt>
                      <c:pt idx="5651">
                        <c:v>384.15823490000002</c:v>
                      </c:pt>
                      <c:pt idx="5652">
                        <c:v>384.09011729999997</c:v>
                      </c:pt>
                      <c:pt idx="5653">
                        <c:v>384.06739119999997</c:v>
                      </c:pt>
                      <c:pt idx="5654">
                        <c:v>384.05216100000001</c:v>
                      </c:pt>
                      <c:pt idx="5655">
                        <c:v>384.03728649999999</c:v>
                      </c:pt>
                      <c:pt idx="5656">
                        <c:v>384.02973009999999</c:v>
                      </c:pt>
                      <c:pt idx="5657">
                        <c:v>384.01443940000001</c:v>
                      </c:pt>
                      <c:pt idx="5658">
                        <c:v>384.00700399999999</c:v>
                      </c:pt>
                      <c:pt idx="5659">
                        <c:v>383.9994476</c:v>
                      </c:pt>
                      <c:pt idx="5660">
                        <c:v>383.9918912</c:v>
                      </c:pt>
                      <c:pt idx="5661">
                        <c:v>383.98403960000002</c:v>
                      </c:pt>
                      <c:pt idx="5662">
                        <c:v>383.9766042</c:v>
                      </c:pt>
                      <c:pt idx="5663">
                        <c:v>383.9691651</c:v>
                      </c:pt>
                      <c:pt idx="5664">
                        <c:v>383.9614914</c:v>
                      </c:pt>
                      <c:pt idx="5665">
                        <c:v>383.94649959999998</c:v>
                      </c:pt>
                      <c:pt idx="5666">
                        <c:v>383.938648</c:v>
                      </c:pt>
                      <c:pt idx="5667">
                        <c:v>383.9312089</c:v>
                      </c:pt>
                      <c:pt idx="5668">
                        <c:v>383.92377349999998</c:v>
                      </c:pt>
                      <c:pt idx="5669">
                        <c:v>383.91621709999998</c:v>
                      </c:pt>
                      <c:pt idx="5670">
                        <c:v>383.8782003</c:v>
                      </c:pt>
                      <c:pt idx="5671">
                        <c:v>383.8554742</c:v>
                      </c:pt>
                      <c:pt idx="5672">
                        <c:v>383.84797839999999</c:v>
                      </c:pt>
                      <c:pt idx="5673">
                        <c:v>383.84042190000002</c:v>
                      </c:pt>
                      <c:pt idx="5674">
                        <c:v>383.82513499999999</c:v>
                      </c:pt>
                      <c:pt idx="5675">
                        <c:v>383.81769589999999</c:v>
                      </c:pt>
                      <c:pt idx="5676">
                        <c:v>383.81026050000003</c:v>
                      </c:pt>
                      <c:pt idx="5677">
                        <c:v>383.78741339999999</c:v>
                      </c:pt>
                      <c:pt idx="5678">
                        <c:v>383.77997800000003</c:v>
                      </c:pt>
                      <c:pt idx="5679">
                        <c:v>383.77242159999997</c:v>
                      </c:pt>
                      <c:pt idx="5680">
                        <c:v>383.76486510000001</c:v>
                      </c:pt>
                      <c:pt idx="5681">
                        <c:v>383.75701359999999</c:v>
                      </c:pt>
                      <c:pt idx="5682">
                        <c:v>383.74213909999997</c:v>
                      </c:pt>
                      <c:pt idx="5683">
                        <c:v>383.73428749999999</c:v>
                      </c:pt>
                      <c:pt idx="5684">
                        <c:v>383.71941299999997</c:v>
                      </c:pt>
                      <c:pt idx="5685">
                        <c:v>383.71156139999999</c:v>
                      </c:pt>
                      <c:pt idx="5686">
                        <c:v>383.68919110000002</c:v>
                      </c:pt>
                      <c:pt idx="5687">
                        <c:v>383.68133949999998</c:v>
                      </c:pt>
                      <c:pt idx="5688">
                        <c:v>383.66646500000002</c:v>
                      </c:pt>
                      <c:pt idx="5689">
                        <c:v>383.65861339999998</c:v>
                      </c:pt>
                      <c:pt idx="5690">
                        <c:v>383.60590000000002</c:v>
                      </c:pt>
                      <c:pt idx="5691">
                        <c:v>383.65869129999999</c:v>
                      </c:pt>
                      <c:pt idx="5692">
                        <c:v>383.6730857</c:v>
                      </c:pt>
                      <c:pt idx="5693">
                        <c:v>383.69215350000002</c:v>
                      </c:pt>
                      <c:pt idx="5694">
                        <c:v>383.79280390000002</c:v>
                      </c:pt>
                      <c:pt idx="5695">
                        <c:v>383.80248640000002</c:v>
                      </c:pt>
                      <c:pt idx="5696">
                        <c:v>383.81239420000003</c:v>
                      </c:pt>
                      <c:pt idx="5697">
                        <c:v>383.86010219999997</c:v>
                      </c:pt>
                      <c:pt idx="5698">
                        <c:v>383.86032749999998</c:v>
                      </c:pt>
                      <c:pt idx="5699">
                        <c:v>383.91263229999998</c:v>
                      </c:pt>
                      <c:pt idx="5700">
                        <c:v>383.92231720000001</c:v>
                      </c:pt>
                      <c:pt idx="5701">
                        <c:v>383.95589210000003</c:v>
                      </c:pt>
                      <c:pt idx="5702">
                        <c:v>383.96067579999999</c:v>
                      </c:pt>
                      <c:pt idx="5703">
                        <c:v>383.96538759999999</c:v>
                      </c:pt>
                      <c:pt idx="5704">
                        <c:v>383.97036070000001</c:v>
                      </c:pt>
                      <c:pt idx="5705">
                        <c:v>383.9750702</c:v>
                      </c:pt>
                      <c:pt idx="5706">
                        <c:v>383.97974369999997</c:v>
                      </c:pt>
                      <c:pt idx="5707">
                        <c:v>383.98452980000002</c:v>
                      </c:pt>
                      <c:pt idx="5708">
                        <c:v>383.99892419999998</c:v>
                      </c:pt>
                      <c:pt idx="5709">
                        <c:v>384.00389719999998</c:v>
                      </c:pt>
                      <c:pt idx="5710">
                        <c:v>384.0086091</c:v>
                      </c:pt>
                      <c:pt idx="5711">
                        <c:v>384.03257330000002</c:v>
                      </c:pt>
                      <c:pt idx="5712">
                        <c:v>384.04225819999999</c:v>
                      </c:pt>
                      <c:pt idx="5713">
                        <c:v>384.1475054</c:v>
                      </c:pt>
                      <c:pt idx="5714">
                        <c:v>384.16208669999997</c:v>
                      </c:pt>
                      <c:pt idx="5715">
                        <c:v>384.16679850000003</c:v>
                      </c:pt>
                      <c:pt idx="5716">
                        <c:v>384.17158219999999</c:v>
                      </c:pt>
                      <c:pt idx="5717">
                        <c:v>384.1763684</c:v>
                      </c:pt>
                      <c:pt idx="5718">
                        <c:v>384.1810802</c:v>
                      </c:pt>
                      <c:pt idx="5719">
                        <c:v>384.19543620000002</c:v>
                      </c:pt>
                      <c:pt idx="5720">
                        <c:v>384.20048359999998</c:v>
                      </c:pt>
                      <c:pt idx="5721">
                        <c:v>384.2051955</c:v>
                      </c:pt>
                      <c:pt idx="5722">
                        <c:v>384.21940289999998</c:v>
                      </c:pt>
                      <c:pt idx="5723">
                        <c:v>384.23861929999998</c:v>
                      </c:pt>
                      <c:pt idx="5724">
                        <c:v>384.24347979999999</c:v>
                      </c:pt>
                      <c:pt idx="5725">
                        <c:v>384.25297769999997</c:v>
                      </c:pt>
                      <c:pt idx="5726">
                        <c:v>384.2579508</c:v>
                      </c:pt>
                      <c:pt idx="5727">
                        <c:v>384.26266029999999</c:v>
                      </c:pt>
                      <c:pt idx="5728">
                        <c:v>384.26733380000002</c:v>
                      </c:pt>
                      <c:pt idx="5729">
                        <c:v>384.27709299999998</c:v>
                      </c:pt>
                      <c:pt idx="5730">
                        <c:v>384.28180479999997</c:v>
                      </c:pt>
                      <c:pt idx="5731">
                        <c:v>384.29137470000001</c:v>
                      </c:pt>
                      <c:pt idx="5732">
                        <c:v>384.29619919999999</c:v>
                      </c:pt>
                      <c:pt idx="5733">
                        <c:v>384.30090860000001</c:v>
                      </c:pt>
                      <c:pt idx="5734">
                        <c:v>384.30588169999999</c:v>
                      </c:pt>
                      <c:pt idx="5735">
                        <c:v>384.30606870000003</c:v>
                      </c:pt>
                      <c:pt idx="5736">
                        <c:v>384.3105936</c:v>
                      </c:pt>
                      <c:pt idx="5737">
                        <c:v>384.31537730000002</c:v>
                      </c:pt>
                      <c:pt idx="5738">
                        <c:v>384.32016340000001</c:v>
                      </c:pt>
                      <c:pt idx="5739">
                        <c:v>384.33926960000002</c:v>
                      </c:pt>
                      <c:pt idx="5740">
                        <c:v>384.43075750000003</c:v>
                      </c:pt>
                      <c:pt idx="5741">
                        <c:v>384.43513380000002</c:v>
                      </c:pt>
                      <c:pt idx="5742">
                        <c:v>384.4738663</c:v>
                      </c:pt>
                      <c:pt idx="5743">
                        <c:v>384.5215</c:v>
                      </c:pt>
                      <c:pt idx="5744">
                        <c:v>383.60590000000002</c:v>
                      </c:pt>
                      <c:pt idx="5745">
                        <c:v>383.50402179999998</c:v>
                      </c:pt>
                      <c:pt idx="5746">
                        <c:v>383.48386490000001</c:v>
                      </c:pt>
                      <c:pt idx="5747">
                        <c:v>383.47331079999998</c:v>
                      </c:pt>
                      <c:pt idx="5748">
                        <c:v>383.46331629999997</c:v>
                      </c:pt>
                      <c:pt idx="5749">
                        <c:v>383.45331670000002</c:v>
                      </c:pt>
                      <c:pt idx="5750">
                        <c:v>383.44315940000001</c:v>
                      </c:pt>
                      <c:pt idx="5751">
                        <c:v>383.41261120000001</c:v>
                      </c:pt>
                      <c:pt idx="5752">
                        <c:v>383.3923016</c:v>
                      </c:pt>
                      <c:pt idx="5753">
                        <c:v>383.38174759999998</c:v>
                      </c:pt>
                      <c:pt idx="5754">
                        <c:v>383.37174800000003</c:v>
                      </c:pt>
                      <c:pt idx="5755">
                        <c:v>383.3617534</c:v>
                      </c:pt>
                      <c:pt idx="5756">
                        <c:v>383.34119980000003</c:v>
                      </c:pt>
                      <c:pt idx="5757">
                        <c:v>383.3312052</c:v>
                      </c:pt>
                      <c:pt idx="5758">
                        <c:v>383.32025449999998</c:v>
                      </c:pt>
                      <c:pt idx="5759">
                        <c:v>383.31065160000003</c:v>
                      </c:pt>
                      <c:pt idx="5760">
                        <c:v>383.30073329999999</c:v>
                      </c:pt>
                      <c:pt idx="5761">
                        <c:v>383.29010299999999</c:v>
                      </c:pt>
                      <c:pt idx="5762">
                        <c:v>383.27010380000002</c:v>
                      </c:pt>
                      <c:pt idx="5763">
                        <c:v>383.24987049999999</c:v>
                      </c:pt>
                      <c:pt idx="5764">
                        <c:v>383.23955549999999</c:v>
                      </c:pt>
                      <c:pt idx="5765">
                        <c:v>383.22956099999999</c:v>
                      </c:pt>
                      <c:pt idx="5766">
                        <c:v>383.21900699999998</c:v>
                      </c:pt>
                      <c:pt idx="5767">
                        <c:v>383.21852890000002</c:v>
                      </c:pt>
                      <c:pt idx="5768">
                        <c:v>383.1988551</c:v>
                      </c:pt>
                      <c:pt idx="5769">
                        <c:v>383.17869819999999</c:v>
                      </c:pt>
                      <c:pt idx="5770">
                        <c:v>383.16814419999997</c:v>
                      </c:pt>
                      <c:pt idx="5771">
                        <c:v>383.12752</c:v>
                      </c:pt>
                      <c:pt idx="5772">
                        <c:v>383.11752039999999</c:v>
                      </c:pt>
                      <c:pt idx="5773">
                        <c:v>383.08713499999999</c:v>
                      </c:pt>
                      <c:pt idx="5774">
                        <c:v>383.07658090000001</c:v>
                      </c:pt>
                      <c:pt idx="5775">
                        <c:v>383.05658679999999</c:v>
                      </c:pt>
                      <c:pt idx="5776">
                        <c:v>383.04603270000001</c:v>
                      </c:pt>
                      <c:pt idx="5777">
                        <c:v>383.0054849</c:v>
                      </c:pt>
                      <c:pt idx="5778">
                        <c:v>382.99556669999998</c:v>
                      </c:pt>
                      <c:pt idx="5779">
                        <c:v>382.98493630000002</c:v>
                      </c:pt>
                      <c:pt idx="5780">
                        <c:v>382.9749367</c:v>
                      </c:pt>
                      <c:pt idx="5781">
                        <c:v>382.96493709999999</c:v>
                      </c:pt>
                      <c:pt idx="5782">
                        <c:v>382.95438810000002</c:v>
                      </c:pt>
                      <c:pt idx="5783">
                        <c:v>382.92439430000002</c:v>
                      </c:pt>
                      <c:pt idx="5784">
                        <c:v>382.9138403</c:v>
                      </c:pt>
                      <c:pt idx="5785">
                        <c:v>382.8936885</c:v>
                      </c:pt>
                      <c:pt idx="5786">
                        <c:v>382.88353119999999</c:v>
                      </c:pt>
                      <c:pt idx="5787">
                        <c:v>382.87353150000001</c:v>
                      </c:pt>
                      <c:pt idx="5788">
                        <c:v>382.85298299999999</c:v>
                      </c:pt>
                      <c:pt idx="5789">
                        <c:v>382.84298330000001</c:v>
                      </c:pt>
                      <c:pt idx="5790">
                        <c:v>382.76141460000002</c:v>
                      </c:pt>
                      <c:pt idx="5791">
                        <c:v>382.73086640000002</c:v>
                      </c:pt>
                      <c:pt idx="5792">
                        <c:v>382.70031820000003</c:v>
                      </c:pt>
                      <c:pt idx="5793">
                        <c:v>382.69040000000001</c:v>
                      </c:pt>
                      <c:pt idx="5794">
                        <c:v>383.55474170000002</c:v>
                      </c:pt>
                      <c:pt idx="5795">
                        <c:v>383.60590000000002</c:v>
                      </c:pt>
                      <c:pt idx="5796">
                        <c:v>383.60590000000002</c:v>
                      </c:pt>
                      <c:pt idx="5797">
                        <c:v>383.60590000000002</c:v>
                      </c:pt>
                      <c:pt idx="5798">
                        <c:v>383.60590000000002</c:v>
                      </c:pt>
                      <c:pt idx="5799">
                        <c:v>383.60590000000002</c:v>
                      </c:pt>
                      <c:pt idx="5800">
                        <c:v>383.60590000000002</c:v>
                      </c:pt>
                      <c:pt idx="5801">
                        <c:v>383.60590000000002</c:v>
                      </c:pt>
                      <c:pt idx="5802">
                        <c:v>383.60590000000002</c:v>
                      </c:pt>
                      <c:pt idx="5803">
                        <c:v>383.60590000000002</c:v>
                      </c:pt>
                      <c:pt idx="5804">
                        <c:v>383.60590000000002</c:v>
                      </c:pt>
                      <c:pt idx="5805">
                        <c:v>383.60590000000002</c:v>
                      </c:pt>
                      <c:pt idx="5806">
                        <c:v>383.60590000000002</c:v>
                      </c:pt>
                      <c:pt idx="5807">
                        <c:v>383.60590000000002</c:v>
                      </c:pt>
                      <c:pt idx="5808">
                        <c:v>383.60590000000002</c:v>
                      </c:pt>
                      <c:pt idx="5809">
                        <c:v>383.60590000000002</c:v>
                      </c:pt>
                      <c:pt idx="5810">
                        <c:v>383.60590000000002</c:v>
                      </c:pt>
                      <c:pt idx="5811">
                        <c:v>383.60590000000002</c:v>
                      </c:pt>
                      <c:pt idx="5812">
                        <c:v>383.60590000000002</c:v>
                      </c:pt>
                      <c:pt idx="5813">
                        <c:v>383.60590000000002</c:v>
                      </c:pt>
                      <c:pt idx="5814">
                        <c:v>383.60590000000002</c:v>
                      </c:pt>
                      <c:pt idx="5815">
                        <c:v>383.71699280000001</c:v>
                      </c:pt>
                      <c:pt idx="5816">
                        <c:v>383.83031649999998</c:v>
                      </c:pt>
                      <c:pt idx="5817">
                        <c:v>383.9472442</c:v>
                      </c:pt>
                      <c:pt idx="5818">
                        <c:v>383.94947519999999</c:v>
                      </c:pt>
                      <c:pt idx="5819">
                        <c:v>384.00344849999999</c:v>
                      </c:pt>
                      <c:pt idx="5820">
                        <c:v>384.17434939999998</c:v>
                      </c:pt>
                      <c:pt idx="5821">
                        <c:v>384.2337</c:v>
                      </c:pt>
                      <c:pt idx="5822">
                        <c:v>384.28993279999997</c:v>
                      </c:pt>
                      <c:pt idx="5823">
                        <c:v>384.346137</c:v>
                      </c:pt>
                      <c:pt idx="5824">
                        <c:v>384.4023699</c:v>
                      </c:pt>
                      <c:pt idx="5825">
                        <c:v>384.5188114</c:v>
                      </c:pt>
                      <c:pt idx="5826">
                        <c:v>384.5215</c:v>
                      </c:pt>
                      <c:pt idx="5827">
                        <c:v>384.54146359999999</c:v>
                      </c:pt>
                      <c:pt idx="5828">
                        <c:v>384.6494399</c:v>
                      </c:pt>
                      <c:pt idx="5829">
                        <c:v>384.75508059999999</c:v>
                      </c:pt>
                      <c:pt idx="5830">
                        <c:v>384.82012229999998</c:v>
                      </c:pt>
                      <c:pt idx="5831">
                        <c:v>385.18113090000003</c:v>
                      </c:pt>
                      <c:pt idx="5832">
                        <c:v>385.33069799999998</c:v>
                      </c:pt>
                      <c:pt idx="5833">
                        <c:v>385.35199469999998</c:v>
                      </c:pt>
                      <c:pt idx="5834">
                        <c:v>385.37295010000003</c:v>
                      </c:pt>
                      <c:pt idx="5835">
                        <c:v>385.39507859999998</c:v>
                      </c:pt>
                      <c:pt idx="5836">
                        <c:v>385.43700000000001</c:v>
                      </c:pt>
                      <c:pt idx="5837">
                        <c:v>383.60590000000002</c:v>
                      </c:pt>
                      <c:pt idx="5838">
                        <c:v>383.60590000000002</c:v>
                      </c:pt>
                      <c:pt idx="5839">
                        <c:v>383.60590000000002</c:v>
                      </c:pt>
                      <c:pt idx="5840">
                        <c:v>383.60590000000002</c:v>
                      </c:pt>
                      <c:pt idx="5841">
                        <c:v>383.60590000000002</c:v>
                      </c:pt>
                      <c:pt idx="5842">
                        <c:v>383.60590000000002</c:v>
                      </c:pt>
                      <c:pt idx="5843">
                        <c:v>383.60590000000002</c:v>
                      </c:pt>
                      <c:pt idx="5844">
                        <c:v>383.60590000000002</c:v>
                      </c:pt>
                      <c:pt idx="5845">
                        <c:v>383.60590000000002</c:v>
                      </c:pt>
                      <c:pt idx="5846">
                        <c:v>383.60590000000002</c:v>
                      </c:pt>
                      <c:pt idx="5847">
                        <c:v>383.60590000000002</c:v>
                      </c:pt>
                      <c:pt idx="5848">
                        <c:v>383.60590000000002</c:v>
                      </c:pt>
                      <c:pt idx="5849">
                        <c:v>383.60590000000002</c:v>
                      </c:pt>
                      <c:pt idx="5850">
                        <c:v>383.60590000000002</c:v>
                      </c:pt>
                      <c:pt idx="5851">
                        <c:v>383.60590000000002</c:v>
                      </c:pt>
                      <c:pt idx="5852">
                        <c:v>383.60590000000002</c:v>
                      </c:pt>
                      <c:pt idx="5853">
                        <c:v>383.60590000000002</c:v>
                      </c:pt>
                      <c:pt idx="5854">
                        <c:v>383.60590000000002</c:v>
                      </c:pt>
                      <c:pt idx="5855">
                        <c:v>383.60590000000002</c:v>
                      </c:pt>
                      <c:pt idx="5856">
                        <c:v>383.60590000000002</c:v>
                      </c:pt>
                      <c:pt idx="5857">
                        <c:v>383.60590000000002</c:v>
                      </c:pt>
                      <c:pt idx="5858">
                        <c:v>383.60590000000002</c:v>
                      </c:pt>
                      <c:pt idx="5859">
                        <c:v>383.54607520000002</c:v>
                      </c:pt>
                      <c:pt idx="5860">
                        <c:v>383.52560799999998</c:v>
                      </c:pt>
                      <c:pt idx="5861">
                        <c:v>383.50560869999998</c:v>
                      </c:pt>
                      <c:pt idx="5862">
                        <c:v>383.48450070000001</c:v>
                      </c:pt>
                      <c:pt idx="5863">
                        <c:v>383.46451159999998</c:v>
                      </c:pt>
                      <c:pt idx="5864">
                        <c:v>383.44451229999999</c:v>
                      </c:pt>
                      <c:pt idx="5865">
                        <c:v>383.42340419999999</c:v>
                      </c:pt>
                      <c:pt idx="5866">
                        <c:v>383.42277360000003</c:v>
                      </c:pt>
                      <c:pt idx="5867">
                        <c:v>383.40341519999998</c:v>
                      </c:pt>
                      <c:pt idx="5868">
                        <c:v>383.3623078</c:v>
                      </c:pt>
                      <c:pt idx="5869">
                        <c:v>383.34231879999999</c:v>
                      </c:pt>
                      <c:pt idx="5870">
                        <c:v>383.32231949999999</c:v>
                      </c:pt>
                      <c:pt idx="5871">
                        <c:v>383.30232030000002</c:v>
                      </c:pt>
                      <c:pt idx="5872">
                        <c:v>383.28122239999999</c:v>
                      </c:pt>
                      <c:pt idx="5873">
                        <c:v>383.24090849999999</c:v>
                      </c:pt>
                      <c:pt idx="5874">
                        <c:v>383.20060480000001</c:v>
                      </c:pt>
                      <c:pt idx="5875">
                        <c:v>383.15949749999999</c:v>
                      </c:pt>
                      <c:pt idx="5876">
                        <c:v>383.13950840000001</c:v>
                      </c:pt>
                      <c:pt idx="5877">
                        <c:v>383.11840030000002</c:v>
                      </c:pt>
                      <c:pt idx="5878">
                        <c:v>383.09840109999999</c:v>
                      </c:pt>
                      <c:pt idx="5879">
                        <c:v>383.07841200000001</c:v>
                      </c:pt>
                      <c:pt idx="5880">
                        <c:v>383.05730390000002</c:v>
                      </c:pt>
                      <c:pt idx="5881">
                        <c:v>383.03746740000003</c:v>
                      </c:pt>
                      <c:pt idx="5882">
                        <c:v>383.01683750000001</c:v>
                      </c:pt>
                      <c:pt idx="5883">
                        <c:v>382.97573019999999</c:v>
                      </c:pt>
                      <c:pt idx="5884">
                        <c:v>382.93574180000002</c:v>
                      </c:pt>
                      <c:pt idx="5885">
                        <c:v>382.91542720000001</c:v>
                      </c:pt>
                      <c:pt idx="5886">
                        <c:v>382.89543809999998</c:v>
                      </c:pt>
                      <c:pt idx="5887">
                        <c:v>382.71198620000001</c:v>
                      </c:pt>
                      <c:pt idx="5888">
                        <c:v>382.69040000000001</c:v>
                      </c:pt>
                      <c:pt idx="5889">
                        <c:v>382.72729450000003</c:v>
                      </c:pt>
                      <c:pt idx="5890">
                        <c:v>382.73982269999999</c:v>
                      </c:pt>
                      <c:pt idx="5891">
                        <c:v>382.75283400000001</c:v>
                      </c:pt>
                      <c:pt idx="5892">
                        <c:v>382.77750140000001</c:v>
                      </c:pt>
                      <c:pt idx="5893">
                        <c:v>382.78982889999997</c:v>
                      </c:pt>
                      <c:pt idx="5894">
                        <c:v>382.80284640000002</c:v>
                      </c:pt>
                      <c:pt idx="5895">
                        <c:v>383.04076309999999</c:v>
                      </c:pt>
                      <c:pt idx="5896">
                        <c:v>383.1792446</c:v>
                      </c:pt>
                      <c:pt idx="5897">
                        <c:v>383.21741259999999</c:v>
                      </c:pt>
                      <c:pt idx="5898">
                        <c:v>383.24168479999997</c:v>
                      </c:pt>
                      <c:pt idx="5899">
                        <c:v>383.25499719999999</c:v>
                      </c:pt>
                      <c:pt idx="5900">
                        <c:v>383.2792632</c:v>
                      </c:pt>
                      <c:pt idx="5901">
                        <c:v>383.29189170000001</c:v>
                      </c:pt>
                      <c:pt idx="5902">
                        <c:v>383.30441990000003</c:v>
                      </c:pt>
                      <c:pt idx="5903">
                        <c:v>383.31743119999999</c:v>
                      </c:pt>
                      <c:pt idx="5904">
                        <c:v>383.31772610000002</c:v>
                      </c:pt>
                      <c:pt idx="5905">
                        <c:v>383.34209870000001</c:v>
                      </c:pt>
                      <c:pt idx="5906">
                        <c:v>383.35442610000001</c:v>
                      </c:pt>
                      <c:pt idx="5907">
                        <c:v>383.3674436</c:v>
                      </c:pt>
                      <c:pt idx="5908">
                        <c:v>383.48009080000003</c:v>
                      </c:pt>
                      <c:pt idx="5909">
                        <c:v>383.49261899999999</c:v>
                      </c:pt>
                      <c:pt idx="5910">
                        <c:v>383.7066524</c:v>
                      </c:pt>
                      <c:pt idx="5911">
                        <c:v>383.74394219999999</c:v>
                      </c:pt>
                      <c:pt idx="5912">
                        <c:v>383.74433110000001</c:v>
                      </c:pt>
                      <c:pt idx="5913">
                        <c:v>383.78162090000001</c:v>
                      </c:pt>
                      <c:pt idx="5914">
                        <c:v>384.15801900000002</c:v>
                      </c:pt>
                      <c:pt idx="5915">
                        <c:v>384.19569769999998</c:v>
                      </c:pt>
                      <c:pt idx="5916">
                        <c:v>384.20802520000001</c:v>
                      </c:pt>
                      <c:pt idx="5917">
                        <c:v>384.22035890000001</c:v>
                      </c:pt>
                      <c:pt idx="5918">
                        <c:v>384.23288710000003</c:v>
                      </c:pt>
                      <c:pt idx="5919">
                        <c:v>384.24541529999999</c:v>
                      </c:pt>
                      <c:pt idx="5920">
                        <c:v>384.25842660000001</c:v>
                      </c:pt>
                      <c:pt idx="5921">
                        <c:v>384.25872140000001</c:v>
                      </c:pt>
                      <c:pt idx="5922">
                        <c:v>384.27076030000001</c:v>
                      </c:pt>
                      <c:pt idx="5923">
                        <c:v>384.28309400000001</c:v>
                      </c:pt>
                      <c:pt idx="5924">
                        <c:v>384.29552180000002</c:v>
                      </c:pt>
                      <c:pt idx="5925">
                        <c:v>384.29561589999997</c:v>
                      </c:pt>
                      <c:pt idx="5926">
                        <c:v>384.30853939999997</c:v>
                      </c:pt>
                      <c:pt idx="5927">
                        <c:v>384.32086679999998</c:v>
                      </c:pt>
                      <c:pt idx="5928">
                        <c:v>384.3332006</c:v>
                      </c:pt>
                      <c:pt idx="5929">
                        <c:v>384.34621809999999</c:v>
                      </c:pt>
                      <c:pt idx="5930">
                        <c:v>384.35845139999998</c:v>
                      </c:pt>
                      <c:pt idx="5931">
                        <c:v>384.38379639999999</c:v>
                      </c:pt>
                      <c:pt idx="5932">
                        <c:v>384.5215</c:v>
                      </c:pt>
                      <c:pt idx="5933">
                        <c:v>384.25204810000002</c:v>
                      </c:pt>
                      <c:pt idx="5934">
                        <c:v>384.12851110000003</c:v>
                      </c:pt>
                      <c:pt idx="5935">
                        <c:v>383.9999358</c:v>
                      </c:pt>
                      <c:pt idx="5936">
                        <c:v>383.60590000000002</c:v>
                      </c:pt>
                      <c:pt idx="5937">
                        <c:v>383.60590000000002</c:v>
                      </c:pt>
                      <c:pt idx="5938">
                        <c:v>383.60590000000002</c:v>
                      </c:pt>
                      <c:pt idx="5939">
                        <c:v>383.72293289999999</c:v>
                      </c:pt>
                      <c:pt idx="5940">
                        <c:v>383.80101009999998</c:v>
                      </c:pt>
                      <c:pt idx="5941">
                        <c:v>383.83875610000001</c:v>
                      </c:pt>
                      <c:pt idx="5942">
                        <c:v>384.0741974</c:v>
                      </c:pt>
                      <c:pt idx="5943">
                        <c:v>384.5215</c:v>
                      </c:pt>
                      <c:pt idx="5944">
                        <c:v>384.5215</c:v>
                      </c:pt>
                      <c:pt idx="5945">
                        <c:v>384.5215</c:v>
                      </c:pt>
                      <c:pt idx="5946">
                        <c:v>384.5215</c:v>
                      </c:pt>
                      <c:pt idx="5947">
                        <c:v>384.5215</c:v>
                      </c:pt>
                      <c:pt idx="5948">
                        <c:v>384.5215</c:v>
                      </c:pt>
                      <c:pt idx="5949">
                        <c:v>384.5215</c:v>
                      </c:pt>
                      <c:pt idx="5950">
                        <c:v>384.5215</c:v>
                      </c:pt>
                      <c:pt idx="5951">
                        <c:v>384.5215</c:v>
                      </c:pt>
                      <c:pt idx="5952">
                        <c:v>384.5215</c:v>
                      </c:pt>
                      <c:pt idx="5953">
                        <c:v>384.5215</c:v>
                      </c:pt>
                      <c:pt idx="5954">
                        <c:v>384.5215</c:v>
                      </c:pt>
                      <c:pt idx="5955">
                        <c:v>384.5215</c:v>
                      </c:pt>
                      <c:pt idx="5956">
                        <c:v>384.5215</c:v>
                      </c:pt>
                      <c:pt idx="5957">
                        <c:v>384.5215</c:v>
                      </c:pt>
                      <c:pt idx="5958">
                        <c:v>384.5215</c:v>
                      </c:pt>
                      <c:pt idx="5959">
                        <c:v>384.5215</c:v>
                      </c:pt>
                      <c:pt idx="5960">
                        <c:v>384.5215</c:v>
                      </c:pt>
                      <c:pt idx="5961">
                        <c:v>384.5215</c:v>
                      </c:pt>
                      <c:pt idx="5962">
                        <c:v>384.5215</c:v>
                      </c:pt>
                      <c:pt idx="5963">
                        <c:v>384.5215</c:v>
                      </c:pt>
                      <c:pt idx="5964">
                        <c:v>384.5215</c:v>
                      </c:pt>
                      <c:pt idx="5965">
                        <c:v>384.5215</c:v>
                      </c:pt>
                      <c:pt idx="5966">
                        <c:v>384.5215</c:v>
                      </c:pt>
                      <c:pt idx="5967">
                        <c:v>384.5215</c:v>
                      </c:pt>
                      <c:pt idx="5968">
                        <c:v>384.5215</c:v>
                      </c:pt>
                      <c:pt idx="5969">
                        <c:v>384.5215</c:v>
                      </c:pt>
                      <c:pt idx="5970">
                        <c:v>384.5215</c:v>
                      </c:pt>
                      <c:pt idx="5971">
                        <c:v>384.5215</c:v>
                      </c:pt>
                      <c:pt idx="5972">
                        <c:v>384.5215</c:v>
                      </c:pt>
                      <c:pt idx="5973">
                        <c:v>384.5215</c:v>
                      </c:pt>
                      <c:pt idx="5974">
                        <c:v>384.5215</c:v>
                      </c:pt>
                      <c:pt idx="5975">
                        <c:v>384.5215</c:v>
                      </c:pt>
                      <c:pt idx="5976">
                        <c:v>384.5215</c:v>
                      </c:pt>
                      <c:pt idx="5977">
                        <c:v>384.5215</c:v>
                      </c:pt>
                      <c:pt idx="5978">
                        <c:v>384.5215</c:v>
                      </c:pt>
                      <c:pt idx="5979">
                        <c:v>384.5215</c:v>
                      </c:pt>
                      <c:pt idx="5980">
                        <c:v>384.5215</c:v>
                      </c:pt>
                      <c:pt idx="5981">
                        <c:v>384.5215</c:v>
                      </c:pt>
                      <c:pt idx="5982">
                        <c:v>384.5215</c:v>
                      </c:pt>
                      <c:pt idx="5983">
                        <c:v>384.5215</c:v>
                      </c:pt>
                      <c:pt idx="5984">
                        <c:v>384.5215</c:v>
                      </c:pt>
                      <c:pt idx="5985">
                        <c:v>384.5215</c:v>
                      </c:pt>
                      <c:pt idx="5986">
                        <c:v>384.5215</c:v>
                      </c:pt>
                      <c:pt idx="5987">
                        <c:v>384.5215</c:v>
                      </c:pt>
                      <c:pt idx="5988">
                        <c:v>384.5215</c:v>
                      </c:pt>
                      <c:pt idx="5989">
                        <c:v>384.5215</c:v>
                      </c:pt>
                      <c:pt idx="5990">
                        <c:v>384.5215</c:v>
                      </c:pt>
                      <c:pt idx="5991">
                        <c:v>384.5215</c:v>
                      </c:pt>
                      <c:pt idx="5992">
                        <c:v>384.5215</c:v>
                      </c:pt>
                      <c:pt idx="5993">
                        <c:v>384.5215</c:v>
                      </c:pt>
                      <c:pt idx="5994">
                        <c:v>384.5215</c:v>
                      </c:pt>
                      <c:pt idx="5995">
                        <c:v>384.5215</c:v>
                      </c:pt>
                      <c:pt idx="5996">
                        <c:v>384.5215</c:v>
                      </c:pt>
                      <c:pt idx="5997">
                        <c:v>384.5215</c:v>
                      </c:pt>
                      <c:pt idx="5998">
                        <c:v>384.5215</c:v>
                      </c:pt>
                      <c:pt idx="5999">
                        <c:v>384.5215</c:v>
                      </c:pt>
                      <c:pt idx="6000">
                        <c:v>384.5215</c:v>
                      </c:pt>
                      <c:pt idx="6001">
                        <c:v>384.5215</c:v>
                      </c:pt>
                      <c:pt idx="6002">
                        <c:v>384.5215</c:v>
                      </c:pt>
                      <c:pt idx="6003">
                        <c:v>384.5215</c:v>
                      </c:pt>
                      <c:pt idx="6004">
                        <c:v>384.5215</c:v>
                      </c:pt>
                      <c:pt idx="6005">
                        <c:v>384.5215</c:v>
                      </c:pt>
                      <c:pt idx="6006">
                        <c:v>384.5215</c:v>
                      </c:pt>
                      <c:pt idx="6007">
                        <c:v>384.5215</c:v>
                      </c:pt>
                      <c:pt idx="6008">
                        <c:v>384.5215</c:v>
                      </c:pt>
                      <c:pt idx="6009">
                        <c:v>384.5215</c:v>
                      </c:pt>
                      <c:pt idx="6010">
                        <c:v>384.5215</c:v>
                      </c:pt>
                      <c:pt idx="6011">
                        <c:v>384.5215</c:v>
                      </c:pt>
                      <c:pt idx="6012">
                        <c:v>384.5215</c:v>
                      </c:pt>
                      <c:pt idx="6013">
                        <c:v>384.5215</c:v>
                      </c:pt>
                      <c:pt idx="6014">
                        <c:v>384.5215</c:v>
                      </c:pt>
                      <c:pt idx="6015">
                        <c:v>384.5215</c:v>
                      </c:pt>
                      <c:pt idx="6016">
                        <c:v>384.5215</c:v>
                      </c:pt>
                      <c:pt idx="6017">
                        <c:v>384.5215</c:v>
                      </c:pt>
                      <c:pt idx="6018">
                        <c:v>384.5215</c:v>
                      </c:pt>
                      <c:pt idx="6019">
                        <c:v>384.5215</c:v>
                      </c:pt>
                      <c:pt idx="6020">
                        <c:v>384.5215</c:v>
                      </c:pt>
                      <c:pt idx="6021">
                        <c:v>384.5215</c:v>
                      </c:pt>
                      <c:pt idx="6022">
                        <c:v>384.5215</c:v>
                      </c:pt>
                      <c:pt idx="6023">
                        <c:v>384.5215</c:v>
                      </c:pt>
                      <c:pt idx="6024">
                        <c:v>384.5215</c:v>
                      </c:pt>
                      <c:pt idx="6025">
                        <c:v>384.5215</c:v>
                      </c:pt>
                      <c:pt idx="6026">
                        <c:v>384.5215</c:v>
                      </c:pt>
                      <c:pt idx="6027">
                        <c:v>384.5215</c:v>
                      </c:pt>
                      <c:pt idx="6028">
                        <c:v>384.5215</c:v>
                      </c:pt>
                      <c:pt idx="6029">
                        <c:v>384.5215</c:v>
                      </c:pt>
                      <c:pt idx="6030">
                        <c:v>384.5215</c:v>
                      </c:pt>
                      <c:pt idx="6031">
                        <c:v>384.5215</c:v>
                      </c:pt>
                      <c:pt idx="6032">
                        <c:v>384.5215</c:v>
                      </c:pt>
                      <c:pt idx="6033">
                        <c:v>384.5215</c:v>
                      </c:pt>
                      <c:pt idx="6034">
                        <c:v>384.5215</c:v>
                      </c:pt>
                      <c:pt idx="6035">
                        <c:v>384.5215</c:v>
                      </c:pt>
                      <c:pt idx="6036">
                        <c:v>384.5215</c:v>
                      </c:pt>
                      <c:pt idx="6037">
                        <c:v>384.56572849999998</c:v>
                      </c:pt>
                      <c:pt idx="6038">
                        <c:v>384.65431100000001</c:v>
                      </c:pt>
                      <c:pt idx="6039">
                        <c:v>384.68298929999997</c:v>
                      </c:pt>
                      <c:pt idx="6040">
                        <c:v>384.83157929999999</c:v>
                      </c:pt>
                      <c:pt idx="6041">
                        <c:v>385.05308350000001</c:v>
                      </c:pt>
                      <c:pt idx="6042">
                        <c:v>385.06690579999997</c:v>
                      </c:pt>
                      <c:pt idx="6043">
                        <c:v>385.0974301</c:v>
                      </c:pt>
                      <c:pt idx="6044">
                        <c:v>385.14074299999999</c:v>
                      </c:pt>
                      <c:pt idx="6045">
                        <c:v>385.25984979999998</c:v>
                      </c:pt>
                      <c:pt idx="6046">
                        <c:v>385.43700000000001</c:v>
                      </c:pt>
                      <c:pt idx="6047">
                        <c:v>384.74540289999999</c:v>
                      </c:pt>
                      <c:pt idx="6048">
                        <c:v>384.5215</c:v>
                      </c:pt>
                      <c:pt idx="6049">
                        <c:v>384.72056839999999</c:v>
                      </c:pt>
                      <c:pt idx="6050">
                        <c:v>384.84698800000001</c:v>
                      </c:pt>
                      <c:pt idx="6051">
                        <c:v>385.43700000000001</c:v>
                      </c:pt>
                      <c:pt idx="6052">
                        <c:v>385.33371460000001</c:v>
                      </c:pt>
                      <c:pt idx="6053">
                        <c:v>385.26258050000001</c:v>
                      </c:pt>
                      <c:pt idx="6054">
                        <c:v>385.26092540000002</c:v>
                      </c:pt>
                      <c:pt idx="6055">
                        <c:v>385.19116459999998</c:v>
                      </c:pt>
                      <c:pt idx="6056">
                        <c:v>385.1906012</c:v>
                      </c:pt>
                      <c:pt idx="6057">
                        <c:v>385.1565483</c:v>
                      </c:pt>
                      <c:pt idx="6058">
                        <c:v>385.08733339999998</c:v>
                      </c:pt>
                      <c:pt idx="6059">
                        <c:v>385.05079790000002</c:v>
                      </c:pt>
                      <c:pt idx="6060">
                        <c:v>384.981583</c:v>
                      </c:pt>
                      <c:pt idx="6061">
                        <c:v>384.87583260000002</c:v>
                      </c:pt>
                      <c:pt idx="6062">
                        <c:v>384.84067049999999</c:v>
                      </c:pt>
                      <c:pt idx="6063">
                        <c:v>384.80550840000001</c:v>
                      </c:pt>
                      <c:pt idx="6064">
                        <c:v>384.76897289999999</c:v>
                      </c:pt>
                      <c:pt idx="6065">
                        <c:v>384.73437419999999</c:v>
                      </c:pt>
                      <c:pt idx="6066">
                        <c:v>384.69975790000001</c:v>
                      </c:pt>
                      <c:pt idx="6067">
                        <c:v>384.66322250000002</c:v>
                      </c:pt>
                      <c:pt idx="6068">
                        <c:v>384.55747200000002</c:v>
                      </c:pt>
                      <c:pt idx="6069">
                        <c:v>384.5215</c:v>
                      </c:pt>
                      <c:pt idx="6070">
                        <c:v>384.51074149999999</c:v>
                      </c:pt>
                      <c:pt idx="6071">
                        <c:v>384.49891730000002</c:v>
                      </c:pt>
                      <c:pt idx="6072">
                        <c:v>384.48771429999999</c:v>
                      </c:pt>
                      <c:pt idx="6073">
                        <c:v>384.46531399999998</c:v>
                      </c:pt>
                      <c:pt idx="6074">
                        <c:v>384.45384890000003</c:v>
                      </c:pt>
                      <c:pt idx="6075">
                        <c:v>384.39686510000001</c:v>
                      </c:pt>
                      <c:pt idx="6076">
                        <c:v>384.33970470000003</c:v>
                      </c:pt>
                      <c:pt idx="6077">
                        <c:v>384.32850739999998</c:v>
                      </c:pt>
                      <c:pt idx="6078">
                        <c:v>384.27081140000001</c:v>
                      </c:pt>
                      <c:pt idx="6079">
                        <c:v>384.22583409999999</c:v>
                      </c:pt>
                      <c:pt idx="6080">
                        <c:v>384.16822919999998</c:v>
                      </c:pt>
                      <c:pt idx="6081">
                        <c:v>384.13480249999998</c:v>
                      </c:pt>
                      <c:pt idx="6082">
                        <c:v>384.123155</c:v>
                      </c:pt>
                      <c:pt idx="6083">
                        <c:v>384.1119577</c:v>
                      </c:pt>
                      <c:pt idx="6084">
                        <c:v>384.10057810000001</c:v>
                      </c:pt>
                      <c:pt idx="6085">
                        <c:v>384.08840070000002</c:v>
                      </c:pt>
                      <c:pt idx="6086">
                        <c:v>384.06635360000001</c:v>
                      </c:pt>
                      <c:pt idx="6087">
                        <c:v>383.89469580000002</c:v>
                      </c:pt>
                      <c:pt idx="6088">
                        <c:v>383.75868689999999</c:v>
                      </c:pt>
                      <c:pt idx="6089">
                        <c:v>383.75859580000002</c:v>
                      </c:pt>
                      <c:pt idx="6090">
                        <c:v>383.7126384</c:v>
                      </c:pt>
                      <c:pt idx="6091">
                        <c:v>383.70144110000001</c:v>
                      </c:pt>
                      <c:pt idx="6092">
                        <c:v>383.69023800000002</c:v>
                      </c:pt>
                      <c:pt idx="6093">
                        <c:v>383.67841390000001</c:v>
                      </c:pt>
                      <c:pt idx="6094">
                        <c:v>383.66721660000002</c:v>
                      </c:pt>
                      <c:pt idx="6095">
                        <c:v>383.65592240000001</c:v>
                      </c:pt>
                      <c:pt idx="6096">
                        <c:v>383.63254769999998</c:v>
                      </c:pt>
                      <c:pt idx="6097">
                        <c:v>383.61050069999999</c:v>
                      </c:pt>
                      <c:pt idx="6098">
                        <c:v>383.59902979999998</c:v>
                      </c:pt>
                      <c:pt idx="6099">
                        <c:v>383.58747349999999</c:v>
                      </c:pt>
                      <c:pt idx="6100">
                        <c:v>383.5762762</c:v>
                      </c:pt>
                      <c:pt idx="6101">
                        <c:v>383.56445209999998</c:v>
                      </c:pt>
                      <c:pt idx="6102">
                        <c:v>383.54205180000002</c:v>
                      </c:pt>
                      <c:pt idx="6103">
                        <c:v>383.53022770000001</c:v>
                      </c:pt>
                      <c:pt idx="6104">
                        <c:v>383.51902460000002</c:v>
                      </c:pt>
                      <c:pt idx="6105">
                        <c:v>383.50782729999997</c:v>
                      </c:pt>
                      <c:pt idx="6106">
                        <c:v>383.48444690000002</c:v>
                      </c:pt>
                      <c:pt idx="6107">
                        <c:v>383.4736029</c:v>
                      </c:pt>
                      <c:pt idx="6108">
                        <c:v>383.46239989999998</c:v>
                      </c:pt>
                      <c:pt idx="6109">
                        <c:v>383.45057580000002</c:v>
                      </c:pt>
                      <c:pt idx="6110">
                        <c:v>383.4393728</c:v>
                      </c:pt>
                      <c:pt idx="6111">
                        <c:v>383.42817539999999</c:v>
                      </c:pt>
                      <c:pt idx="6112">
                        <c:v>383.42808430000002</c:v>
                      </c:pt>
                      <c:pt idx="6113">
                        <c:v>383.41679579999999</c:v>
                      </c:pt>
                      <c:pt idx="6114">
                        <c:v>383.3825713</c:v>
                      </c:pt>
                      <c:pt idx="6115">
                        <c:v>383.3711917</c:v>
                      </c:pt>
                      <c:pt idx="6116">
                        <c:v>383.324881</c:v>
                      </c:pt>
                      <c:pt idx="6117">
                        <c:v>383.3139458</c:v>
                      </c:pt>
                      <c:pt idx="6118">
                        <c:v>383.29091870000002</c:v>
                      </c:pt>
                      <c:pt idx="6119">
                        <c:v>383.29065650000001</c:v>
                      </c:pt>
                      <c:pt idx="6120">
                        <c:v>383.2685184</c:v>
                      </c:pt>
                      <c:pt idx="6121">
                        <c:v>383.00636459999998</c:v>
                      </c:pt>
                      <c:pt idx="6122">
                        <c:v>382.99436379999997</c:v>
                      </c:pt>
                      <c:pt idx="6123">
                        <c:v>382.9490275</c:v>
                      </c:pt>
                      <c:pt idx="6124">
                        <c:v>382.93738569999999</c:v>
                      </c:pt>
                      <c:pt idx="6125">
                        <c:v>382.91524759999999</c:v>
                      </c:pt>
                      <c:pt idx="6126">
                        <c:v>382.90386790000002</c:v>
                      </c:pt>
                      <c:pt idx="6127">
                        <c:v>382.8917816</c:v>
                      </c:pt>
                      <c:pt idx="6128">
                        <c:v>382.88084650000002</c:v>
                      </c:pt>
                      <c:pt idx="6129">
                        <c:v>382.8696435</c:v>
                      </c:pt>
                      <c:pt idx="6130">
                        <c:v>382.85782499999999</c:v>
                      </c:pt>
                      <c:pt idx="6131">
                        <c:v>382.67523199999999</c:v>
                      </c:pt>
                      <c:pt idx="6132">
                        <c:v>382.56198239999998</c:v>
                      </c:pt>
                      <c:pt idx="6133">
                        <c:v>382.51593389999999</c:v>
                      </c:pt>
                      <c:pt idx="6134">
                        <c:v>382.51566600000001</c:v>
                      </c:pt>
                      <c:pt idx="6135">
                        <c:v>382.34543280000003</c:v>
                      </c:pt>
                      <c:pt idx="6136">
                        <c:v>382.33360859999999</c:v>
                      </c:pt>
                      <c:pt idx="6137">
                        <c:v>382.33334079999997</c:v>
                      </c:pt>
                      <c:pt idx="6138">
                        <c:v>382.28827239999998</c:v>
                      </c:pt>
                      <c:pt idx="6139">
                        <c:v>382.27706940000002</c:v>
                      </c:pt>
                      <c:pt idx="6140">
                        <c:v>382.26524519999998</c:v>
                      </c:pt>
                      <c:pt idx="6141">
                        <c:v>382.26498309999999</c:v>
                      </c:pt>
                      <c:pt idx="6142">
                        <c:v>382.25404789999999</c:v>
                      </c:pt>
                      <c:pt idx="6143">
                        <c:v>382.24284490000002</c:v>
                      </c:pt>
                      <c:pt idx="6144">
                        <c:v>382.22009129999998</c:v>
                      </c:pt>
                      <c:pt idx="6145">
                        <c:v>382.20826720000002</c:v>
                      </c:pt>
                      <c:pt idx="6146">
                        <c:v>382.1970642</c:v>
                      </c:pt>
                      <c:pt idx="6147">
                        <c:v>382.19661969999999</c:v>
                      </c:pt>
                      <c:pt idx="6148">
                        <c:v>382.18586119999998</c:v>
                      </c:pt>
                      <c:pt idx="6149">
                        <c:v>382.16283970000001</c:v>
                      </c:pt>
                      <c:pt idx="6150">
                        <c:v>382.15163669999998</c:v>
                      </c:pt>
                      <c:pt idx="6151">
                        <c:v>382.1398183</c:v>
                      </c:pt>
                      <c:pt idx="6152">
                        <c:v>382.09439079999999</c:v>
                      </c:pt>
                      <c:pt idx="6153">
                        <c:v>382.07199050000003</c:v>
                      </c:pt>
                      <c:pt idx="6154">
                        <c:v>382.06051969999999</c:v>
                      </c:pt>
                      <c:pt idx="6155">
                        <c:v>382.0377661</c:v>
                      </c:pt>
                      <c:pt idx="6156">
                        <c:v>382.02594190000002</c:v>
                      </c:pt>
                      <c:pt idx="6157">
                        <c:v>382.0147389</c:v>
                      </c:pt>
                      <c:pt idx="6158">
                        <c:v>382.01429450000001</c:v>
                      </c:pt>
                      <c:pt idx="6159">
                        <c:v>381.99171749999999</c:v>
                      </c:pt>
                      <c:pt idx="6160">
                        <c:v>381.96931719999998</c:v>
                      </c:pt>
                      <c:pt idx="6161">
                        <c:v>381.95749310000002</c:v>
                      </c:pt>
                      <c:pt idx="6162">
                        <c:v>381.94584559999998</c:v>
                      </c:pt>
                      <c:pt idx="6163">
                        <c:v>381.91215679999999</c:v>
                      </c:pt>
                      <c:pt idx="6164">
                        <c:v>381.87748790000001</c:v>
                      </c:pt>
                      <c:pt idx="6165">
                        <c:v>381.84334890000002</c:v>
                      </c:pt>
                      <c:pt idx="6166">
                        <c:v>381.82068079999999</c:v>
                      </c:pt>
                      <c:pt idx="6167">
                        <c:v>381.82050409999999</c:v>
                      </c:pt>
                      <c:pt idx="6168">
                        <c:v>381.80948339999998</c:v>
                      </c:pt>
                      <c:pt idx="6169">
                        <c:v>381.78707739999999</c:v>
                      </c:pt>
                      <c:pt idx="6170">
                        <c:v>381.77525900000001</c:v>
                      </c:pt>
                      <c:pt idx="6171">
                        <c:v>381.7749</c:v>
                      </c:pt>
                      <c:pt idx="6172">
                        <c:v>382.03625199999999</c:v>
                      </c:pt>
                      <c:pt idx="6173">
                        <c:v>382.04916170000001</c:v>
                      </c:pt>
                      <c:pt idx="6174">
                        <c:v>382.30625629999997</c:v>
                      </c:pt>
                      <c:pt idx="6175">
                        <c:v>382.591093</c:v>
                      </c:pt>
                      <c:pt idx="6176">
                        <c:v>382.86109729999998</c:v>
                      </c:pt>
                      <c:pt idx="6177">
                        <c:v>383.13110160000002</c:v>
                      </c:pt>
                      <c:pt idx="6178">
                        <c:v>383.4052259</c:v>
                      </c:pt>
                      <c:pt idx="6179">
                        <c:v>383.96020420000002</c:v>
                      </c:pt>
                      <c:pt idx="6180">
                        <c:v>384.51504519999997</c:v>
                      </c:pt>
                      <c:pt idx="6181">
                        <c:v>384.5215</c:v>
                      </c:pt>
                      <c:pt idx="6182">
                        <c:v>383.61702609999998</c:v>
                      </c:pt>
                      <c:pt idx="6183">
                        <c:v>382.69040000000001</c:v>
                      </c:pt>
                      <c:pt idx="6184">
                        <c:v>382.69040000000001</c:v>
                      </c:pt>
                      <c:pt idx="6185">
                        <c:v>382.69040000000001</c:v>
                      </c:pt>
                      <c:pt idx="6186">
                        <c:v>382.69040000000001</c:v>
                      </c:pt>
                      <c:pt idx="6187">
                        <c:v>382.69040000000001</c:v>
                      </c:pt>
                      <c:pt idx="6188">
                        <c:v>382.69040000000001</c:v>
                      </c:pt>
                      <c:pt idx="6189">
                        <c:v>382.69040000000001</c:v>
                      </c:pt>
                      <c:pt idx="6190">
                        <c:v>382.69040000000001</c:v>
                      </c:pt>
                      <c:pt idx="6191">
                        <c:v>382.69040000000001</c:v>
                      </c:pt>
                      <c:pt idx="6192">
                        <c:v>382.69040000000001</c:v>
                      </c:pt>
                      <c:pt idx="6193">
                        <c:v>382.69040000000001</c:v>
                      </c:pt>
                      <c:pt idx="6194">
                        <c:v>382.69040000000001</c:v>
                      </c:pt>
                      <c:pt idx="6195">
                        <c:v>382.69040000000001</c:v>
                      </c:pt>
                      <c:pt idx="6196">
                        <c:v>382.69040000000001</c:v>
                      </c:pt>
                      <c:pt idx="6197">
                        <c:v>382.69040000000001</c:v>
                      </c:pt>
                      <c:pt idx="6198">
                        <c:v>382.69040000000001</c:v>
                      </c:pt>
                      <c:pt idx="6199">
                        <c:v>382.69040000000001</c:v>
                      </c:pt>
                      <c:pt idx="6200">
                        <c:v>382.69040000000001</c:v>
                      </c:pt>
                      <c:pt idx="6201">
                        <c:v>382.69040000000001</c:v>
                      </c:pt>
                      <c:pt idx="6202">
                        <c:v>382.69040000000001</c:v>
                      </c:pt>
                      <c:pt idx="6203">
                        <c:v>382.69040000000001</c:v>
                      </c:pt>
                      <c:pt idx="6204">
                        <c:v>382.69040000000001</c:v>
                      </c:pt>
                      <c:pt idx="6205">
                        <c:v>382.69040000000001</c:v>
                      </c:pt>
                      <c:pt idx="6206">
                        <c:v>382.69040000000001</c:v>
                      </c:pt>
                      <c:pt idx="6207">
                        <c:v>382.69040000000001</c:v>
                      </c:pt>
                      <c:pt idx="6208">
                        <c:v>382.69040000000001</c:v>
                      </c:pt>
                      <c:pt idx="6209">
                        <c:v>382.69040000000001</c:v>
                      </c:pt>
                      <c:pt idx="6210">
                        <c:v>382.69040000000001</c:v>
                      </c:pt>
                      <c:pt idx="6211">
                        <c:v>382.69040000000001</c:v>
                      </c:pt>
                      <c:pt idx="6212">
                        <c:v>382.69040000000001</c:v>
                      </c:pt>
                      <c:pt idx="6213">
                        <c:v>382.69040000000001</c:v>
                      </c:pt>
                      <c:pt idx="6214">
                        <c:v>382.69040000000001</c:v>
                      </c:pt>
                      <c:pt idx="6215">
                        <c:v>382.69040000000001</c:v>
                      </c:pt>
                      <c:pt idx="6216">
                        <c:v>382.69040000000001</c:v>
                      </c:pt>
                      <c:pt idx="6217">
                        <c:v>382.69040000000001</c:v>
                      </c:pt>
                      <c:pt idx="6218">
                        <c:v>382.69040000000001</c:v>
                      </c:pt>
                      <c:pt idx="6219">
                        <c:v>382.69040000000001</c:v>
                      </c:pt>
                      <c:pt idx="6220">
                        <c:v>382.69040000000001</c:v>
                      </c:pt>
                      <c:pt idx="6221">
                        <c:v>382.69040000000001</c:v>
                      </c:pt>
                      <c:pt idx="6222">
                        <c:v>382.69040000000001</c:v>
                      </c:pt>
                      <c:pt idx="6223">
                        <c:v>382.69040000000001</c:v>
                      </c:pt>
                      <c:pt idx="6224">
                        <c:v>382.69040000000001</c:v>
                      </c:pt>
                      <c:pt idx="6225">
                        <c:v>382.69040000000001</c:v>
                      </c:pt>
                      <c:pt idx="6226">
                        <c:v>382.69040000000001</c:v>
                      </c:pt>
                      <c:pt idx="6227">
                        <c:v>382.57188559999997</c:v>
                      </c:pt>
                      <c:pt idx="6228">
                        <c:v>382.56463120000001</c:v>
                      </c:pt>
                      <c:pt idx="6229">
                        <c:v>382.55803400000002</c:v>
                      </c:pt>
                      <c:pt idx="6230">
                        <c:v>382.5370365</c:v>
                      </c:pt>
                      <c:pt idx="6231">
                        <c:v>382.53010719999997</c:v>
                      </c:pt>
                      <c:pt idx="6232">
                        <c:v>382.52312899999998</c:v>
                      </c:pt>
                      <c:pt idx="6233">
                        <c:v>382.5158745</c:v>
                      </c:pt>
                      <c:pt idx="6234">
                        <c:v>382.5157102</c:v>
                      </c:pt>
                      <c:pt idx="6235">
                        <c:v>382.5086761</c:v>
                      </c:pt>
                      <c:pt idx="6236">
                        <c:v>382.49460429999999</c:v>
                      </c:pt>
                      <c:pt idx="6237">
                        <c:v>382.48773089999997</c:v>
                      </c:pt>
                      <c:pt idx="6238">
                        <c:v>382.48113380000001</c:v>
                      </c:pt>
                      <c:pt idx="6239">
                        <c:v>382.46673329999999</c:v>
                      </c:pt>
                      <c:pt idx="6240">
                        <c:v>382.46013269999997</c:v>
                      </c:pt>
                      <c:pt idx="6241">
                        <c:v>382.45276990000002</c:v>
                      </c:pt>
                      <c:pt idx="6242">
                        <c:v>382.44579169999997</c:v>
                      </c:pt>
                      <c:pt idx="6243">
                        <c:v>382.43913509999999</c:v>
                      </c:pt>
                      <c:pt idx="6244">
                        <c:v>382.43144719999998</c:v>
                      </c:pt>
                      <c:pt idx="6245">
                        <c:v>382.39681480000002</c:v>
                      </c:pt>
                      <c:pt idx="6246">
                        <c:v>382.39021409999998</c:v>
                      </c:pt>
                      <c:pt idx="6247">
                        <c:v>382.38285130000003</c:v>
                      </c:pt>
                      <c:pt idx="6248">
                        <c:v>382.33387440000001</c:v>
                      </c:pt>
                      <c:pt idx="6249">
                        <c:v>382.32034800000002</c:v>
                      </c:pt>
                      <c:pt idx="6250">
                        <c:v>382.30611540000001</c:v>
                      </c:pt>
                      <c:pt idx="6251">
                        <c:v>382.29886090000002</c:v>
                      </c:pt>
                      <c:pt idx="6252">
                        <c:v>382.28495340000001</c:v>
                      </c:pt>
                      <c:pt idx="6253">
                        <c:v>382.27797170000002</c:v>
                      </c:pt>
                      <c:pt idx="6254">
                        <c:v>382.25037700000001</c:v>
                      </c:pt>
                      <c:pt idx="6255">
                        <c:v>382.23624919999997</c:v>
                      </c:pt>
                      <c:pt idx="6256">
                        <c:v>382.23603250000002</c:v>
                      </c:pt>
                      <c:pt idx="6257">
                        <c:v>382.2147622</c:v>
                      </c:pt>
                      <c:pt idx="6258">
                        <c:v>382.20816150000002</c:v>
                      </c:pt>
                      <c:pt idx="6259">
                        <c:v>382.20805319999999</c:v>
                      </c:pt>
                      <c:pt idx="6260">
                        <c:v>382.20096310000002</c:v>
                      </c:pt>
                      <c:pt idx="6261">
                        <c:v>382.19441840000002</c:v>
                      </c:pt>
                      <c:pt idx="6262">
                        <c:v>382.18678290000003</c:v>
                      </c:pt>
                      <c:pt idx="6263">
                        <c:v>382.17990950000001</c:v>
                      </c:pt>
                      <c:pt idx="6264">
                        <c:v>382.17309210000002</c:v>
                      </c:pt>
                      <c:pt idx="6265">
                        <c:v>382.13115290000002</c:v>
                      </c:pt>
                      <c:pt idx="6266">
                        <c:v>382.12411520000001</c:v>
                      </c:pt>
                      <c:pt idx="6267">
                        <c:v>382.11751809999998</c:v>
                      </c:pt>
                      <c:pt idx="6268">
                        <c:v>382.1105364</c:v>
                      </c:pt>
                      <c:pt idx="6269">
                        <c:v>382.09613589999998</c:v>
                      </c:pt>
                      <c:pt idx="6270">
                        <c:v>382.08915769999999</c:v>
                      </c:pt>
                      <c:pt idx="6271">
                        <c:v>382.08255709999997</c:v>
                      </c:pt>
                      <c:pt idx="6272">
                        <c:v>382.07519430000002</c:v>
                      </c:pt>
                      <c:pt idx="6273">
                        <c:v>382.06821250000002</c:v>
                      </c:pt>
                      <c:pt idx="6274">
                        <c:v>382.05419669999998</c:v>
                      </c:pt>
                      <c:pt idx="6275">
                        <c:v>382.04721499999999</c:v>
                      </c:pt>
                      <c:pt idx="6276">
                        <c:v>382.0405619</c:v>
                      </c:pt>
                      <c:pt idx="6277">
                        <c:v>382.033255</c:v>
                      </c:pt>
                      <c:pt idx="6278">
                        <c:v>382.02621740000001</c:v>
                      </c:pt>
                      <c:pt idx="6279">
                        <c:v>382.0192356</c:v>
                      </c:pt>
                      <c:pt idx="6280">
                        <c:v>382.0126909</c:v>
                      </c:pt>
                      <c:pt idx="6281">
                        <c:v>381.99169330000001</c:v>
                      </c:pt>
                      <c:pt idx="6282">
                        <c:v>381.98427809999998</c:v>
                      </c:pt>
                      <c:pt idx="6283">
                        <c:v>381.9772964</c:v>
                      </c:pt>
                      <c:pt idx="6284">
                        <c:v>381.97069570000002</c:v>
                      </c:pt>
                      <c:pt idx="6285">
                        <c:v>381.95629880000001</c:v>
                      </c:pt>
                      <c:pt idx="6286">
                        <c:v>381.9496982</c:v>
                      </c:pt>
                      <c:pt idx="6287">
                        <c:v>381.94206270000001</c:v>
                      </c:pt>
                      <c:pt idx="6288">
                        <c:v>381.93535359999998</c:v>
                      </c:pt>
                      <c:pt idx="6289">
                        <c:v>381.92875650000002</c:v>
                      </c:pt>
                      <c:pt idx="6290">
                        <c:v>381.9213378</c:v>
                      </c:pt>
                      <c:pt idx="6291">
                        <c:v>381.91435610000002</c:v>
                      </c:pt>
                      <c:pt idx="6292">
                        <c:v>381.90775889999998</c:v>
                      </c:pt>
                      <c:pt idx="6293">
                        <c:v>381.90077719999999</c:v>
                      </c:pt>
                      <c:pt idx="6294">
                        <c:v>381.89341439999998</c:v>
                      </c:pt>
                      <c:pt idx="6295">
                        <c:v>381.88637670000003</c:v>
                      </c:pt>
                      <c:pt idx="6296">
                        <c:v>381.87977960000001</c:v>
                      </c:pt>
                      <c:pt idx="6297">
                        <c:v>381.87214410000001</c:v>
                      </c:pt>
                      <c:pt idx="6298">
                        <c:v>381.86527080000002</c:v>
                      </c:pt>
                      <c:pt idx="6299">
                        <c:v>381.85845339999997</c:v>
                      </c:pt>
                      <c:pt idx="6300">
                        <c:v>381.85185619999999</c:v>
                      </c:pt>
                      <c:pt idx="6301">
                        <c:v>381.84443750000003</c:v>
                      </c:pt>
                      <c:pt idx="6302">
                        <c:v>381.83745579999999</c:v>
                      </c:pt>
                      <c:pt idx="6303">
                        <c:v>381.8308586</c:v>
                      </c:pt>
                      <c:pt idx="6304">
                        <c:v>381.82349579999999</c:v>
                      </c:pt>
                      <c:pt idx="6305">
                        <c:v>381.8164582</c:v>
                      </c:pt>
                      <c:pt idx="6306">
                        <c:v>381.80985750000002</c:v>
                      </c:pt>
                      <c:pt idx="6307">
                        <c:v>381.80216960000001</c:v>
                      </c:pt>
                      <c:pt idx="6308">
                        <c:v>381.78853479999998</c:v>
                      </c:pt>
                      <c:pt idx="6309">
                        <c:v>381.7749</c:v>
                      </c:pt>
                      <c:pt idx="6310">
                        <c:v>381.75362589999997</c:v>
                      </c:pt>
                      <c:pt idx="6311">
                        <c:v>381.73447540000001</c:v>
                      </c:pt>
                      <c:pt idx="6312">
                        <c:v>381.71548059999998</c:v>
                      </c:pt>
                      <c:pt idx="6313">
                        <c:v>381.6970996</c:v>
                      </c:pt>
                      <c:pt idx="6314">
                        <c:v>381.67642949999998</c:v>
                      </c:pt>
                      <c:pt idx="6315">
                        <c:v>381.65697690000002</c:v>
                      </c:pt>
                      <c:pt idx="6316">
                        <c:v>381.63752440000002</c:v>
                      </c:pt>
                      <c:pt idx="6317">
                        <c:v>381.6189875</c:v>
                      </c:pt>
                      <c:pt idx="6318">
                        <c:v>381.5411871</c:v>
                      </c:pt>
                      <c:pt idx="6319">
                        <c:v>381.5206728</c:v>
                      </c:pt>
                      <c:pt idx="6320">
                        <c:v>381.50213589999998</c:v>
                      </c:pt>
                      <c:pt idx="6321">
                        <c:v>381.48162159999998</c:v>
                      </c:pt>
                      <c:pt idx="6322">
                        <c:v>381.46216909999998</c:v>
                      </c:pt>
                      <c:pt idx="6323">
                        <c:v>381.44363220000002</c:v>
                      </c:pt>
                      <c:pt idx="6324">
                        <c:v>381.42326400000002</c:v>
                      </c:pt>
                      <c:pt idx="6325">
                        <c:v>381.40366540000002</c:v>
                      </c:pt>
                      <c:pt idx="6326">
                        <c:v>381.38543049999998</c:v>
                      </c:pt>
                      <c:pt idx="6327">
                        <c:v>381.3647603</c:v>
                      </c:pt>
                      <c:pt idx="6328">
                        <c:v>381.3453078</c:v>
                      </c:pt>
                      <c:pt idx="6329">
                        <c:v>381.32692680000002</c:v>
                      </c:pt>
                      <c:pt idx="6330">
                        <c:v>381.30625659999998</c:v>
                      </c:pt>
                      <c:pt idx="6331">
                        <c:v>381.28680409999998</c:v>
                      </c:pt>
                      <c:pt idx="6332">
                        <c:v>381.26842299999998</c:v>
                      </c:pt>
                      <c:pt idx="6333">
                        <c:v>381.24897049999998</c:v>
                      </c:pt>
                      <c:pt idx="6334">
                        <c:v>381.22845619999998</c:v>
                      </c:pt>
                      <c:pt idx="6335">
                        <c:v>381.20991930000002</c:v>
                      </c:pt>
                      <c:pt idx="6336">
                        <c:v>381.18940500000002</c:v>
                      </c:pt>
                      <c:pt idx="6337">
                        <c:v>381.16995250000002</c:v>
                      </c:pt>
                      <c:pt idx="6338">
                        <c:v>381.15141560000001</c:v>
                      </c:pt>
                      <c:pt idx="6339">
                        <c:v>381.1310474</c:v>
                      </c:pt>
                      <c:pt idx="6340">
                        <c:v>381.11144880000001</c:v>
                      </c:pt>
                      <c:pt idx="6341">
                        <c:v>381.09321390000002</c:v>
                      </c:pt>
                      <c:pt idx="6342">
                        <c:v>381.05278920000001</c:v>
                      </c:pt>
                      <c:pt idx="6343">
                        <c:v>381.03471020000001</c:v>
                      </c:pt>
                      <c:pt idx="6344">
                        <c:v>381.01404000000002</c:v>
                      </c:pt>
                      <c:pt idx="6345">
                        <c:v>380.97620640000002</c:v>
                      </c:pt>
                      <c:pt idx="6346">
                        <c:v>380.95675390000002</c:v>
                      </c:pt>
                      <c:pt idx="6347">
                        <c:v>380.8777359</c:v>
                      </c:pt>
                      <c:pt idx="6348">
                        <c:v>380.83883079999998</c:v>
                      </c:pt>
                      <c:pt idx="6349">
                        <c:v>380.81923219999999</c:v>
                      </c:pt>
                      <c:pt idx="6350">
                        <c:v>380.78032710000002</c:v>
                      </c:pt>
                      <c:pt idx="6351">
                        <c:v>380.74127590000001</c:v>
                      </c:pt>
                      <c:pt idx="6352">
                        <c:v>380.72304100000002</c:v>
                      </c:pt>
                      <c:pt idx="6353">
                        <c:v>380.70237090000001</c:v>
                      </c:pt>
                      <c:pt idx="6354">
                        <c:v>380.58551929999999</c:v>
                      </c:pt>
                      <c:pt idx="6355">
                        <c:v>380.56560899999999</c:v>
                      </c:pt>
                      <c:pt idx="6356">
                        <c:v>380.52823319999999</c:v>
                      </c:pt>
                      <c:pt idx="6357">
                        <c:v>380.4881105</c:v>
                      </c:pt>
                      <c:pt idx="6358">
                        <c:v>380.45027700000003</c:v>
                      </c:pt>
                      <c:pt idx="6359">
                        <c:v>380.27385020000003</c:v>
                      </c:pt>
                      <c:pt idx="6360">
                        <c:v>380.25425150000001</c:v>
                      </c:pt>
                      <c:pt idx="6361">
                        <c:v>380.23586069999999</c:v>
                      </c:pt>
                      <c:pt idx="6362">
                        <c:v>380.21534650000001</c:v>
                      </c:pt>
                      <c:pt idx="6363">
                        <c:v>380.19589389999999</c:v>
                      </c:pt>
                      <c:pt idx="6364">
                        <c:v>380.15684270000003</c:v>
                      </c:pt>
                      <c:pt idx="6365">
                        <c:v>380.13739020000003</c:v>
                      </c:pt>
                      <c:pt idx="6366">
                        <c:v>380.11900919999999</c:v>
                      </c:pt>
                      <c:pt idx="6367">
                        <c:v>380.09757919999998</c:v>
                      </c:pt>
                      <c:pt idx="6368">
                        <c:v>380.08010410000003</c:v>
                      </c:pt>
                      <c:pt idx="6369">
                        <c:v>380.02053860000001</c:v>
                      </c:pt>
                      <c:pt idx="6370">
                        <c:v>380.00032629999998</c:v>
                      </c:pt>
                      <c:pt idx="6371">
                        <c:v>379.98163360000001</c:v>
                      </c:pt>
                      <c:pt idx="6372">
                        <c:v>379.96203489999999</c:v>
                      </c:pt>
                      <c:pt idx="6373">
                        <c:v>379.94380000000001</c:v>
                      </c:pt>
                      <c:pt idx="6374">
                        <c:v>379.95972230000001</c:v>
                      </c:pt>
                      <c:pt idx="6375">
                        <c:v>379.98969110000002</c:v>
                      </c:pt>
                      <c:pt idx="6376">
                        <c:v>380.0197723</c:v>
                      </c:pt>
                      <c:pt idx="6377">
                        <c:v>380.0347567</c:v>
                      </c:pt>
                      <c:pt idx="6378">
                        <c:v>380.06390010000001</c:v>
                      </c:pt>
                      <c:pt idx="6379">
                        <c:v>380.10978360000001</c:v>
                      </c:pt>
                      <c:pt idx="6380">
                        <c:v>380.1239501</c:v>
                      </c:pt>
                      <c:pt idx="6381">
                        <c:v>380.13998500000002</c:v>
                      </c:pt>
                      <c:pt idx="6382">
                        <c:v>380.16901580000001</c:v>
                      </c:pt>
                      <c:pt idx="6383">
                        <c:v>380.21408150000002</c:v>
                      </c:pt>
                      <c:pt idx="6384">
                        <c:v>380.24486810000002</c:v>
                      </c:pt>
                      <c:pt idx="6385">
                        <c:v>380.25902710000003</c:v>
                      </c:pt>
                      <c:pt idx="6386">
                        <c:v>380.27553469999998</c:v>
                      </c:pt>
                      <c:pt idx="6387">
                        <c:v>380.30409279999998</c:v>
                      </c:pt>
                      <c:pt idx="6388">
                        <c:v>380.31989499999997</c:v>
                      </c:pt>
                      <c:pt idx="6389">
                        <c:v>380.35044900000003</c:v>
                      </c:pt>
                      <c:pt idx="6390">
                        <c:v>380.48494820000002</c:v>
                      </c:pt>
                      <c:pt idx="6391">
                        <c:v>380.51409159999997</c:v>
                      </c:pt>
                      <c:pt idx="6392">
                        <c:v>380.52907599999998</c:v>
                      </c:pt>
                      <c:pt idx="6393">
                        <c:v>380.66427299999998</c:v>
                      </c:pt>
                      <c:pt idx="6394">
                        <c:v>380.68007519999998</c:v>
                      </c:pt>
                      <c:pt idx="6395">
                        <c:v>380.69482699999998</c:v>
                      </c:pt>
                      <c:pt idx="6396">
                        <c:v>380.69505959999998</c:v>
                      </c:pt>
                      <c:pt idx="6397">
                        <c:v>380.70933869999999</c:v>
                      </c:pt>
                      <c:pt idx="6398">
                        <c:v>380.75510969999999</c:v>
                      </c:pt>
                      <c:pt idx="6399">
                        <c:v>380.85939999999999</c:v>
                      </c:pt>
                      <c:pt idx="6400">
                        <c:v>380.85939999999999</c:v>
                      </c:pt>
                      <c:pt idx="6401">
                        <c:v>380.85939999999999</c:v>
                      </c:pt>
                      <c:pt idx="6402">
                        <c:v>380.85939999999999</c:v>
                      </c:pt>
                      <c:pt idx="6403">
                        <c:v>380.85939999999999</c:v>
                      </c:pt>
                      <c:pt idx="6404">
                        <c:v>380.85939999999999</c:v>
                      </c:pt>
                      <c:pt idx="6405">
                        <c:v>380.85939999999999</c:v>
                      </c:pt>
                      <c:pt idx="6406">
                        <c:v>380.85939999999999</c:v>
                      </c:pt>
                      <c:pt idx="6407">
                        <c:v>380.85939999999999</c:v>
                      </c:pt>
                      <c:pt idx="6408">
                        <c:v>380.85939999999999</c:v>
                      </c:pt>
                      <c:pt idx="6409">
                        <c:v>380.85939999999999</c:v>
                      </c:pt>
                      <c:pt idx="6410">
                        <c:v>380.85939999999999</c:v>
                      </c:pt>
                      <c:pt idx="6411">
                        <c:v>380.85939999999999</c:v>
                      </c:pt>
                      <c:pt idx="6412">
                        <c:v>380.85939999999999</c:v>
                      </c:pt>
                      <c:pt idx="6413">
                        <c:v>380.85939999999999</c:v>
                      </c:pt>
                      <c:pt idx="6414">
                        <c:v>380.85939999999999</c:v>
                      </c:pt>
                      <c:pt idx="6415">
                        <c:v>380.85939999999999</c:v>
                      </c:pt>
                      <c:pt idx="6416">
                        <c:v>380.85939999999999</c:v>
                      </c:pt>
                      <c:pt idx="6417">
                        <c:v>380.85939999999999</c:v>
                      </c:pt>
                      <c:pt idx="6418">
                        <c:v>380.85939999999999</c:v>
                      </c:pt>
                      <c:pt idx="6419">
                        <c:v>380.85939999999999</c:v>
                      </c:pt>
                      <c:pt idx="6420">
                        <c:v>380.85939999999999</c:v>
                      </c:pt>
                      <c:pt idx="6421">
                        <c:v>380.85939999999999</c:v>
                      </c:pt>
                      <c:pt idx="6422">
                        <c:v>380.85939999999999</c:v>
                      </c:pt>
                      <c:pt idx="6423">
                        <c:v>380.85939999999999</c:v>
                      </c:pt>
                      <c:pt idx="6424">
                        <c:v>380.85939999999999</c:v>
                      </c:pt>
                      <c:pt idx="6425">
                        <c:v>380.85939999999999</c:v>
                      </c:pt>
                      <c:pt idx="6426">
                        <c:v>380.85939999999999</c:v>
                      </c:pt>
                      <c:pt idx="6427">
                        <c:v>380.85939999999999</c:v>
                      </c:pt>
                      <c:pt idx="6428">
                        <c:v>380.85939999999999</c:v>
                      </c:pt>
                      <c:pt idx="6429">
                        <c:v>380.85939999999999</c:v>
                      </c:pt>
                      <c:pt idx="6430">
                        <c:v>380.85939999999999</c:v>
                      </c:pt>
                      <c:pt idx="6431">
                        <c:v>380.85939999999999</c:v>
                      </c:pt>
                      <c:pt idx="6432">
                        <c:v>380.85939999999999</c:v>
                      </c:pt>
                      <c:pt idx="6433">
                        <c:v>380.85939999999999</c:v>
                      </c:pt>
                      <c:pt idx="6434">
                        <c:v>380.85939999999999</c:v>
                      </c:pt>
                      <c:pt idx="6435">
                        <c:v>380.85939999999999</c:v>
                      </c:pt>
                      <c:pt idx="6436">
                        <c:v>380.85939999999999</c:v>
                      </c:pt>
                      <c:pt idx="6437">
                        <c:v>380.85939999999999</c:v>
                      </c:pt>
                      <c:pt idx="6438">
                        <c:v>380.85939999999999</c:v>
                      </c:pt>
                      <c:pt idx="6439">
                        <c:v>380.85939999999999</c:v>
                      </c:pt>
                      <c:pt idx="6440">
                        <c:v>380.85939999999999</c:v>
                      </c:pt>
                      <c:pt idx="6441">
                        <c:v>380.85939999999999</c:v>
                      </c:pt>
                      <c:pt idx="6442">
                        <c:v>380.85939999999999</c:v>
                      </c:pt>
                      <c:pt idx="6443">
                        <c:v>380.85939999999999</c:v>
                      </c:pt>
                      <c:pt idx="6444">
                        <c:v>380.85939999999999</c:v>
                      </c:pt>
                      <c:pt idx="6445">
                        <c:v>380.85939999999999</c:v>
                      </c:pt>
                      <c:pt idx="6446">
                        <c:v>380.85939999999999</c:v>
                      </c:pt>
                      <c:pt idx="6447">
                        <c:v>380.91401459999997</c:v>
                      </c:pt>
                      <c:pt idx="6448">
                        <c:v>380.97015750000003</c:v>
                      </c:pt>
                      <c:pt idx="6449">
                        <c:v>380.99811089999997</c:v>
                      </c:pt>
                      <c:pt idx="6450">
                        <c:v>381.08024810000001</c:v>
                      </c:pt>
                      <c:pt idx="6451">
                        <c:v>381.10907680000003</c:v>
                      </c:pt>
                      <c:pt idx="6452">
                        <c:v>381.136391</c:v>
                      </c:pt>
                      <c:pt idx="6453">
                        <c:v>381.1636914</c:v>
                      </c:pt>
                      <c:pt idx="6454">
                        <c:v>381.19252</c:v>
                      </c:pt>
                      <c:pt idx="6455">
                        <c:v>381.24821830000002</c:v>
                      </c:pt>
                      <c:pt idx="6456">
                        <c:v>381.24844059999998</c:v>
                      </c:pt>
                      <c:pt idx="6457">
                        <c:v>381.2759633</c:v>
                      </c:pt>
                      <c:pt idx="6458">
                        <c:v>381.30262449999998</c:v>
                      </c:pt>
                      <c:pt idx="6459">
                        <c:v>381.33059179999998</c:v>
                      </c:pt>
                      <c:pt idx="6460">
                        <c:v>381.38737379999998</c:v>
                      </c:pt>
                      <c:pt idx="6461">
                        <c:v>381.55403799999999</c:v>
                      </c:pt>
                      <c:pt idx="6462">
                        <c:v>381.58047690000001</c:v>
                      </c:pt>
                      <c:pt idx="6463">
                        <c:v>381.60973630000001</c:v>
                      </c:pt>
                      <c:pt idx="6464">
                        <c:v>381.6934018</c:v>
                      </c:pt>
                      <c:pt idx="6465">
                        <c:v>381.7749</c:v>
                      </c:pt>
                      <c:pt idx="6466">
                        <c:v>381.75762570000001</c:v>
                      </c:pt>
                      <c:pt idx="6467">
                        <c:v>381.75735630000003</c:v>
                      </c:pt>
                      <c:pt idx="6468">
                        <c:v>381.74921940000002</c:v>
                      </c:pt>
                      <c:pt idx="6469">
                        <c:v>381.7402146</c:v>
                      </c:pt>
                      <c:pt idx="6470">
                        <c:v>381.73214610000002</c:v>
                      </c:pt>
                      <c:pt idx="6471">
                        <c:v>381.72314119999999</c:v>
                      </c:pt>
                      <c:pt idx="6472">
                        <c:v>381.71460239999999</c:v>
                      </c:pt>
                      <c:pt idx="6473">
                        <c:v>381.70646549999998</c:v>
                      </c:pt>
                      <c:pt idx="6474">
                        <c:v>381.6974606</c:v>
                      </c:pt>
                      <c:pt idx="6475">
                        <c:v>381.6889218</c:v>
                      </c:pt>
                      <c:pt idx="6476">
                        <c:v>381.60340539999999</c:v>
                      </c:pt>
                      <c:pt idx="6477">
                        <c:v>381.59533699999997</c:v>
                      </c:pt>
                      <c:pt idx="6478">
                        <c:v>381.58633209999999</c:v>
                      </c:pt>
                      <c:pt idx="6479">
                        <c:v>381.57772490000002</c:v>
                      </c:pt>
                      <c:pt idx="6480">
                        <c:v>381.5007516</c:v>
                      </c:pt>
                      <c:pt idx="6481">
                        <c:v>381.49267880000002</c:v>
                      </c:pt>
                      <c:pt idx="6482">
                        <c:v>381.44992489999998</c:v>
                      </c:pt>
                      <c:pt idx="6483">
                        <c:v>381.44105259999998</c:v>
                      </c:pt>
                      <c:pt idx="6484">
                        <c:v>381.43238120000001</c:v>
                      </c:pt>
                      <c:pt idx="6485">
                        <c:v>381.3897556</c:v>
                      </c:pt>
                      <c:pt idx="6486">
                        <c:v>381.38135360000001</c:v>
                      </c:pt>
                      <c:pt idx="6487">
                        <c:v>381.38108419999998</c:v>
                      </c:pt>
                      <c:pt idx="6488">
                        <c:v>381.37294730000002</c:v>
                      </c:pt>
                      <c:pt idx="6489">
                        <c:v>381.36434439999999</c:v>
                      </c:pt>
                      <c:pt idx="6490">
                        <c:v>381.36394239999998</c:v>
                      </c:pt>
                      <c:pt idx="6491">
                        <c:v>381.3470016</c:v>
                      </c:pt>
                      <c:pt idx="6492">
                        <c:v>381.3383303</c:v>
                      </c:pt>
                      <c:pt idx="6493">
                        <c:v>381.28716580000003</c:v>
                      </c:pt>
                      <c:pt idx="6494">
                        <c:v>381.27876379999998</c:v>
                      </c:pt>
                      <c:pt idx="6495">
                        <c:v>381.27843030000002</c:v>
                      </c:pt>
                      <c:pt idx="6496">
                        <c:v>381.26975900000002</c:v>
                      </c:pt>
                      <c:pt idx="6497">
                        <c:v>381.26969050000002</c:v>
                      </c:pt>
                      <c:pt idx="6498">
                        <c:v>381.26168619999999</c:v>
                      </c:pt>
                      <c:pt idx="6499">
                        <c:v>381.2532799</c:v>
                      </c:pt>
                      <c:pt idx="6500">
                        <c:v>381.24441189999999</c:v>
                      </c:pt>
                      <c:pt idx="6501">
                        <c:v>381.23567209999999</c:v>
                      </c:pt>
                      <c:pt idx="6502">
                        <c:v>381.22759939999997</c:v>
                      </c:pt>
                      <c:pt idx="6503">
                        <c:v>381.21859449999999</c:v>
                      </c:pt>
                      <c:pt idx="6504">
                        <c:v>381.21006</c:v>
                      </c:pt>
                      <c:pt idx="6505">
                        <c:v>381.19291390000001</c:v>
                      </c:pt>
                      <c:pt idx="6506">
                        <c:v>381.17584060000002</c:v>
                      </c:pt>
                      <c:pt idx="6507">
                        <c:v>381.14142020000003</c:v>
                      </c:pt>
                      <c:pt idx="6508">
                        <c:v>381.10740179999999</c:v>
                      </c:pt>
                      <c:pt idx="6509">
                        <c:v>381.07364849999999</c:v>
                      </c:pt>
                      <c:pt idx="6510">
                        <c:v>381.04757030000002</c:v>
                      </c:pt>
                      <c:pt idx="6511">
                        <c:v>381.03903150000002</c:v>
                      </c:pt>
                      <c:pt idx="6512">
                        <c:v>380.97913149999999</c:v>
                      </c:pt>
                      <c:pt idx="6513">
                        <c:v>380.97105879999998</c:v>
                      </c:pt>
                      <c:pt idx="6514">
                        <c:v>380.96252420000002</c:v>
                      </c:pt>
                      <c:pt idx="6515">
                        <c:v>380.95351929999998</c:v>
                      </c:pt>
                      <c:pt idx="6516">
                        <c:v>380.94491210000001</c:v>
                      </c:pt>
                      <c:pt idx="6517">
                        <c:v>380.93684359999997</c:v>
                      </c:pt>
                      <c:pt idx="6518">
                        <c:v>380.92783880000002</c:v>
                      </c:pt>
                      <c:pt idx="6519">
                        <c:v>380.91930000000002</c:v>
                      </c:pt>
                      <c:pt idx="6520">
                        <c:v>380.91116310000001</c:v>
                      </c:pt>
                      <c:pt idx="6521">
                        <c:v>380.90215819999997</c:v>
                      </c:pt>
                      <c:pt idx="6522">
                        <c:v>380.89408539999999</c:v>
                      </c:pt>
                      <c:pt idx="6523">
                        <c:v>380.88508059999998</c:v>
                      </c:pt>
                      <c:pt idx="6524">
                        <c:v>380.86800290000002</c:v>
                      </c:pt>
                      <c:pt idx="6525">
                        <c:v>380.85939999999999</c:v>
                      </c:pt>
                      <c:pt idx="6526">
                        <c:v>380.88445039999999</c:v>
                      </c:pt>
                      <c:pt idx="6527">
                        <c:v>380.91094700000002</c:v>
                      </c:pt>
                      <c:pt idx="6528">
                        <c:v>380.93888989999999</c:v>
                      </c:pt>
                      <c:pt idx="6529">
                        <c:v>380.96558549999997</c:v>
                      </c:pt>
                      <c:pt idx="6530">
                        <c:v>380.9920821</c:v>
                      </c:pt>
                      <c:pt idx="6531">
                        <c:v>381.01857869999998</c:v>
                      </c:pt>
                      <c:pt idx="6532">
                        <c:v>381.04361590000002</c:v>
                      </c:pt>
                      <c:pt idx="6533">
                        <c:v>381.07155870000003</c:v>
                      </c:pt>
                      <c:pt idx="6534">
                        <c:v>381.09826759999999</c:v>
                      </c:pt>
                      <c:pt idx="6535">
                        <c:v>381.12330470000001</c:v>
                      </c:pt>
                      <c:pt idx="6536">
                        <c:v>381.15124759999998</c:v>
                      </c:pt>
                      <c:pt idx="6537">
                        <c:v>381.17836779999999</c:v>
                      </c:pt>
                      <c:pt idx="6538">
                        <c:v>381.25680949999997</c:v>
                      </c:pt>
                      <c:pt idx="6539">
                        <c:v>381.6022739</c:v>
                      </c:pt>
                      <c:pt idx="6540">
                        <c:v>381.78773699999999</c:v>
                      </c:pt>
                      <c:pt idx="6541">
                        <c:v>381.9483487</c:v>
                      </c:pt>
                      <c:pt idx="6542">
                        <c:v>382.0534993</c:v>
                      </c:pt>
                      <c:pt idx="6543">
                        <c:v>382.18618140000001</c:v>
                      </c:pt>
                      <c:pt idx="6544">
                        <c:v>382.34534689999998</c:v>
                      </c:pt>
                      <c:pt idx="6545">
                        <c:v>382.37059629999999</c:v>
                      </c:pt>
                      <c:pt idx="6546">
                        <c:v>382.3981278</c:v>
                      </c:pt>
                      <c:pt idx="6547">
                        <c:v>382.42462440000003</c:v>
                      </c:pt>
                      <c:pt idx="6548">
                        <c:v>382.45008610000002</c:v>
                      </c:pt>
                      <c:pt idx="6549">
                        <c:v>382.5055605</c:v>
                      </c:pt>
                      <c:pt idx="6550">
                        <c:v>382.53059769999999</c:v>
                      </c:pt>
                      <c:pt idx="6551">
                        <c:v>382.5310222</c:v>
                      </c:pt>
                      <c:pt idx="6552">
                        <c:v>382.5827683</c:v>
                      </c:pt>
                      <c:pt idx="6553">
                        <c:v>382.6378181</c:v>
                      </c:pt>
                      <c:pt idx="6554">
                        <c:v>382.69040000000001</c:v>
                      </c:pt>
                      <c:pt idx="6555">
                        <c:v>380.85939999999999</c:v>
                      </c:pt>
                      <c:pt idx="6556">
                        <c:v>380.85939999999999</c:v>
                      </c:pt>
                      <c:pt idx="6557">
                        <c:v>380.85939999999999</c:v>
                      </c:pt>
                      <c:pt idx="6558">
                        <c:v>380.85939999999999</c:v>
                      </c:pt>
                      <c:pt idx="6559">
                        <c:v>380.85939999999999</c:v>
                      </c:pt>
                      <c:pt idx="6560">
                        <c:v>380.85939999999999</c:v>
                      </c:pt>
                      <c:pt idx="6561">
                        <c:v>380.85939999999999</c:v>
                      </c:pt>
                      <c:pt idx="6562">
                        <c:v>380.85939999999999</c:v>
                      </c:pt>
                      <c:pt idx="6563">
                        <c:v>380.85939999999999</c:v>
                      </c:pt>
                      <c:pt idx="6564">
                        <c:v>380.85939999999999</c:v>
                      </c:pt>
                      <c:pt idx="6565">
                        <c:v>380.85939999999999</c:v>
                      </c:pt>
                      <c:pt idx="6566">
                        <c:v>380.85939999999999</c:v>
                      </c:pt>
                      <c:pt idx="6567">
                        <c:v>380.85939999999999</c:v>
                      </c:pt>
                      <c:pt idx="6568">
                        <c:v>380.85939999999999</c:v>
                      </c:pt>
                      <c:pt idx="6569">
                        <c:v>380.85939999999999</c:v>
                      </c:pt>
                      <c:pt idx="6570">
                        <c:v>380.85939999999999</c:v>
                      </c:pt>
                      <c:pt idx="6571">
                        <c:v>380.85939999999999</c:v>
                      </c:pt>
                      <c:pt idx="6572">
                        <c:v>380.85939999999999</c:v>
                      </c:pt>
                      <c:pt idx="6573">
                        <c:v>380.85939999999999</c:v>
                      </c:pt>
                      <c:pt idx="6574">
                        <c:v>380.85939999999999</c:v>
                      </c:pt>
                      <c:pt idx="6575">
                        <c:v>380.85939999999999</c:v>
                      </c:pt>
                      <c:pt idx="6576">
                        <c:v>380.85939999999999</c:v>
                      </c:pt>
                      <c:pt idx="6577">
                        <c:v>380.85939999999999</c:v>
                      </c:pt>
                      <c:pt idx="6578">
                        <c:v>380.85939999999999</c:v>
                      </c:pt>
                      <c:pt idx="6579">
                        <c:v>380.85939999999999</c:v>
                      </c:pt>
                      <c:pt idx="6580">
                        <c:v>380.85939999999999</c:v>
                      </c:pt>
                      <c:pt idx="6581">
                        <c:v>380.85939999999999</c:v>
                      </c:pt>
                      <c:pt idx="6582">
                        <c:v>380.85939999999999</c:v>
                      </c:pt>
                      <c:pt idx="6583">
                        <c:v>380.85939999999999</c:v>
                      </c:pt>
                      <c:pt idx="6584">
                        <c:v>380.85939999999999</c:v>
                      </c:pt>
                      <c:pt idx="6585">
                        <c:v>380.85939999999999</c:v>
                      </c:pt>
                      <c:pt idx="6586">
                        <c:v>380.85939999999999</c:v>
                      </c:pt>
                      <c:pt idx="6587">
                        <c:v>380.85939999999999</c:v>
                      </c:pt>
                      <c:pt idx="6588">
                        <c:v>380.85939999999999</c:v>
                      </c:pt>
                      <c:pt idx="6589">
                        <c:v>380.85939999999999</c:v>
                      </c:pt>
                      <c:pt idx="6590">
                        <c:v>380.85939999999999</c:v>
                      </c:pt>
                      <c:pt idx="6591">
                        <c:v>380.85939999999999</c:v>
                      </c:pt>
                      <c:pt idx="6592">
                        <c:v>380.85939999999999</c:v>
                      </c:pt>
                      <c:pt idx="6593">
                        <c:v>380.85939999999999</c:v>
                      </c:pt>
                      <c:pt idx="6594">
                        <c:v>380.85939999999999</c:v>
                      </c:pt>
                      <c:pt idx="6595">
                        <c:v>380.85939999999999</c:v>
                      </c:pt>
                      <c:pt idx="6596">
                        <c:v>380.85939999999999</c:v>
                      </c:pt>
                      <c:pt idx="6597">
                        <c:v>380.85939999999999</c:v>
                      </c:pt>
                      <c:pt idx="6598">
                        <c:v>380.85939999999999</c:v>
                      </c:pt>
                      <c:pt idx="6599">
                        <c:v>380.85939999999999</c:v>
                      </c:pt>
                      <c:pt idx="6600">
                        <c:v>380.85939999999999</c:v>
                      </c:pt>
                      <c:pt idx="6601">
                        <c:v>380.85939999999999</c:v>
                      </c:pt>
                      <c:pt idx="6602">
                        <c:v>380.85939999999999</c:v>
                      </c:pt>
                      <c:pt idx="6603">
                        <c:v>380.85939999999999</c:v>
                      </c:pt>
                      <c:pt idx="6604">
                        <c:v>380.85939999999999</c:v>
                      </c:pt>
                      <c:pt idx="6605">
                        <c:v>380.85939999999999</c:v>
                      </c:pt>
                      <c:pt idx="6606">
                        <c:v>380.85939999999999</c:v>
                      </c:pt>
                      <c:pt idx="6607">
                        <c:v>380.85939999999999</c:v>
                      </c:pt>
                      <c:pt idx="6608">
                        <c:v>380.85939999999999</c:v>
                      </c:pt>
                      <c:pt idx="6609">
                        <c:v>380.85939999999999</c:v>
                      </c:pt>
                      <c:pt idx="6610">
                        <c:v>380.85939999999999</c:v>
                      </c:pt>
                      <c:pt idx="6611">
                        <c:v>380.85939999999999</c:v>
                      </c:pt>
                      <c:pt idx="6612">
                        <c:v>380.85939999999999</c:v>
                      </c:pt>
                      <c:pt idx="6613">
                        <c:v>380.85939999999999</c:v>
                      </c:pt>
                      <c:pt idx="6614">
                        <c:v>380.85939999999999</c:v>
                      </c:pt>
                      <c:pt idx="6615">
                        <c:v>380.85939999999999</c:v>
                      </c:pt>
                      <c:pt idx="6616">
                        <c:v>380.85939999999999</c:v>
                      </c:pt>
                      <c:pt idx="6617">
                        <c:v>380.85939999999999</c:v>
                      </c:pt>
                      <c:pt idx="6618">
                        <c:v>380.85939999999999</c:v>
                      </c:pt>
                      <c:pt idx="6619">
                        <c:v>380.85939999999999</c:v>
                      </c:pt>
                      <c:pt idx="6620">
                        <c:v>380.85939999999999</c:v>
                      </c:pt>
                      <c:pt idx="6621">
                        <c:v>380.85939999999999</c:v>
                      </c:pt>
                      <c:pt idx="6622">
                        <c:v>380.85939999999999</c:v>
                      </c:pt>
                      <c:pt idx="6623">
                        <c:v>380.85939999999999</c:v>
                      </c:pt>
                      <c:pt idx="6624">
                        <c:v>380.85939999999999</c:v>
                      </c:pt>
                      <c:pt idx="6625">
                        <c:v>380.85939999999999</c:v>
                      </c:pt>
                      <c:pt idx="6626">
                        <c:v>380.85939999999999</c:v>
                      </c:pt>
                      <c:pt idx="6627">
                        <c:v>380.85939999999999</c:v>
                      </c:pt>
                      <c:pt idx="6628">
                        <c:v>380.85939999999999</c:v>
                      </c:pt>
                      <c:pt idx="6629">
                        <c:v>380.85939999999999</c:v>
                      </c:pt>
                      <c:pt idx="6630">
                        <c:v>380.85939999999999</c:v>
                      </c:pt>
                      <c:pt idx="6631">
                        <c:v>380.85939999999999</c:v>
                      </c:pt>
                      <c:pt idx="6632">
                        <c:v>380.85939999999999</c:v>
                      </c:pt>
                      <c:pt idx="6633">
                        <c:v>380.82639380000001</c:v>
                      </c:pt>
                      <c:pt idx="6634">
                        <c:v>380.78515149999998</c:v>
                      </c:pt>
                      <c:pt idx="6635">
                        <c:v>380.76012559999998</c:v>
                      </c:pt>
                      <c:pt idx="6636">
                        <c:v>380.75195550000001</c:v>
                      </c:pt>
                      <c:pt idx="6637">
                        <c:v>380.744235</c:v>
                      </c:pt>
                      <c:pt idx="6638">
                        <c:v>380.7356772</c:v>
                      </c:pt>
                      <c:pt idx="6639">
                        <c:v>380.72737510000002</c:v>
                      </c:pt>
                      <c:pt idx="6640">
                        <c:v>380.51267999999999</c:v>
                      </c:pt>
                      <c:pt idx="6641">
                        <c:v>380.50450990000002</c:v>
                      </c:pt>
                      <c:pt idx="6642">
                        <c:v>380.49678929999999</c:v>
                      </c:pt>
                      <c:pt idx="6643">
                        <c:v>380.48823149999998</c:v>
                      </c:pt>
                      <c:pt idx="6644">
                        <c:v>380.47086030000003</c:v>
                      </c:pt>
                      <c:pt idx="6645">
                        <c:v>380.45515929999999</c:v>
                      </c:pt>
                      <c:pt idx="6646">
                        <c:v>380.44698920000002</c:v>
                      </c:pt>
                      <c:pt idx="6647">
                        <c:v>380.38921290000002</c:v>
                      </c:pt>
                      <c:pt idx="6648">
                        <c:v>380.37274480000002</c:v>
                      </c:pt>
                      <c:pt idx="6649">
                        <c:v>380.36450869999999</c:v>
                      </c:pt>
                      <c:pt idx="6650">
                        <c:v>380.34797470000001</c:v>
                      </c:pt>
                      <c:pt idx="6651">
                        <c:v>380.28196220000001</c:v>
                      </c:pt>
                      <c:pt idx="6652">
                        <c:v>380.27385399999997</c:v>
                      </c:pt>
                      <c:pt idx="6653">
                        <c:v>380.27372609999998</c:v>
                      </c:pt>
                      <c:pt idx="6654">
                        <c:v>380.26523429999997</c:v>
                      </c:pt>
                      <c:pt idx="6655">
                        <c:v>380.26516839999999</c:v>
                      </c:pt>
                      <c:pt idx="6656">
                        <c:v>380.24902200000002</c:v>
                      </c:pt>
                      <c:pt idx="6657">
                        <c:v>380.23248799999999</c:v>
                      </c:pt>
                      <c:pt idx="6658">
                        <c:v>380.1912456</c:v>
                      </c:pt>
                      <c:pt idx="6659">
                        <c:v>380.18268790000002</c:v>
                      </c:pt>
                      <c:pt idx="6660">
                        <c:v>380.08444450000002</c:v>
                      </c:pt>
                      <c:pt idx="6661">
                        <c:v>380.05085680000002</c:v>
                      </c:pt>
                      <c:pt idx="6662">
                        <c:v>380.01817640000002</c:v>
                      </c:pt>
                      <c:pt idx="6663">
                        <c:v>380.00961860000001</c:v>
                      </c:pt>
                      <c:pt idx="6664">
                        <c:v>380.00157639999998</c:v>
                      </c:pt>
                      <c:pt idx="6665">
                        <c:v>379.9933403</c:v>
                      </c:pt>
                      <c:pt idx="6666">
                        <c:v>379.98517020000003</c:v>
                      </c:pt>
                      <c:pt idx="6667">
                        <c:v>379.96033399999999</c:v>
                      </c:pt>
                      <c:pt idx="6668">
                        <c:v>379.94380000000001</c:v>
                      </c:pt>
                      <c:pt idx="6669">
                        <c:v>379.82979779999999</c:v>
                      </c:pt>
                      <c:pt idx="6670">
                        <c:v>379.60179340000002</c:v>
                      </c:pt>
                      <c:pt idx="6671">
                        <c:v>379.48693479999997</c:v>
                      </c:pt>
                      <c:pt idx="6672">
                        <c:v>379.03183940000002</c:v>
                      </c:pt>
                      <c:pt idx="6673">
                        <c:v>379.0292134</c:v>
                      </c:pt>
                      <c:pt idx="6674">
                        <c:v>378.91789419999998</c:v>
                      </c:pt>
                      <c:pt idx="6675">
                        <c:v>378.80212230000001</c:v>
                      </c:pt>
                      <c:pt idx="6676">
                        <c:v>378.68812009999999</c:v>
                      </c:pt>
                      <c:pt idx="6677">
                        <c:v>378.11279999999999</c:v>
                      </c:pt>
                      <c:pt idx="6678">
                        <c:v>381.7749</c:v>
                      </c:pt>
                      <c:pt idx="6679">
                        <c:v>381.58574859999999</c:v>
                      </c:pt>
                      <c:pt idx="6680">
                        <c:v>381.56998399999998</c:v>
                      </c:pt>
                      <c:pt idx="6681">
                        <c:v>381.5536037</c:v>
                      </c:pt>
                      <c:pt idx="6682">
                        <c:v>381.53808379999998</c:v>
                      </c:pt>
                      <c:pt idx="6683">
                        <c:v>381.52269030000002</c:v>
                      </c:pt>
                      <c:pt idx="6684">
                        <c:v>381.49104269999998</c:v>
                      </c:pt>
                      <c:pt idx="6685">
                        <c:v>381.47503339999997</c:v>
                      </c:pt>
                      <c:pt idx="6686">
                        <c:v>381.46025550000002</c:v>
                      </c:pt>
                      <c:pt idx="6687">
                        <c:v>381.44363049999998</c:v>
                      </c:pt>
                      <c:pt idx="6688">
                        <c:v>381.42786589999997</c:v>
                      </c:pt>
                      <c:pt idx="6689">
                        <c:v>381.41210919999997</c:v>
                      </c:pt>
                      <c:pt idx="6690">
                        <c:v>381.39707879999997</c:v>
                      </c:pt>
                      <c:pt idx="6691">
                        <c:v>381.36469699999998</c:v>
                      </c:pt>
                      <c:pt idx="6692">
                        <c:v>381.20681430000002</c:v>
                      </c:pt>
                      <c:pt idx="6693">
                        <c:v>381.01741029999999</c:v>
                      </c:pt>
                      <c:pt idx="6694">
                        <c:v>380.93872160000001</c:v>
                      </c:pt>
                      <c:pt idx="6695">
                        <c:v>380.67074730000002</c:v>
                      </c:pt>
                      <c:pt idx="6696">
                        <c:v>380.65424849999999</c:v>
                      </c:pt>
                      <c:pt idx="6697">
                        <c:v>380.63872859999998</c:v>
                      </c:pt>
                      <c:pt idx="6698">
                        <c:v>380.62284560000001</c:v>
                      </c:pt>
                      <c:pt idx="6699">
                        <c:v>380.60708110000002</c:v>
                      </c:pt>
                      <c:pt idx="6700">
                        <c:v>380.59119020000003</c:v>
                      </c:pt>
                      <c:pt idx="6701">
                        <c:v>380.57555189999999</c:v>
                      </c:pt>
                      <c:pt idx="6702">
                        <c:v>380.55954259999999</c:v>
                      </c:pt>
                      <c:pt idx="6703">
                        <c:v>380.38590319999997</c:v>
                      </c:pt>
                      <c:pt idx="6704">
                        <c:v>380.35412930000001</c:v>
                      </c:pt>
                      <c:pt idx="6705">
                        <c:v>380.29070780000001</c:v>
                      </c:pt>
                      <c:pt idx="6706">
                        <c:v>380.29058149999997</c:v>
                      </c:pt>
                      <c:pt idx="6707">
                        <c:v>380.27506949999997</c:v>
                      </c:pt>
                      <c:pt idx="6708">
                        <c:v>380.25954960000001</c:v>
                      </c:pt>
                      <c:pt idx="6709">
                        <c:v>380.243785</c:v>
                      </c:pt>
                      <c:pt idx="6710">
                        <c:v>380.22802840000003</c:v>
                      </c:pt>
                      <c:pt idx="6711">
                        <c:v>380.21140329999997</c:v>
                      </c:pt>
                      <c:pt idx="6712">
                        <c:v>380.19649920000001</c:v>
                      </c:pt>
                      <c:pt idx="6713">
                        <c:v>380.18061619999997</c:v>
                      </c:pt>
                      <c:pt idx="6714">
                        <c:v>380.11743940000002</c:v>
                      </c:pt>
                      <c:pt idx="6715">
                        <c:v>380.0069689</c:v>
                      </c:pt>
                      <c:pt idx="6716">
                        <c:v>379.94380000000001</c:v>
                      </c:pt>
                      <c:pt idx="6717">
                        <c:v>379.94380000000001</c:v>
                      </c:pt>
                      <c:pt idx="6718">
                        <c:v>379.94380000000001</c:v>
                      </c:pt>
                      <c:pt idx="6719">
                        <c:v>379.94380000000001</c:v>
                      </c:pt>
                      <c:pt idx="6720">
                        <c:v>379.94380000000001</c:v>
                      </c:pt>
                      <c:pt idx="6721">
                        <c:v>379.94380000000001</c:v>
                      </c:pt>
                      <c:pt idx="6722">
                        <c:v>379.94380000000001</c:v>
                      </c:pt>
                      <c:pt idx="6723">
                        <c:v>379.94380000000001</c:v>
                      </c:pt>
                      <c:pt idx="6724">
                        <c:v>379.94380000000001</c:v>
                      </c:pt>
                      <c:pt idx="6725">
                        <c:v>379.94380000000001</c:v>
                      </c:pt>
                      <c:pt idx="6726">
                        <c:v>379.94380000000001</c:v>
                      </c:pt>
                      <c:pt idx="6727">
                        <c:v>379.94380000000001</c:v>
                      </c:pt>
                      <c:pt idx="6728">
                        <c:v>379.94380000000001</c:v>
                      </c:pt>
                      <c:pt idx="6729">
                        <c:v>379.94380000000001</c:v>
                      </c:pt>
                      <c:pt idx="6730">
                        <c:v>379.94380000000001</c:v>
                      </c:pt>
                      <c:pt idx="6731">
                        <c:v>379.94380000000001</c:v>
                      </c:pt>
                      <c:pt idx="6732">
                        <c:v>379.94380000000001</c:v>
                      </c:pt>
                      <c:pt idx="6733">
                        <c:v>379.94380000000001</c:v>
                      </c:pt>
                      <c:pt idx="6734">
                        <c:v>379.94380000000001</c:v>
                      </c:pt>
                      <c:pt idx="6735">
                        <c:v>379.94380000000001</c:v>
                      </c:pt>
                      <c:pt idx="6736">
                        <c:v>379.94380000000001</c:v>
                      </c:pt>
                      <c:pt idx="6737">
                        <c:v>379.94380000000001</c:v>
                      </c:pt>
                      <c:pt idx="6738">
                        <c:v>379.94380000000001</c:v>
                      </c:pt>
                      <c:pt idx="6739">
                        <c:v>379.94380000000001</c:v>
                      </c:pt>
                      <c:pt idx="6740">
                        <c:v>379.9175515</c:v>
                      </c:pt>
                      <c:pt idx="6741">
                        <c:v>379.90478180000002</c:v>
                      </c:pt>
                      <c:pt idx="6742">
                        <c:v>379.7884363</c:v>
                      </c:pt>
                      <c:pt idx="6743">
                        <c:v>379.77566009999998</c:v>
                      </c:pt>
                      <c:pt idx="6744">
                        <c:v>379.76329650000002</c:v>
                      </c:pt>
                      <c:pt idx="6745">
                        <c:v>379.75022380000001</c:v>
                      </c:pt>
                      <c:pt idx="6746">
                        <c:v>379.73755080000001</c:v>
                      </c:pt>
                      <c:pt idx="6747">
                        <c:v>379.72458119999999</c:v>
                      </c:pt>
                      <c:pt idx="6748">
                        <c:v>379.71170840000002</c:v>
                      </c:pt>
                      <c:pt idx="6749">
                        <c:v>379.6988356</c:v>
                      </c:pt>
                      <c:pt idx="6750">
                        <c:v>379.67308989999998</c:v>
                      </c:pt>
                      <c:pt idx="6751">
                        <c:v>379.4797135</c:v>
                      </c:pt>
                      <c:pt idx="6752">
                        <c:v>379.40107760000001</c:v>
                      </c:pt>
                      <c:pt idx="6753">
                        <c:v>379.36347110000003</c:v>
                      </c:pt>
                      <c:pt idx="6754">
                        <c:v>379.33742239999998</c:v>
                      </c:pt>
                      <c:pt idx="6755">
                        <c:v>379.29921000000002</c:v>
                      </c:pt>
                      <c:pt idx="6756">
                        <c:v>379.28644029999998</c:v>
                      </c:pt>
                      <c:pt idx="6757">
                        <c:v>379.27296790000003</c:v>
                      </c:pt>
                      <c:pt idx="6758">
                        <c:v>379.22177950000003</c:v>
                      </c:pt>
                      <c:pt idx="6759">
                        <c:v>379.20910650000002</c:v>
                      </c:pt>
                      <c:pt idx="6760">
                        <c:v>379.15752479999998</c:v>
                      </c:pt>
                      <c:pt idx="6761">
                        <c:v>379.14465200000001</c:v>
                      </c:pt>
                      <c:pt idx="6762">
                        <c:v>379.10573690000001</c:v>
                      </c:pt>
                      <c:pt idx="6763">
                        <c:v>379.0930639</c:v>
                      </c:pt>
                      <c:pt idx="6764">
                        <c:v>379.05474830000003</c:v>
                      </c:pt>
                      <c:pt idx="6765">
                        <c:v>379.02840309999999</c:v>
                      </c:pt>
                      <c:pt idx="6766">
                        <c:v>379.0283</c:v>
                      </c:pt>
                      <c:pt idx="6767">
                        <c:v>379.15602589999997</c:v>
                      </c:pt>
                      <c:pt idx="6768">
                        <c:v>379.41756930000003</c:v>
                      </c:pt>
                      <c:pt idx="6769">
                        <c:v>379.41959980000001</c:v>
                      </c:pt>
                      <c:pt idx="6770">
                        <c:v>379.94380000000001</c:v>
                      </c:pt>
                      <c:pt idx="6771">
                        <c:v>378.11279999999999</c:v>
                      </c:pt>
                      <c:pt idx="6772">
                        <c:v>382.69040000000001</c:v>
                      </c:pt>
                      <c:pt idx="6773">
                        <c:v>380.40869529999998</c:v>
                      </c:pt>
                      <c:pt idx="6774">
                        <c:v>379.9481887</c:v>
                      </c:pt>
                      <c:pt idx="6775">
                        <c:v>379.49821059999999</c:v>
                      </c:pt>
                      <c:pt idx="6776">
                        <c:v>379.49111529999999</c:v>
                      </c:pt>
                      <c:pt idx="6777">
                        <c:v>378.57696859999999</c:v>
                      </c:pt>
                      <c:pt idx="6778">
                        <c:v>378.11279999999999</c:v>
                      </c:pt>
                      <c:pt idx="6779">
                        <c:v>378.13040790000002</c:v>
                      </c:pt>
                      <c:pt idx="6780">
                        <c:v>378.20167500000002</c:v>
                      </c:pt>
                      <c:pt idx="6781">
                        <c:v>378.37915850000002</c:v>
                      </c:pt>
                      <c:pt idx="6782">
                        <c:v>378.55692629999999</c:v>
                      </c:pt>
                      <c:pt idx="6783">
                        <c:v>378.57480980000003</c:v>
                      </c:pt>
                      <c:pt idx="6784">
                        <c:v>378.59228430000002</c:v>
                      </c:pt>
                      <c:pt idx="6785">
                        <c:v>378.61072780000001</c:v>
                      </c:pt>
                      <c:pt idx="6786">
                        <c:v>378.62806010000003</c:v>
                      </c:pt>
                      <c:pt idx="6787">
                        <c:v>378.64580139999998</c:v>
                      </c:pt>
                      <c:pt idx="6788">
                        <c:v>378.66369370000001</c:v>
                      </c:pt>
                      <c:pt idx="6789">
                        <c:v>378.68144380000001</c:v>
                      </c:pt>
                      <c:pt idx="6790">
                        <c:v>378.84145269999999</c:v>
                      </c:pt>
                      <c:pt idx="6791">
                        <c:v>378.85920279999999</c:v>
                      </c:pt>
                      <c:pt idx="6792">
                        <c:v>378.87695289999999</c:v>
                      </c:pt>
                      <c:pt idx="6793">
                        <c:v>378.96514350000001</c:v>
                      </c:pt>
                      <c:pt idx="6794">
                        <c:v>379.01922050000002</c:v>
                      </c:pt>
                      <c:pt idx="6795">
                        <c:v>379.03668620000002</c:v>
                      </c:pt>
                      <c:pt idx="6796">
                        <c:v>379.2324797</c:v>
                      </c:pt>
                      <c:pt idx="6797">
                        <c:v>379.30360460000003</c:v>
                      </c:pt>
                      <c:pt idx="6798">
                        <c:v>379.356855</c:v>
                      </c:pt>
                      <c:pt idx="6799">
                        <c:v>379.44573000000003</c:v>
                      </c:pt>
                      <c:pt idx="6800">
                        <c:v>379.46362240000002</c:v>
                      </c:pt>
                      <c:pt idx="6801">
                        <c:v>379.6237734</c:v>
                      </c:pt>
                      <c:pt idx="6802">
                        <c:v>379.71237289999999</c:v>
                      </c:pt>
                      <c:pt idx="6803">
                        <c:v>379.94380000000001</c:v>
                      </c:pt>
                      <c:pt idx="6804">
                        <c:v>379.7316672</c:v>
                      </c:pt>
                      <c:pt idx="6805">
                        <c:v>379.71457750000002</c:v>
                      </c:pt>
                      <c:pt idx="6806">
                        <c:v>379.69837089999999</c:v>
                      </c:pt>
                      <c:pt idx="6807">
                        <c:v>379.68306380000001</c:v>
                      </c:pt>
                      <c:pt idx="6808">
                        <c:v>379.66610489999999</c:v>
                      </c:pt>
                      <c:pt idx="6809">
                        <c:v>379.64989839999998</c:v>
                      </c:pt>
                      <c:pt idx="6810">
                        <c:v>379.61635680000001</c:v>
                      </c:pt>
                      <c:pt idx="6811">
                        <c:v>379.60078800000002</c:v>
                      </c:pt>
                      <c:pt idx="6812">
                        <c:v>379.53497229999999</c:v>
                      </c:pt>
                      <c:pt idx="6813">
                        <c:v>379.51889649999998</c:v>
                      </c:pt>
                      <c:pt idx="6814">
                        <c:v>379.43687419999998</c:v>
                      </c:pt>
                      <c:pt idx="6815">
                        <c:v>379.40460009999998</c:v>
                      </c:pt>
                      <c:pt idx="6816">
                        <c:v>379.38865520000002</c:v>
                      </c:pt>
                      <c:pt idx="6817">
                        <c:v>379.37143470000001</c:v>
                      </c:pt>
                      <c:pt idx="6818">
                        <c:v>379.33890700000001</c:v>
                      </c:pt>
                      <c:pt idx="6819">
                        <c:v>379.32283940000002</c:v>
                      </c:pt>
                      <c:pt idx="6820">
                        <c:v>379.28979670000001</c:v>
                      </c:pt>
                      <c:pt idx="6821">
                        <c:v>379.25714640000001</c:v>
                      </c:pt>
                      <c:pt idx="6822">
                        <c:v>379.15904829999999</c:v>
                      </c:pt>
                      <c:pt idx="6823">
                        <c:v>379.11006880000002</c:v>
                      </c:pt>
                      <c:pt idx="6824">
                        <c:v>379.09360880000003</c:v>
                      </c:pt>
                      <c:pt idx="6825">
                        <c:v>379.07727949999997</c:v>
                      </c:pt>
                      <c:pt idx="6826">
                        <c:v>379.06044329999997</c:v>
                      </c:pt>
                      <c:pt idx="6827">
                        <c:v>379.04424490000002</c:v>
                      </c:pt>
                      <c:pt idx="6828">
                        <c:v>379.0283</c:v>
                      </c:pt>
                      <c:pt idx="6829">
                        <c:v>379.7147794</c:v>
                      </c:pt>
                      <c:pt idx="6830">
                        <c:v>380.38556390000002</c:v>
                      </c:pt>
                      <c:pt idx="6831">
                        <c:v>381.7749</c:v>
                      </c:pt>
                      <c:pt idx="6832">
                        <c:v>378.11279999999999</c:v>
                      </c:pt>
                      <c:pt idx="6833">
                        <c:v>378.20421270000003</c:v>
                      </c:pt>
                      <c:pt idx="6834">
                        <c:v>378.39774940000001</c:v>
                      </c:pt>
                      <c:pt idx="6835">
                        <c:v>378.47840489999999</c:v>
                      </c:pt>
                      <c:pt idx="6836">
                        <c:v>378.75332959999997</c:v>
                      </c:pt>
                      <c:pt idx="6837">
                        <c:v>379.0283</c:v>
                      </c:pt>
                      <c:pt idx="6838">
                        <c:v>379.18608549999999</c:v>
                      </c:pt>
                      <c:pt idx="6839">
                        <c:v>379.21759839999999</c:v>
                      </c:pt>
                      <c:pt idx="6840">
                        <c:v>379.2491114</c:v>
                      </c:pt>
                      <c:pt idx="6841">
                        <c:v>379.28381189999999</c:v>
                      </c:pt>
                      <c:pt idx="6842">
                        <c:v>379.3753997</c:v>
                      </c:pt>
                      <c:pt idx="6843">
                        <c:v>379.47066439999998</c:v>
                      </c:pt>
                      <c:pt idx="6844">
                        <c:v>379.56420900000001</c:v>
                      </c:pt>
                      <c:pt idx="6845">
                        <c:v>379.56469820000001</c:v>
                      </c:pt>
                      <c:pt idx="6846">
                        <c:v>379.62846569999999</c:v>
                      </c:pt>
                      <c:pt idx="6847">
                        <c:v>379.65947360000001</c:v>
                      </c:pt>
                      <c:pt idx="6848">
                        <c:v>379.81727489999997</c:v>
                      </c:pt>
                      <c:pt idx="6849">
                        <c:v>379.94380000000001</c:v>
                      </c:pt>
                      <c:pt idx="6850">
                        <c:v>379.94380000000001</c:v>
                      </c:pt>
                      <c:pt idx="6851">
                        <c:v>379.94380000000001</c:v>
                      </c:pt>
                      <c:pt idx="6852">
                        <c:v>379.94380000000001</c:v>
                      </c:pt>
                      <c:pt idx="6853">
                        <c:v>379.94380000000001</c:v>
                      </c:pt>
                      <c:pt idx="6854">
                        <c:v>379.94380000000001</c:v>
                      </c:pt>
                      <c:pt idx="6855">
                        <c:v>379.94380000000001</c:v>
                      </c:pt>
                      <c:pt idx="6856">
                        <c:v>379.94380000000001</c:v>
                      </c:pt>
                      <c:pt idx="6857">
                        <c:v>379.94380000000001</c:v>
                      </c:pt>
                      <c:pt idx="6858">
                        <c:v>379.94380000000001</c:v>
                      </c:pt>
                      <c:pt idx="6859">
                        <c:v>379.94380000000001</c:v>
                      </c:pt>
                      <c:pt idx="6860">
                        <c:v>379.94380000000001</c:v>
                      </c:pt>
                      <c:pt idx="6861">
                        <c:v>379.94380000000001</c:v>
                      </c:pt>
                      <c:pt idx="6862">
                        <c:v>379.94380000000001</c:v>
                      </c:pt>
                      <c:pt idx="6863">
                        <c:v>379.94380000000001</c:v>
                      </c:pt>
                      <c:pt idx="6864">
                        <c:v>379.94380000000001</c:v>
                      </c:pt>
                      <c:pt idx="6865">
                        <c:v>379.94380000000001</c:v>
                      </c:pt>
                      <c:pt idx="6866">
                        <c:v>379.94380000000001</c:v>
                      </c:pt>
                      <c:pt idx="6867">
                        <c:v>379.94380000000001</c:v>
                      </c:pt>
                      <c:pt idx="6868">
                        <c:v>379.94380000000001</c:v>
                      </c:pt>
                      <c:pt idx="6869">
                        <c:v>379.94380000000001</c:v>
                      </c:pt>
                      <c:pt idx="6870">
                        <c:v>379.94380000000001</c:v>
                      </c:pt>
                      <c:pt idx="6871">
                        <c:v>379.94380000000001</c:v>
                      </c:pt>
                      <c:pt idx="6872">
                        <c:v>379.94380000000001</c:v>
                      </c:pt>
                      <c:pt idx="6873">
                        <c:v>379.94380000000001</c:v>
                      </c:pt>
                      <c:pt idx="6874">
                        <c:v>379.94380000000001</c:v>
                      </c:pt>
                      <c:pt idx="6875">
                        <c:v>379.94380000000001</c:v>
                      </c:pt>
                      <c:pt idx="6876">
                        <c:v>379.94380000000001</c:v>
                      </c:pt>
                      <c:pt idx="6877">
                        <c:v>379.94380000000001</c:v>
                      </c:pt>
                      <c:pt idx="6878">
                        <c:v>379.94380000000001</c:v>
                      </c:pt>
                      <c:pt idx="6879">
                        <c:v>379.94380000000001</c:v>
                      </c:pt>
                      <c:pt idx="6880">
                        <c:v>379.94380000000001</c:v>
                      </c:pt>
                      <c:pt idx="6881">
                        <c:v>379.94380000000001</c:v>
                      </c:pt>
                      <c:pt idx="6882">
                        <c:v>379.94380000000001</c:v>
                      </c:pt>
                      <c:pt idx="6883">
                        <c:v>379.94380000000001</c:v>
                      </c:pt>
                      <c:pt idx="6884">
                        <c:v>379.94380000000001</c:v>
                      </c:pt>
                      <c:pt idx="6885">
                        <c:v>379.94380000000001</c:v>
                      </c:pt>
                      <c:pt idx="6886">
                        <c:v>379.94380000000001</c:v>
                      </c:pt>
                      <c:pt idx="6887">
                        <c:v>379.94380000000001</c:v>
                      </c:pt>
                      <c:pt idx="6888">
                        <c:v>379.94380000000001</c:v>
                      </c:pt>
                      <c:pt idx="6889">
                        <c:v>379.94380000000001</c:v>
                      </c:pt>
                      <c:pt idx="6890">
                        <c:v>379.94380000000001</c:v>
                      </c:pt>
                      <c:pt idx="6891">
                        <c:v>379.94380000000001</c:v>
                      </c:pt>
                      <c:pt idx="6892">
                        <c:v>379.94380000000001</c:v>
                      </c:pt>
                      <c:pt idx="6893">
                        <c:v>379.94380000000001</c:v>
                      </c:pt>
                      <c:pt idx="6894">
                        <c:v>379.94380000000001</c:v>
                      </c:pt>
                      <c:pt idx="6895">
                        <c:v>379.94380000000001</c:v>
                      </c:pt>
                      <c:pt idx="6896">
                        <c:v>379.94380000000001</c:v>
                      </c:pt>
                      <c:pt idx="6897">
                        <c:v>379.94380000000001</c:v>
                      </c:pt>
                      <c:pt idx="6898">
                        <c:v>379.94380000000001</c:v>
                      </c:pt>
                      <c:pt idx="6899">
                        <c:v>379.94380000000001</c:v>
                      </c:pt>
                      <c:pt idx="6900">
                        <c:v>379.94380000000001</c:v>
                      </c:pt>
                      <c:pt idx="6901">
                        <c:v>379.94380000000001</c:v>
                      </c:pt>
                      <c:pt idx="6902">
                        <c:v>379.94380000000001</c:v>
                      </c:pt>
                      <c:pt idx="6903">
                        <c:v>379.94380000000001</c:v>
                      </c:pt>
                      <c:pt idx="6904">
                        <c:v>379.94380000000001</c:v>
                      </c:pt>
                      <c:pt idx="6905">
                        <c:v>379.94380000000001</c:v>
                      </c:pt>
                      <c:pt idx="6906">
                        <c:v>379.94380000000001</c:v>
                      </c:pt>
                      <c:pt idx="6907">
                        <c:v>379.94380000000001</c:v>
                      </c:pt>
                      <c:pt idx="6908">
                        <c:v>379.94380000000001</c:v>
                      </c:pt>
                      <c:pt idx="6909">
                        <c:v>379.94380000000001</c:v>
                      </c:pt>
                      <c:pt idx="6910">
                        <c:v>379.94380000000001</c:v>
                      </c:pt>
                      <c:pt idx="6911">
                        <c:v>379.94380000000001</c:v>
                      </c:pt>
                      <c:pt idx="6912">
                        <c:v>379.94380000000001</c:v>
                      </c:pt>
                      <c:pt idx="6913">
                        <c:v>379.94380000000001</c:v>
                      </c:pt>
                      <c:pt idx="6914">
                        <c:v>379.94380000000001</c:v>
                      </c:pt>
                      <c:pt idx="6915">
                        <c:v>379.94380000000001</c:v>
                      </c:pt>
                      <c:pt idx="6916">
                        <c:v>379.94380000000001</c:v>
                      </c:pt>
                      <c:pt idx="6917">
                        <c:v>379.94380000000001</c:v>
                      </c:pt>
                      <c:pt idx="6918">
                        <c:v>379.94380000000001</c:v>
                      </c:pt>
                      <c:pt idx="6919">
                        <c:v>379.94380000000001</c:v>
                      </c:pt>
                      <c:pt idx="6920">
                        <c:v>379.94380000000001</c:v>
                      </c:pt>
                      <c:pt idx="6921">
                        <c:v>379.94380000000001</c:v>
                      </c:pt>
                      <c:pt idx="6922">
                        <c:v>379.94380000000001</c:v>
                      </c:pt>
                      <c:pt idx="6923">
                        <c:v>379.94380000000001</c:v>
                      </c:pt>
                      <c:pt idx="6924">
                        <c:v>379.94380000000001</c:v>
                      </c:pt>
                      <c:pt idx="6925">
                        <c:v>379.94380000000001</c:v>
                      </c:pt>
                      <c:pt idx="6926">
                        <c:v>379.94380000000001</c:v>
                      </c:pt>
                      <c:pt idx="6927">
                        <c:v>379.94380000000001</c:v>
                      </c:pt>
                      <c:pt idx="6928">
                        <c:v>379.94380000000001</c:v>
                      </c:pt>
                      <c:pt idx="6929">
                        <c:v>379.94380000000001</c:v>
                      </c:pt>
                      <c:pt idx="6930">
                        <c:v>379.94380000000001</c:v>
                      </c:pt>
                      <c:pt idx="6931">
                        <c:v>379.94380000000001</c:v>
                      </c:pt>
                      <c:pt idx="6932">
                        <c:v>379.94380000000001</c:v>
                      </c:pt>
                      <c:pt idx="6933">
                        <c:v>379.94380000000001</c:v>
                      </c:pt>
                      <c:pt idx="6934">
                        <c:v>379.94380000000001</c:v>
                      </c:pt>
                      <c:pt idx="6935">
                        <c:v>379.94380000000001</c:v>
                      </c:pt>
                      <c:pt idx="6936">
                        <c:v>379.94380000000001</c:v>
                      </c:pt>
                      <c:pt idx="6937">
                        <c:v>379.94380000000001</c:v>
                      </c:pt>
                      <c:pt idx="6938">
                        <c:v>379.94380000000001</c:v>
                      </c:pt>
                      <c:pt idx="6939">
                        <c:v>379.94380000000001</c:v>
                      </c:pt>
                      <c:pt idx="6940">
                        <c:v>379.94380000000001</c:v>
                      </c:pt>
                      <c:pt idx="6941">
                        <c:v>379.94380000000001</c:v>
                      </c:pt>
                      <c:pt idx="6942">
                        <c:v>379.94380000000001</c:v>
                      </c:pt>
                      <c:pt idx="6943">
                        <c:v>379.94380000000001</c:v>
                      </c:pt>
                      <c:pt idx="6944">
                        <c:v>379.94380000000001</c:v>
                      </c:pt>
                      <c:pt idx="6945">
                        <c:v>379.94380000000001</c:v>
                      </c:pt>
                      <c:pt idx="6946">
                        <c:v>379.94380000000001</c:v>
                      </c:pt>
                      <c:pt idx="6947">
                        <c:v>379.94380000000001</c:v>
                      </c:pt>
                      <c:pt idx="6948">
                        <c:v>379.94380000000001</c:v>
                      </c:pt>
                      <c:pt idx="6949">
                        <c:v>379.94380000000001</c:v>
                      </c:pt>
                      <c:pt idx="6950">
                        <c:v>379.94380000000001</c:v>
                      </c:pt>
                      <c:pt idx="6951">
                        <c:v>379.94380000000001</c:v>
                      </c:pt>
                      <c:pt idx="6952">
                        <c:v>379.94380000000001</c:v>
                      </c:pt>
                      <c:pt idx="6953">
                        <c:v>379.94380000000001</c:v>
                      </c:pt>
                      <c:pt idx="6954">
                        <c:v>379.94380000000001</c:v>
                      </c:pt>
                      <c:pt idx="6955">
                        <c:v>379.94380000000001</c:v>
                      </c:pt>
                      <c:pt idx="6956">
                        <c:v>379.94380000000001</c:v>
                      </c:pt>
                      <c:pt idx="6957">
                        <c:v>379.94380000000001</c:v>
                      </c:pt>
                      <c:pt idx="6958">
                        <c:v>379.94380000000001</c:v>
                      </c:pt>
                      <c:pt idx="6959">
                        <c:v>379.94380000000001</c:v>
                      </c:pt>
                      <c:pt idx="6960">
                        <c:v>379.94380000000001</c:v>
                      </c:pt>
                      <c:pt idx="6961">
                        <c:v>379.94380000000001</c:v>
                      </c:pt>
                      <c:pt idx="6962">
                        <c:v>379.94380000000001</c:v>
                      </c:pt>
                      <c:pt idx="6963">
                        <c:v>379.94380000000001</c:v>
                      </c:pt>
                      <c:pt idx="6964">
                        <c:v>379.94380000000001</c:v>
                      </c:pt>
                      <c:pt idx="6965">
                        <c:v>379.94380000000001</c:v>
                      </c:pt>
                      <c:pt idx="6966">
                        <c:v>379.94380000000001</c:v>
                      </c:pt>
                      <c:pt idx="6967">
                        <c:v>379.94380000000001</c:v>
                      </c:pt>
                      <c:pt idx="6968">
                        <c:v>379.94380000000001</c:v>
                      </c:pt>
                      <c:pt idx="6969">
                        <c:v>379.94380000000001</c:v>
                      </c:pt>
                      <c:pt idx="6970">
                        <c:v>379.94380000000001</c:v>
                      </c:pt>
                      <c:pt idx="6971">
                        <c:v>379.94380000000001</c:v>
                      </c:pt>
                      <c:pt idx="6972">
                        <c:v>379.94380000000001</c:v>
                      </c:pt>
                      <c:pt idx="6973">
                        <c:v>379.94380000000001</c:v>
                      </c:pt>
                      <c:pt idx="6974">
                        <c:v>379.94380000000001</c:v>
                      </c:pt>
                      <c:pt idx="6975">
                        <c:v>379.94380000000001</c:v>
                      </c:pt>
                      <c:pt idx="6976">
                        <c:v>379.94380000000001</c:v>
                      </c:pt>
                      <c:pt idx="6977">
                        <c:v>379.94380000000001</c:v>
                      </c:pt>
                      <c:pt idx="6978">
                        <c:v>379.94380000000001</c:v>
                      </c:pt>
                      <c:pt idx="6979">
                        <c:v>379.94380000000001</c:v>
                      </c:pt>
                      <c:pt idx="6980">
                        <c:v>379.94380000000001</c:v>
                      </c:pt>
                      <c:pt idx="6981">
                        <c:v>379.94380000000001</c:v>
                      </c:pt>
                      <c:pt idx="6982">
                        <c:v>379.94380000000001</c:v>
                      </c:pt>
                      <c:pt idx="6983">
                        <c:v>379.94380000000001</c:v>
                      </c:pt>
                      <c:pt idx="6984">
                        <c:v>379.94380000000001</c:v>
                      </c:pt>
                      <c:pt idx="6985">
                        <c:v>379.94380000000001</c:v>
                      </c:pt>
                      <c:pt idx="6986">
                        <c:v>379.94380000000001</c:v>
                      </c:pt>
                      <c:pt idx="6987">
                        <c:v>379.94380000000001</c:v>
                      </c:pt>
                      <c:pt idx="6988">
                        <c:v>379.94380000000001</c:v>
                      </c:pt>
                      <c:pt idx="6989">
                        <c:v>379.94380000000001</c:v>
                      </c:pt>
                      <c:pt idx="6990">
                        <c:v>379.94380000000001</c:v>
                      </c:pt>
                      <c:pt idx="6991">
                        <c:v>379.94380000000001</c:v>
                      </c:pt>
                      <c:pt idx="6992">
                        <c:v>379.94380000000001</c:v>
                      </c:pt>
                      <c:pt idx="6993">
                        <c:v>379.94380000000001</c:v>
                      </c:pt>
                      <c:pt idx="6994">
                        <c:v>379.94380000000001</c:v>
                      </c:pt>
                      <c:pt idx="6995">
                        <c:v>379.94380000000001</c:v>
                      </c:pt>
                      <c:pt idx="6996">
                        <c:v>379.94380000000001</c:v>
                      </c:pt>
                      <c:pt idx="6997">
                        <c:v>379.94380000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2CA-43D1-9B5E-DB9227CD45FB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H$3</c15:sqref>
                        </c15:formulaRef>
                      </c:ext>
                    </c:extLst>
                    <c:strCache>
                      <c:ptCount val="1"/>
                      <c:pt idx="0">
                        <c:v>SURJEK_ESTIMATED_EFFICIENCY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Q6&amp;Q7'!$H$4:$H$7001</c15:sqref>
                        </c15:formulaRef>
                      </c:ext>
                    </c:extLst>
                    <c:numCache>
                      <c:formatCode>#,##0.00</c:formatCode>
                      <c:ptCount val="699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0</c:v>
                      </c:pt>
                      <c:pt idx="90">
                        <c:v>0</c:v>
                      </c:pt>
                      <c:pt idx="91">
                        <c:v>0</c:v>
                      </c:pt>
                      <c:pt idx="92">
                        <c:v>0</c:v>
                      </c:pt>
                      <c:pt idx="93">
                        <c:v>0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0</c:v>
                      </c:pt>
                      <c:pt idx="105">
                        <c:v>0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0</c:v>
                      </c:pt>
                      <c:pt idx="147">
                        <c:v>0</c:v>
                      </c:pt>
                      <c:pt idx="148">
                        <c:v>0</c:v>
                      </c:pt>
                      <c:pt idx="149">
                        <c:v>0</c:v>
                      </c:pt>
                      <c:pt idx="150">
                        <c:v>0</c:v>
                      </c:pt>
                      <c:pt idx="151">
                        <c:v>0</c:v>
                      </c:pt>
                      <c:pt idx="152">
                        <c:v>0</c:v>
                      </c:pt>
                      <c:pt idx="153">
                        <c:v>0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0</c:v>
                      </c:pt>
                      <c:pt idx="193">
                        <c:v>0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0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0</c:v>
                      </c:pt>
                      <c:pt idx="203">
                        <c:v>0</c:v>
                      </c:pt>
                      <c:pt idx="204">
                        <c:v>0</c:v>
                      </c:pt>
                      <c:pt idx="205">
                        <c:v>0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0</c:v>
                      </c:pt>
                      <c:pt idx="239">
                        <c:v>0</c:v>
                      </c:pt>
                      <c:pt idx="240">
                        <c:v>0</c:v>
                      </c:pt>
                      <c:pt idx="241">
                        <c:v>0</c:v>
                      </c:pt>
                      <c:pt idx="242">
                        <c:v>0</c:v>
                      </c:pt>
                      <c:pt idx="243">
                        <c:v>0</c:v>
                      </c:pt>
                      <c:pt idx="244">
                        <c:v>0</c:v>
                      </c:pt>
                      <c:pt idx="245">
                        <c:v>0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0</c:v>
                      </c:pt>
                      <c:pt idx="275">
                        <c:v>0</c:v>
                      </c:pt>
                      <c:pt idx="276">
                        <c:v>0</c:v>
                      </c:pt>
                      <c:pt idx="277">
                        <c:v>0</c:v>
                      </c:pt>
                      <c:pt idx="278">
                        <c:v>0</c:v>
                      </c:pt>
                      <c:pt idx="279">
                        <c:v>0</c:v>
                      </c:pt>
                      <c:pt idx="280">
                        <c:v>0</c:v>
                      </c:pt>
                      <c:pt idx="281">
                        <c:v>0</c:v>
                      </c:pt>
                      <c:pt idx="282">
                        <c:v>0</c:v>
                      </c:pt>
                      <c:pt idx="283">
                        <c:v>0</c:v>
                      </c:pt>
                      <c:pt idx="284">
                        <c:v>0</c:v>
                      </c:pt>
                      <c:pt idx="285">
                        <c:v>0</c:v>
                      </c:pt>
                      <c:pt idx="286">
                        <c:v>0</c:v>
                      </c:pt>
                      <c:pt idx="287">
                        <c:v>0</c:v>
                      </c:pt>
                      <c:pt idx="288">
                        <c:v>0</c:v>
                      </c:pt>
                      <c:pt idx="289">
                        <c:v>0</c:v>
                      </c:pt>
                      <c:pt idx="290">
                        <c:v>0</c:v>
                      </c:pt>
                      <c:pt idx="291">
                        <c:v>0</c:v>
                      </c:pt>
                      <c:pt idx="292">
                        <c:v>0</c:v>
                      </c:pt>
                      <c:pt idx="293">
                        <c:v>0</c:v>
                      </c:pt>
                      <c:pt idx="294">
                        <c:v>0</c:v>
                      </c:pt>
                      <c:pt idx="295">
                        <c:v>0</c:v>
                      </c:pt>
                      <c:pt idx="296">
                        <c:v>0</c:v>
                      </c:pt>
                      <c:pt idx="297">
                        <c:v>0</c:v>
                      </c:pt>
                      <c:pt idx="298">
                        <c:v>0</c:v>
                      </c:pt>
                      <c:pt idx="299">
                        <c:v>0</c:v>
                      </c:pt>
                      <c:pt idx="300">
                        <c:v>0</c:v>
                      </c:pt>
                      <c:pt idx="301">
                        <c:v>0</c:v>
                      </c:pt>
                      <c:pt idx="302">
                        <c:v>0</c:v>
                      </c:pt>
                      <c:pt idx="303">
                        <c:v>0</c:v>
                      </c:pt>
                      <c:pt idx="304">
                        <c:v>0</c:v>
                      </c:pt>
                      <c:pt idx="305">
                        <c:v>0</c:v>
                      </c:pt>
                      <c:pt idx="306">
                        <c:v>0</c:v>
                      </c:pt>
                      <c:pt idx="307">
                        <c:v>0</c:v>
                      </c:pt>
                      <c:pt idx="308">
                        <c:v>0</c:v>
                      </c:pt>
                      <c:pt idx="309">
                        <c:v>0</c:v>
                      </c:pt>
                      <c:pt idx="310">
                        <c:v>0</c:v>
                      </c:pt>
                      <c:pt idx="311">
                        <c:v>0</c:v>
                      </c:pt>
                      <c:pt idx="312">
                        <c:v>0</c:v>
                      </c:pt>
                      <c:pt idx="313">
                        <c:v>0</c:v>
                      </c:pt>
                      <c:pt idx="314">
                        <c:v>0</c:v>
                      </c:pt>
                      <c:pt idx="315">
                        <c:v>0</c:v>
                      </c:pt>
                      <c:pt idx="316">
                        <c:v>0</c:v>
                      </c:pt>
                      <c:pt idx="317">
                        <c:v>0</c:v>
                      </c:pt>
                      <c:pt idx="318">
                        <c:v>0</c:v>
                      </c:pt>
                      <c:pt idx="319">
                        <c:v>0</c:v>
                      </c:pt>
                      <c:pt idx="320">
                        <c:v>0</c:v>
                      </c:pt>
                      <c:pt idx="321">
                        <c:v>0</c:v>
                      </c:pt>
                      <c:pt idx="322">
                        <c:v>0</c:v>
                      </c:pt>
                      <c:pt idx="323">
                        <c:v>0</c:v>
                      </c:pt>
                      <c:pt idx="324">
                        <c:v>0</c:v>
                      </c:pt>
                      <c:pt idx="325">
                        <c:v>0</c:v>
                      </c:pt>
                      <c:pt idx="326">
                        <c:v>0</c:v>
                      </c:pt>
                      <c:pt idx="327">
                        <c:v>0</c:v>
                      </c:pt>
                      <c:pt idx="328">
                        <c:v>0</c:v>
                      </c:pt>
                      <c:pt idx="329">
                        <c:v>0</c:v>
                      </c:pt>
                      <c:pt idx="330">
                        <c:v>0</c:v>
                      </c:pt>
                      <c:pt idx="331">
                        <c:v>0</c:v>
                      </c:pt>
                      <c:pt idx="332">
                        <c:v>0</c:v>
                      </c:pt>
                      <c:pt idx="333">
                        <c:v>0</c:v>
                      </c:pt>
                      <c:pt idx="334">
                        <c:v>0</c:v>
                      </c:pt>
                      <c:pt idx="335">
                        <c:v>0</c:v>
                      </c:pt>
                      <c:pt idx="336">
                        <c:v>0</c:v>
                      </c:pt>
                      <c:pt idx="337">
                        <c:v>0</c:v>
                      </c:pt>
                      <c:pt idx="338">
                        <c:v>0</c:v>
                      </c:pt>
                      <c:pt idx="339">
                        <c:v>0</c:v>
                      </c:pt>
                      <c:pt idx="340">
                        <c:v>0</c:v>
                      </c:pt>
                      <c:pt idx="341">
                        <c:v>0</c:v>
                      </c:pt>
                      <c:pt idx="342">
                        <c:v>0</c:v>
                      </c:pt>
                      <c:pt idx="343">
                        <c:v>0</c:v>
                      </c:pt>
                      <c:pt idx="344">
                        <c:v>0</c:v>
                      </c:pt>
                      <c:pt idx="345">
                        <c:v>0</c:v>
                      </c:pt>
                      <c:pt idx="346">
                        <c:v>0</c:v>
                      </c:pt>
                      <c:pt idx="347">
                        <c:v>0</c:v>
                      </c:pt>
                      <c:pt idx="348">
                        <c:v>0</c:v>
                      </c:pt>
                      <c:pt idx="349">
                        <c:v>0</c:v>
                      </c:pt>
                      <c:pt idx="350">
                        <c:v>0</c:v>
                      </c:pt>
                      <c:pt idx="351">
                        <c:v>0</c:v>
                      </c:pt>
                      <c:pt idx="352">
                        <c:v>0</c:v>
                      </c:pt>
                      <c:pt idx="353">
                        <c:v>0</c:v>
                      </c:pt>
                      <c:pt idx="354">
                        <c:v>0</c:v>
                      </c:pt>
                      <c:pt idx="355">
                        <c:v>0</c:v>
                      </c:pt>
                      <c:pt idx="356">
                        <c:v>0</c:v>
                      </c:pt>
                      <c:pt idx="357">
                        <c:v>0</c:v>
                      </c:pt>
                      <c:pt idx="358">
                        <c:v>0</c:v>
                      </c:pt>
                      <c:pt idx="359">
                        <c:v>0</c:v>
                      </c:pt>
                      <c:pt idx="360">
                        <c:v>0</c:v>
                      </c:pt>
                      <c:pt idx="361">
                        <c:v>0</c:v>
                      </c:pt>
                      <c:pt idx="362">
                        <c:v>0</c:v>
                      </c:pt>
                      <c:pt idx="363">
                        <c:v>0</c:v>
                      </c:pt>
                      <c:pt idx="364">
                        <c:v>0</c:v>
                      </c:pt>
                      <c:pt idx="365">
                        <c:v>0</c:v>
                      </c:pt>
                      <c:pt idx="366">
                        <c:v>0</c:v>
                      </c:pt>
                      <c:pt idx="367">
                        <c:v>0</c:v>
                      </c:pt>
                      <c:pt idx="368">
                        <c:v>0</c:v>
                      </c:pt>
                      <c:pt idx="369">
                        <c:v>0</c:v>
                      </c:pt>
                      <c:pt idx="370">
                        <c:v>0</c:v>
                      </c:pt>
                      <c:pt idx="371">
                        <c:v>0</c:v>
                      </c:pt>
                      <c:pt idx="372">
                        <c:v>0</c:v>
                      </c:pt>
                      <c:pt idx="373">
                        <c:v>0</c:v>
                      </c:pt>
                      <c:pt idx="374">
                        <c:v>0</c:v>
                      </c:pt>
                      <c:pt idx="375">
                        <c:v>0</c:v>
                      </c:pt>
                      <c:pt idx="376">
                        <c:v>0</c:v>
                      </c:pt>
                      <c:pt idx="377">
                        <c:v>0</c:v>
                      </c:pt>
                      <c:pt idx="378">
                        <c:v>0</c:v>
                      </c:pt>
                      <c:pt idx="379">
                        <c:v>0</c:v>
                      </c:pt>
                      <c:pt idx="380">
                        <c:v>0</c:v>
                      </c:pt>
                      <c:pt idx="381">
                        <c:v>0</c:v>
                      </c:pt>
                      <c:pt idx="382">
                        <c:v>0</c:v>
                      </c:pt>
                      <c:pt idx="383">
                        <c:v>0</c:v>
                      </c:pt>
                      <c:pt idx="384">
                        <c:v>0</c:v>
                      </c:pt>
                      <c:pt idx="385">
                        <c:v>0</c:v>
                      </c:pt>
                      <c:pt idx="386">
                        <c:v>0</c:v>
                      </c:pt>
                      <c:pt idx="387">
                        <c:v>0</c:v>
                      </c:pt>
                      <c:pt idx="388">
                        <c:v>0</c:v>
                      </c:pt>
                      <c:pt idx="389">
                        <c:v>0</c:v>
                      </c:pt>
                      <c:pt idx="390">
                        <c:v>0</c:v>
                      </c:pt>
                      <c:pt idx="391">
                        <c:v>0</c:v>
                      </c:pt>
                      <c:pt idx="392">
                        <c:v>0</c:v>
                      </c:pt>
                      <c:pt idx="393">
                        <c:v>0</c:v>
                      </c:pt>
                      <c:pt idx="394">
                        <c:v>0</c:v>
                      </c:pt>
                      <c:pt idx="395">
                        <c:v>0</c:v>
                      </c:pt>
                      <c:pt idx="396">
                        <c:v>0</c:v>
                      </c:pt>
                      <c:pt idx="397">
                        <c:v>0</c:v>
                      </c:pt>
                      <c:pt idx="398">
                        <c:v>0</c:v>
                      </c:pt>
                      <c:pt idx="399">
                        <c:v>0</c:v>
                      </c:pt>
                      <c:pt idx="400">
                        <c:v>0</c:v>
                      </c:pt>
                      <c:pt idx="401">
                        <c:v>0</c:v>
                      </c:pt>
                      <c:pt idx="402">
                        <c:v>0</c:v>
                      </c:pt>
                      <c:pt idx="403">
                        <c:v>0</c:v>
                      </c:pt>
                      <c:pt idx="404">
                        <c:v>0</c:v>
                      </c:pt>
                      <c:pt idx="405">
                        <c:v>0</c:v>
                      </c:pt>
                      <c:pt idx="406">
                        <c:v>0</c:v>
                      </c:pt>
                      <c:pt idx="407">
                        <c:v>0</c:v>
                      </c:pt>
                      <c:pt idx="408">
                        <c:v>0</c:v>
                      </c:pt>
                      <c:pt idx="409">
                        <c:v>0</c:v>
                      </c:pt>
                      <c:pt idx="410">
                        <c:v>0</c:v>
                      </c:pt>
                      <c:pt idx="411">
                        <c:v>0</c:v>
                      </c:pt>
                      <c:pt idx="412">
                        <c:v>0</c:v>
                      </c:pt>
                      <c:pt idx="413">
                        <c:v>0</c:v>
                      </c:pt>
                      <c:pt idx="414">
                        <c:v>0</c:v>
                      </c:pt>
                      <c:pt idx="415">
                        <c:v>0</c:v>
                      </c:pt>
                      <c:pt idx="416">
                        <c:v>0</c:v>
                      </c:pt>
                      <c:pt idx="417">
                        <c:v>0</c:v>
                      </c:pt>
                      <c:pt idx="418">
                        <c:v>0</c:v>
                      </c:pt>
                      <c:pt idx="419">
                        <c:v>0</c:v>
                      </c:pt>
                      <c:pt idx="420">
                        <c:v>0</c:v>
                      </c:pt>
                      <c:pt idx="421">
                        <c:v>0</c:v>
                      </c:pt>
                      <c:pt idx="422">
                        <c:v>0</c:v>
                      </c:pt>
                      <c:pt idx="423">
                        <c:v>0</c:v>
                      </c:pt>
                      <c:pt idx="424">
                        <c:v>0</c:v>
                      </c:pt>
                      <c:pt idx="425">
                        <c:v>0</c:v>
                      </c:pt>
                      <c:pt idx="426">
                        <c:v>0</c:v>
                      </c:pt>
                      <c:pt idx="427">
                        <c:v>0</c:v>
                      </c:pt>
                      <c:pt idx="428">
                        <c:v>0</c:v>
                      </c:pt>
                      <c:pt idx="429">
                        <c:v>0</c:v>
                      </c:pt>
                      <c:pt idx="430">
                        <c:v>0</c:v>
                      </c:pt>
                      <c:pt idx="431">
                        <c:v>0</c:v>
                      </c:pt>
                      <c:pt idx="432">
                        <c:v>0</c:v>
                      </c:pt>
                      <c:pt idx="433">
                        <c:v>0</c:v>
                      </c:pt>
                      <c:pt idx="434">
                        <c:v>0</c:v>
                      </c:pt>
                      <c:pt idx="435">
                        <c:v>0</c:v>
                      </c:pt>
                      <c:pt idx="436">
                        <c:v>0</c:v>
                      </c:pt>
                      <c:pt idx="437">
                        <c:v>0</c:v>
                      </c:pt>
                      <c:pt idx="438">
                        <c:v>0</c:v>
                      </c:pt>
                      <c:pt idx="439">
                        <c:v>0</c:v>
                      </c:pt>
                      <c:pt idx="440">
                        <c:v>0</c:v>
                      </c:pt>
                      <c:pt idx="441">
                        <c:v>0</c:v>
                      </c:pt>
                      <c:pt idx="442">
                        <c:v>0</c:v>
                      </c:pt>
                      <c:pt idx="443">
                        <c:v>0</c:v>
                      </c:pt>
                      <c:pt idx="444">
                        <c:v>0</c:v>
                      </c:pt>
                      <c:pt idx="445">
                        <c:v>0</c:v>
                      </c:pt>
                      <c:pt idx="446">
                        <c:v>0</c:v>
                      </c:pt>
                      <c:pt idx="447">
                        <c:v>0</c:v>
                      </c:pt>
                      <c:pt idx="448">
                        <c:v>0</c:v>
                      </c:pt>
                      <c:pt idx="449">
                        <c:v>0</c:v>
                      </c:pt>
                      <c:pt idx="450">
                        <c:v>0</c:v>
                      </c:pt>
                      <c:pt idx="451">
                        <c:v>0</c:v>
                      </c:pt>
                      <c:pt idx="452">
                        <c:v>0</c:v>
                      </c:pt>
                      <c:pt idx="453">
                        <c:v>0</c:v>
                      </c:pt>
                      <c:pt idx="454">
                        <c:v>0</c:v>
                      </c:pt>
                      <c:pt idx="455">
                        <c:v>0</c:v>
                      </c:pt>
                      <c:pt idx="456">
                        <c:v>0</c:v>
                      </c:pt>
                      <c:pt idx="457">
                        <c:v>0</c:v>
                      </c:pt>
                      <c:pt idx="458">
                        <c:v>0</c:v>
                      </c:pt>
                      <c:pt idx="459">
                        <c:v>0</c:v>
                      </c:pt>
                      <c:pt idx="460">
                        <c:v>0</c:v>
                      </c:pt>
                      <c:pt idx="461">
                        <c:v>0</c:v>
                      </c:pt>
                      <c:pt idx="462">
                        <c:v>0</c:v>
                      </c:pt>
                      <c:pt idx="463">
                        <c:v>0</c:v>
                      </c:pt>
                      <c:pt idx="464">
                        <c:v>0</c:v>
                      </c:pt>
                      <c:pt idx="465">
                        <c:v>0</c:v>
                      </c:pt>
                      <c:pt idx="466">
                        <c:v>0</c:v>
                      </c:pt>
                      <c:pt idx="467">
                        <c:v>0</c:v>
                      </c:pt>
                      <c:pt idx="468">
                        <c:v>0</c:v>
                      </c:pt>
                      <c:pt idx="469">
                        <c:v>0</c:v>
                      </c:pt>
                      <c:pt idx="470">
                        <c:v>0</c:v>
                      </c:pt>
                      <c:pt idx="471">
                        <c:v>0</c:v>
                      </c:pt>
                      <c:pt idx="472">
                        <c:v>0</c:v>
                      </c:pt>
                      <c:pt idx="473">
                        <c:v>0</c:v>
                      </c:pt>
                      <c:pt idx="474">
                        <c:v>0</c:v>
                      </c:pt>
                      <c:pt idx="475">
                        <c:v>0</c:v>
                      </c:pt>
                      <c:pt idx="476">
                        <c:v>0</c:v>
                      </c:pt>
                      <c:pt idx="477">
                        <c:v>0</c:v>
                      </c:pt>
                      <c:pt idx="478">
                        <c:v>0</c:v>
                      </c:pt>
                      <c:pt idx="479">
                        <c:v>0</c:v>
                      </c:pt>
                      <c:pt idx="480">
                        <c:v>0</c:v>
                      </c:pt>
                      <c:pt idx="481">
                        <c:v>0</c:v>
                      </c:pt>
                      <c:pt idx="482">
                        <c:v>0</c:v>
                      </c:pt>
                      <c:pt idx="483">
                        <c:v>0</c:v>
                      </c:pt>
                      <c:pt idx="484">
                        <c:v>0</c:v>
                      </c:pt>
                      <c:pt idx="485">
                        <c:v>0</c:v>
                      </c:pt>
                      <c:pt idx="486">
                        <c:v>0</c:v>
                      </c:pt>
                      <c:pt idx="487">
                        <c:v>0</c:v>
                      </c:pt>
                      <c:pt idx="488">
                        <c:v>0</c:v>
                      </c:pt>
                      <c:pt idx="489">
                        <c:v>0</c:v>
                      </c:pt>
                      <c:pt idx="490">
                        <c:v>0</c:v>
                      </c:pt>
                      <c:pt idx="491">
                        <c:v>0</c:v>
                      </c:pt>
                      <c:pt idx="492">
                        <c:v>0</c:v>
                      </c:pt>
                      <c:pt idx="493">
                        <c:v>0</c:v>
                      </c:pt>
                      <c:pt idx="494">
                        <c:v>0</c:v>
                      </c:pt>
                      <c:pt idx="495">
                        <c:v>0</c:v>
                      </c:pt>
                      <c:pt idx="496">
                        <c:v>0</c:v>
                      </c:pt>
                      <c:pt idx="497">
                        <c:v>0</c:v>
                      </c:pt>
                      <c:pt idx="498">
                        <c:v>0</c:v>
                      </c:pt>
                      <c:pt idx="499">
                        <c:v>0</c:v>
                      </c:pt>
                      <c:pt idx="500">
                        <c:v>0</c:v>
                      </c:pt>
                      <c:pt idx="501">
                        <c:v>0</c:v>
                      </c:pt>
                      <c:pt idx="502">
                        <c:v>0</c:v>
                      </c:pt>
                      <c:pt idx="503">
                        <c:v>0</c:v>
                      </c:pt>
                      <c:pt idx="504">
                        <c:v>0</c:v>
                      </c:pt>
                      <c:pt idx="505">
                        <c:v>0</c:v>
                      </c:pt>
                      <c:pt idx="506">
                        <c:v>0</c:v>
                      </c:pt>
                      <c:pt idx="507">
                        <c:v>0</c:v>
                      </c:pt>
                      <c:pt idx="508">
                        <c:v>0</c:v>
                      </c:pt>
                      <c:pt idx="509">
                        <c:v>0</c:v>
                      </c:pt>
                      <c:pt idx="510">
                        <c:v>0</c:v>
                      </c:pt>
                      <c:pt idx="511">
                        <c:v>0</c:v>
                      </c:pt>
                      <c:pt idx="512">
                        <c:v>0</c:v>
                      </c:pt>
                      <c:pt idx="513">
                        <c:v>0</c:v>
                      </c:pt>
                      <c:pt idx="514">
                        <c:v>0</c:v>
                      </c:pt>
                      <c:pt idx="515">
                        <c:v>0</c:v>
                      </c:pt>
                      <c:pt idx="516">
                        <c:v>0</c:v>
                      </c:pt>
                      <c:pt idx="517">
                        <c:v>0</c:v>
                      </c:pt>
                      <c:pt idx="518">
                        <c:v>0</c:v>
                      </c:pt>
                      <c:pt idx="519">
                        <c:v>0</c:v>
                      </c:pt>
                      <c:pt idx="520">
                        <c:v>0</c:v>
                      </c:pt>
                      <c:pt idx="521">
                        <c:v>0</c:v>
                      </c:pt>
                      <c:pt idx="522">
                        <c:v>0</c:v>
                      </c:pt>
                      <c:pt idx="523">
                        <c:v>0</c:v>
                      </c:pt>
                      <c:pt idx="524">
                        <c:v>0</c:v>
                      </c:pt>
                      <c:pt idx="525">
                        <c:v>0</c:v>
                      </c:pt>
                      <c:pt idx="526">
                        <c:v>0</c:v>
                      </c:pt>
                      <c:pt idx="527">
                        <c:v>0</c:v>
                      </c:pt>
                      <c:pt idx="528">
                        <c:v>0</c:v>
                      </c:pt>
                      <c:pt idx="529">
                        <c:v>0</c:v>
                      </c:pt>
                      <c:pt idx="530">
                        <c:v>0</c:v>
                      </c:pt>
                      <c:pt idx="531">
                        <c:v>0</c:v>
                      </c:pt>
                      <c:pt idx="532">
                        <c:v>0</c:v>
                      </c:pt>
                      <c:pt idx="533">
                        <c:v>0</c:v>
                      </c:pt>
                      <c:pt idx="534">
                        <c:v>0</c:v>
                      </c:pt>
                      <c:pt idx="535">
                        <c:v>0</c:v>
                      </c:pt>
                      <c:pt idx="536">
                        <c:v>0</c:v>
                      </c:pt>
                      <c:pt idx="537">
                        <c:v>0</c:v>
                      </c:pt>
                      <c:pt idx="538">
                        <c:v>0</c:v>
                      </c:pt>
                      <c:pt idx="539">
                        <c:v>0</c:v>
                      </c:pt>
                      <c:pt idx="540">
                        <c:v>0</c:v>
                      </c:pt>
                      <c:pt idx="541">
                        <c:v>0</c:v>
                      </c:pt>
                      <c:pt idx="542">
                        <c:v>0</c:v>
                      </c:pt>
                      <c:pt idx="543">
                        <c:v>0</c:v>
                      </c:pt>
                      <c:pt idx="544">
                        <c:v>0</c:v>
                      </c:pt>
                      <c:pt idx="545">
                        <c:v>0</c:v>
                      </c:pt>
                      <c:pt idx="546">
                        <c:v>0</c:v>
                      </c:pt>
                      <c:pt idx="547">
                        <c:v>0</c:v>
                      </c:pt>
                      <c:pt idx="548">
                        <c:v>0</c:v>
                      </c:pt>
                      <c:pt idx="549">
                        <c:v>0</c:v>
                      </c:pt>
                      <c:pt idx="550">
                        <c:v>0</c:v>
                      </c:pt>
                      <c:pt idx="551">
                        <c:v>0</c:v>
                      </c:pt>
                      <c:pt idx="552">
                        <c:v>0</c:v>
                      </c:pt>
                      <c:pt idx="553">
                        <c:v>0</c:v>
                      </c:pt>
                      <c:pt idx="554">
                        <c:v>0</c:v>
                      </c:pt>
                      <c:pt idx="555">
                        <c:v>0</c:v>
                      </c:pt>
                      <c:pt idx="556">
                        <c:v>0</c:v>
                      </c:pt>
                      <c:pt idx="557">
                        <c:v>0</c:v>
                      </c:pt>
                      <c:pt idx="558">
                        <c:v>0</c:v>
                      </c:pt>
                      <c:pt idx="559">
                        <c:v>0</c:v>
                      </c:pt>
                      <c:pt idx="560">
                        <c:v>0</c:v>
                      </c:pt>
                      <c:pt idx="561">
                        <c:v>0</c:v>
                      </c:pt>
                      <c:pt idx="562">
                        <c:v>0</c:v>
                      </c:pt>
                      <c:pt idx="563">
                        <c:v>0</c:v>
                      </c:pt>
                      <c:pt idx="564">
                        <c:v>0</c:v>
                      </c:pt>
                      <c:pt idx="565">
                        <c:v>0</c:v>
                      </c:pt>
                      <c:pt idx="566">
                        <c:v>0</c:v>
                      </c:pt>
                      <c:pt idx="567">
                        <c:v>0</c:v>
                      </c:pt>
                      <c:pt idx="568">
                        <c:v>0</c:v>
                      </c:pt>
                      <c:pt idx="569">
                        <c:v>0</c:v>
                      </c:pt>
                      <c:pt idx="570">
                        <c:v>0</c:v>
                      </c:pt>
                      <c:pt idx="571">
                        <c:v>0</c:v>
                      </c:pt>
                      <c:pt idx="572">
                        <c:v>0</c:v>
                      </c:pt>
                      <c:pt idx="573">
                        <c:v>0</c:v>
                      </c:pt>
                      <c:pt idx="574">
                        <c:v>0</c:v>
                      </c:pt>
                      <c:pt idx="575">
                        <c:v>0</c:v>
                      </c:pt>
                      <c:pt idx="576">
                        <c:v>0</c:v>
                      </c:pt>
                      <c:pt idx="577">
                        <c:v>0</c:v>
                      </c:pt>
                      <c:pt idx="578">
                        <c:v>0</c:v>
                      </c:pt>
                      <c:pt idx="579">
                        <c:v>0</c:v>
                      </c:pt>
                      <c:pt idx="580">
                        <c:v>0</c:v>
                      </c:pt>
                      <c:pt idx="581">
                        <c:v>0</c:v>
                      </c:pt>
                      <c:pt idx="582">
                        <c:v>0</c:v>
                      </c:pt>
                      <c:pt idx="583">
                        <c:v>0</c:v>
                      </c:pt>
                      <c:pt idx="584">
                        <c:v>0</c:v>
                      </c:pt>
                      <c:pt idx="585">
                        <c:v>0</c:v>
                      </c:pt>
                      <c:pt idx="586">
                        <c:v>0</c:v>
                      </c:pt>
                      <c:pt idx="587">
                        <c:v>0</c:v>
                      </c:pt>
                      <c:pt idx="588">
                        <c:v>0</c:v>
                      </c:pt>
                      <c:pt idx="589">
                        <c:v>0</c:v>
                      </c:pt>
                      <c:pt idx="590">
                        <c:v>0</c:v>
                      </c:pt>
                      <c:pt idx="591">
                        <c:v>0</c:v>
                      </c:pt>
                      <c:pt idx="592">
                        <c:v>0</c:v>
                      </c:pt>
                      <c:pt idx="593">
                        <c:v>0</c:v>
                      </c:pt>
                      <c:pt idx="594">
                        <c:v>0</c:v>
                      </c:pt>
                      <c:pt idx="595">
                        <c:v>0</c:v>
                      </c:pt>
                      <c:pt idx="596">
                        <c:v>0</c:v>
                      </c:pt>
                      <c:pt idx="597">
                        <c:v>0</c:v>
                      </c:pt>
                      <c:pt idx="598">
                        <c:v>0</c:v>
                      </c:pt>
                      <c:pt idx="599">
                        <c:v>0</c:v>
                      </c:pt>
                      <c:pt idx="600">
                        <c:v>0</c:v>
                      </c:pt>
                      <c:pt idx="601">
                        <c:v>0</c:v>
                      </c:pt>
                      <c:pt idx="602">
                        <c:v>0</c:v>
                      </c:pt>
                      <c:pt idx="603">
                        <c:v>0</c:v>
                      </c:pt>
                      <c:pt idx="604">
                        <c:v>0</c:v>
                      </c:pt>
                      <c:pt idx="605">
                        <c:v>0</c:v>
                      </c:pt>
                      <c:pt idx="606">
                        <c:v>0</c:v>
                      </c:pt>
                      <c:pt idx="607">
                        <c:v>0</c:v>
                      </c:pt>
                      <c:pt idx="608">
                        <c:v>0</c:v>
                      </c:pt>
                      <c:pt idx="609">
                        <c:v>0</c:v>
                      </c:pt>
                      <c:pt idx="610">
                        <c:v>0</c:v>
                      </c:pt>
                      <c:pt idx="611">
                        <c:v>0</c:v>
                      </c:pt>
                      <c:pt idx="612">
                        <c:v>0</c:v>
                      </c:pt>
                      <c:pt idx="613">
                        <c:v>0</c:v>
                      </c:pt>
                      <c:pt idx="614">
                        <c:v>0</c:v>
                      </c:pt>
                      <c:pt idx="615">
                        <c:v>0</c:v>
                      </c:pt>
                      <c:pt idx="616">
                        <c:v>0</c:v>
                      </c:pt>
                      <c:pt idx="617">
                        <c:v>0</c:v>
                      </c:pt>
                      <c:pt idx="618">
                        <c:v>0</c:v>
                      </c:pt>
                      <c:pt idx="619">
                        <c:v>0</c:v>
                      </c:pt>
                      <c:pt idx="620">
                        <c:v>0</c:v>
                      </c:pt>
                      <c:pt idx="621">
                        <c:v>0</c:v>
                      </c:pt>
                      <c:pt idx="622">
                        <c:v>0</c:v>
                      </c:pt>
                      <c:pt idx="623">
                        <c:v>0</c:v>
                      </c:pt>
                      <c:pt idx="624">
                        <c:v>0</c:v>
                      </c:pt>
                      <c:pt idx="625">
                        <c:v>0</c:v>
                      </c:pt>
                      <c:pt idx="626">
                        <c:v>0</c:v>
                      </c:pt>
                      <c:pt idx="627">
                        <c:v>0</c:v>
                      </c:pt>
                      <c:pt idx="628">
                        <c:v>0</c:v>
                      </c:pt>
                      <c:pt idx="629">
                        <c:v>0</c:v>
                      </c:pt>
                      <c:pt idx="630">
                        <c:v>0</c:v>
                      </c:pt>
                      <c:pt idx="631">
                        <c:v>0</c:v>
                      </c:pt>
                      <c:pt idx="632">
                        <c:v>0</c:v>
                      </c:pt>
                      <c:pt idx="633">
                        <c:v>0</c:v>
                      </c:pt>
                      <c:pt idx="634">
                        <c:v>0</c:v>
                      </c:pt>
                      <c:pt idx="635">
                        <c:v>0</c:v>
                      </c:pt>
                      <c:pt idx="636">
                        <c:v>0</c:v>
                      </c:pt>
                      <c:pt idx="637">
                        <c:v>0</c:v>
                      </c:pt>
                      <c:pt idx="638">
                        <c:v>0</c:v>
                      </c:pt>
                      <c:pt idx="639">
                        <c:v>0</c:v>
                      </c:pt>
                      <c:pt idx="640">
                        <c:v>0</c:v>
                      </c:pt>
                      <c:pt idx="641">
                        <c:v>0</c:v>
                      </c:pt>
                      <c:pt idx="642">
                        <c:v>0</c:v>
                      </c:pt>
                      <c:pt idx="643">
                        <c:v>0</c:v>
                      </c:pt>
                      <c:pt idx="644">
                        <c:v>0</c:v>
                      </c:pt>
                      <c:pt idx="645">
                        <c:v>0</c:v>
                      </c:pt>
                      <c:pt idx="646">
                        <c:v>0</c:v>
                      </c:pt>
                      <c:pt idx="647">
                        <c:v>0</c:v>
                      </c:pt>
                      <c:pt idx="648">
                        <c:v>0</c:v>
                      </c:pt>
                      <c:pt idx="649">
                        <c:v>0</c:v>
                      </c:pt>
                      <c:pt idx="650">
                        <c:v>0</c:v>
                      </c:pt>
                      <c:pt idx="651">
                        <c:v>0</c:v>
                      </c:pt>
                      <c:pt idx="652">
                        <c:v>0</c:v>
                      </c:pt>
                      <c:pt idx="653">
                        <c:v>0</c:v>
                      </c:pt>
                      <c:pt idx="654">
                        <c:v>0</c:v>
                      </c:pt>
                      <c:pt idx="655">
                        <c:v>0</c:v>
                      </c:pt>
                      <c:pt idx="656">
                        <c:v>0</c:v>
                      </c:pt>
                      <c:pt idx="657">
                        <c:v>0</c:v>
                      </c:pt>
                      <c:pt idx="658">
                        <c:v>0</c:v>
                      </c:pt>
                      <c:pt idx="659">
                        <c:v>0</c:v>
                      </c:pt>
                      <c:pt idx="660">
                        <c:v>0</c:v>
                      </c:pt>
                      <c:pt idx="661">
                        <c:v>0</c:v>
                      </c:pt>
                      <c:pt idx="662">
                        <c:v>0</c:v>
                      </c:pt>
                      <c:pt idx="663">
                        <c:v>0</c:v>
                      </c:pt>
                      <c:pt idx="664">
                        <c:v>0</c:v>
                      </c:pt>
                      <c:pt idx="665">
                        <c:v>0</c:v>
                      </c:pt>
                      <c:pt idx="666">
                        <c:v>0</c:v>
                      </c:pt>
                      <c:pt idx="667">
                        <c:v>0</c:v>
                      </c:pt>
                      <c:pt idx="668">
                        <c:v>0</c:v>
                      </c:pt>
                      <c:pt idx="669">
                        <c:v>0</c:v>
                      </c:pt>
                      <c:pt idx="670">
                        <c:v>0</c:v>
                      </c:pt>
                      <c:pt idx="671">
                        <c:v>0</c:v>
                      </c:pt>
                      <c:pt idx="672">
                        <c:v>0</c:v>
                      </c:pt>
                      <c:pt idx="673">
                        <c:v>0</c:v>
                      </c:pt>
                      <c:pt idx="674">
                        <c:v>0</c:v>
                      </c:pt>
                      <c:pt idx="675">
                        <c:v>0</c:v>
                      </c:pt>
                      <c:pt idx="676">
                        <c:v>0</c:v>
                      </c:pt>
                      <c:pt idx="677">
                        <c:v>0</c:v>
                      </c:pt>
                      <c:pt idx="678">
                        <c:v>0</c:v>
                      </c:pt>
                      <c:pt idx="679">
                        <c:v>0</c:v>
                      </c:pt>
                      <c:pt idx="680">
                        <c:v>0</c:v>
                      </c:pt>
                      <c:pt idx="681">
                        <c:v>0</c:v>
                      </c:pt>
                      <c:pt idx="682">
                        <c:v>0</c:v>
                      </c:pt>
                      <c:pt idx="683">
                        <c:v>0</c:v>
                      </c:pt>
                      <c:pt idx="684">
                        <c:v>0</c:v>
                      </c:pt>
                      <c:pt idx="685">
                        <c:v>0</c:v>
                      </c:pt>
                      <c:pt idx="686">
                        <c:v>0</c:v>
                      </c:pt>
                      <c:pt idx="687">
                        <c:v>0</c:v>
                      </c:pt>
                      <c:pt idx="688">
                        <c:v>0</c:v>
                      </c:pt>
                      <c:pt idx="689">
                        <c:v>0</c:v>
                      </c:pt>
                      <c:pt idx="690">
                        <c:v>0</c:v>
                      </c:pt>
                      <c:pt idx="691">
                        <c:v>0</c:v>
                      </c:pt>
                      <c:pt idx="692">
                        <c:v>0</c:v>
                      </c:pt>
                      <c:pt idx="693">
                        <c:v>0</c:v>
                      </c:pt>
                      <c:pt idx="694">
                        <c:v>0</c:v>
                      </c:pt>
                      <c:pt idx="695">
                        <c:v>0</c:v>
                      </c:pt>
                      <c:pt idx="696">
                        <c:v>0</c:v>
                      </c:pt>
                      <c:pt idx="697">
                        <c:v>0</c:v>
                      </c:pt>
                      <c:pt idx="698">
                        <c:v>0</c:v>
                      </c:pt>
                      <c:pt idx="699">
                        <c:v>0</c:v>
                      </c:pt>
                      <c:pt idx="700">
                        <c:v>0</c:v>
                      </c:pt>
                      <c:pt idx="701">
                        <c:v>0</c:v>
                      </c:pt>
                      <c:pt idx="702">
                        <c:v>0</c:v>
                      </c:pt>
                      <c:pt idx="703">
                        <c:v>0</c:v>
                      </c:pt>
                      <c:pt idx="704">
                        <c:v>0</c:v>
                      </c:pt>
                      <c:pt idx="705">
                        <c:v>0</c:v>
                      </c:pt>
                      <c:pt idx="706">
                        <c:v>0</c:v>
                      </c:pt>
                      <c:pt idx="707">
                        <c:v>0</c:v>
                      </c:pt>
                      <c:pt idx="708">
                        <c:v>0</c:v>
                      </c:pt>
                      <c:pt idx="709">
                        <c:v>0</c:v>
                      </c:pt>
                      <c:pt idx="710">
                        <c:v>0</c:v>
                      </c:pt>
                      <c:pt idx="711">
                        <c:v>0</c:v>
                      </c:pt>
                      <c:pt idx="712">
                        <c:v>0</c:v>
                      </c:pt>
                      <c:pt idx="713">
                        <c:v>0</c:v>
                      </c:pt>
                      <c:pt idx="714">
                        <c:v>0</c:v>
                      </c:pt>
                      <c:pt idx="715">
                        <c:v>0</c:v>
                      </c:pt>
                      <c:pt idx="716">
                        <c:v>0</c:v>
                      </c:pt>
                      <c:pt idx="717">
                        <c:v>0</c:v>
                      </c:pt>
                      <c:pt idx="718">
                        <c:v>0</c:v>
                      </c:pt>
                      <c:pt idx="719">
                        <c:v>0</c:v>
                      </c:pt>
                      <c:pt idx="720">
                        <c:v>0</c:v>
                      </c:pt>
                      <c:pt idx="721">
                        <c:v>0</c:v>
                      </c:pt>
                      <c:pt idx="722">
                        <c:v>0</c:v>
                      </c:pt>
                      <c:pt idx="723">
                        <c:v>0</c:v>
                      </c:pt>
                      <c:pt idx="724">
                        <c:v>0</c:v>
                      </c:pt>
                      <c:pt idx="725">
                        <c:v>0</c:v>
                      </c:pt>
                      <c:pt idx="726">
                        <c:v>0</c:v>
                      </c:pt>
                      <c:pt idx="727">
                        <c:v>0</c:v>
                      </c:pt>
                      <c:pt idx="728">
                        <c:v>0</c:v>
                      </c:pt>
                      <c:pt idx="729">
                        <c:v>0</c:v>
                      </c:pt>
                      <c:pt idx="730">
                        <c:v>0</c:v>
                      </c:pt>
                      <c:pt idx="731">
                        <c:v>0</c:v>
                      </c:pt>
                      <c:pt idx="732">
                        <c:v>0</c:v>
                      </c:pt>
                      <c:pt idx="733">
                        <c:v>0</c:v>
                      </c:pt>
                      <c:pt idx="734">
                        <c:v>0</c:v>
                      </c:pt>
                      <c:pt idx="735">
                        <c:v>0</c:v>
                      </c:pt>
                      <c:pt idx="736">
                        <c:v>0</c:v>
                      </c:pt>
                      <c:pt idx="737">
                        <c:v>0</c:v>
                      </c:pt>
                      <c:pt idx="738">
                        <c:v>0</c:v>
                      </c:pt>
                      <c:pt idx="739">
                        <c:v>0</c:v>
                      </c:pt>
                      <c:pt idx="740">
                        <c:v>0</c:v>
                      </c:pt>
                      <c:pt idx="741">
                        <c:v>0</c:v>
                      </c:pt>
                      <c:pt idx="742">
                        <c:v>0</c:v>
                      </c:pt>
                      <c:pt idx="743">
                        <c:v>0</c:v>
                      </c:pt>
                      <c:pt idx="744">
                        <c:v>0</c:v>
                      </c:pt>
                      <c:pt idx="745">
                        <c:v>0</c:v>
                      </c:pt>
                      <c:pt idx="746">
                        <c:v>0</c:v>
                      </c:pt>
                      <c:pt idx="747">
                        <c:v>0</c:v>
                      </c:pt>
                      <c:pt idx="748">
                        <c:v>0</c:v>
                      </c:pt>
                      <c:pt idx="749">
                        <c:v>0</c:v>
                      </c:pt>
                      <c:pt idx="750">
                        <c:v>0</c:v>
                      </c:pt>
                      <c:pt idx="751">
                        <c:v>0</c:v>
                      </c:pt>
                      <c:pt idx="752">
                        <c:v>0</c:v>
                      </c:pt>
                      <c:pt idx="753">
                        <c:v>0</c:v>
                      </c:pt>
                      <c:pt idx="754">
                        <c:v>0</c:v>
                      </c:pt>
                      <c:pt idx="755">
                        <c:v>0</c:v>
                      </c:pt>
                      <c:pt idx="756">
                        <c:v>0</c:v>
                      </c:pt>
                      <c:pt idx="757">
                        <c:v>0</c:v>
                      </c:pt>
                      <c:pt idx="758">
                        <c:v>0</c:v>
                      </c:pt>
                      <c:pt idx="759">
                        <c:v>0</c:v>
                      </c:pt>
                      <c:pt idx="760">
                        <c:v>0</c:v>
                      </c:pt>
                      <c:pt idx="761">
                        <c:v>0</c:v>
                      </c:pt>
                      <c:pt idx="762">
                        <c:v>0</c:v>
                      </c:pt>
                      <c:pt idx="763">
                        <c:v>0</c:v>
                      </c:pt>
                      <c:pt idx="764">
                        <c:v>0</c:v>
                      </c:pt>
                      <c:pt idx="765">
                        <c:v>0</c:v>
                      </c:pt>
                      <c:pt idx="766">
                        <c:v>0</c:v>
                      </c:pt>
                      <c:pt idx="767">
                        <c:v>0</c:v>
                      </c:pt>
                      <c:pt idx="768">
                        <c:v>0</c:v>
                      </c:pt>
                      <c:pt idx="769">
                        <c:v>0</c:v>
                      </c:pt>
                      <c:pt idx="770">
                        <c:v>0</c:v>
                      </c:pt>
                      <c:pt idx="771">
                        <c:v>0</c:v>
                      </c:pt>
                      <c:pt idx="772">
                        <c:v>0</c:v>
                      </c:pt>
                      <c:pt idx="773">
                        <c:v>0</c:v>
                      </c:pt>
                      <c:pt idx="774">
                        <c:v>0</c:v>
                      </c:pt>
                      <c:pt idx="775">
                        <c:v>0</c:v>
                      </c:pt>
                      <c:pt idx="776">
                        <c:v>0</c:v>
                      </c:pt>
                      <c:pt idx="777">
                        <c:v>0</c:v>
                      </c:pt>
                      <c:pt idx="778">
                        <c:v>0</c:v>
                      </c:pt>
                      <c:pt idx="779">
                        <c:v>0</c:v>
                      </c:pt>
                      <c:pt idx="780">
                        <c:v>0</c:v>
                      </c:pt>
                      <c:pt idx="781">
                        <c:v>0</c:v>
                      </c:pt>
                      <c:pt idx="782">
                        <c:v>0</c:v>
                      </c:pt>
                      <c:pt idx="783">
                        <c:v>0</c:v>
                      </c:pt>
                      <c:pt idx="784">
                        <c:v>0</c:v>
                      </c:pt>
                      <c:pt idx="785">
                        <c:v>0</c:v>
                      </c:pt>
                      <c:pt idx="786">
                        <c:v>0</c:v>
                      </c:pt>
                      <c:pt idx="787">
                        <c:v>0</c:v>
                      </c:pt>
                      <c:pt idx="788">
                        <c:v>0</c:v>
                      </c:pt>
                      <c:pt idx="789">
                        <c:v>0</c:v>
                      </c:pt>
                      <c:pt idx="790">
                        <c:v>0</c:v>
                      </c:pt>
                      <c:pt idx="791">
                        <c:v>0</c:v>
                      </c:pt>
                      <c:pt idx="792">
                        <c:v>0</c:v>
                      </c:pt>
                      <c:pt idx="793">
                        <c:v>0</c:v>
                      </c:pt>
                      <c:pt idx="794">
                        <c:v>0</c:v>
                      </c:pt>
                      <c:pt idx="795">
                        <c:v>0</c:v>
                      </c:pt>
                      <c:pt idx="796">
                        <c:v>0</c:v>
                      </c:pt>
                      <c:pt idx="797">
                        <c:v>0</c:v>
                      </c:pt>
                      <c:pt idx="798">
                        <c:v>0</c:v>
                      </c:pt>
                      <c:pt idx="799">
                        <c:v>0</c:v>
                      </c:pt>
                      <c:pt idx="800">
                        <c:v>0</c:v>
                      </c:pt>
                      <c:pt idx="801">
                        <c:v>0</c:v>
                      </c:pt>
                      <c:pt idx="802">
                        <c:v>0</c:v>
                      </c:pt>
                      <c:pt idx="803">
                        <c:v>0</c:v>
                      </c:pt>
                      <c:pt idx="804">
                        <c:v>0</c:v>
                      </c:pt>
                      <c:pt idx="805">
                        <c:v>0</c:v>
                      </c:pt>
                      <c:pt idx="806">
                        <c:v>0</c:v>
                      </c:pt>
                      <c:pt idx="807">
                        <c:v>0</c:v>
                      </c:pt>
                      <c:pt idx="808">
                        <c:v>0</c:v>
                      </c:pt>
                      <c:pt idx="809">
                        <c:v>0</c:v>
                      </c:pt>
                      <c:pt idx="810">
                        <c:v>0</c:v>
                      </c:pt>
                      <c:pt idx="811">
                        <c:v>0</c:v>
                      </c:pt>
                      <c:pt idx="812">
                        <c:v>0</c:v>
                      </c:pt>
                      <c:pt idx="813">
                        <c:v>0</c:v>
                      </c:pt>
                      <c:pt idx="814">
                        <c:v>0</c:v>
                      </c:pt>
                      <c:pt idx="815">
                        <c:v>0</c:v>
                      </c:pt>
                      <c:pt idx="816">
                        <c:v>0</c:v>
                      </c:pt>
                      <c:pt idx="817">
                        <c:v>0</c:v>
                      </c:pt>
                      <c:pt idx="818">
                        <c:v>0</c:v>
                      </c:pt>
                      <c:pt idx="819">
                        <c:v>0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0</c:v>
                      </c:pt>
                      <c:pt idx="824">
                        <c:v>0</c:v>
                      </c:pt>
                      <c:pt idx="825">
                        <c:v>0</c:v>
                      </c:pt>
                      <c:pt idx="826">
                        <c:v>0</c:v>
                      </c:pt>
                      <c:pt idx="827">
                        <c:v>0</c:v>
                      </c:pt>
                      <c:pt idx="828">
                        <c:v>0</c:v>
                      </c:pt>
                      <c:pt idx="829">
                        <c:v>0</c:v>
                      </c:pt>
                      <c:pt idx="830">
                        <c:v>0</c:v>
                      </c:pt>
                      <c:pt idx="831">
                        <c:v>0</c:v>
                      </c:pt>
                      <c:pt idx="832">
                        <c:v>0</c:v>
                      </c:pt>
                      <c:pt idx="833">
                        <c:v>0</c:v>
                      </c:pt>
                      <c:pt idx="834">
                        <c:v>0</c:v>
                      </c:pt>
                      <c:pt idx="835">
                        <c:v>0</c:v>
                      </c:pt>
                      <c:pt idx="836">
                        <c:v>0</c:v>
                      </c:pt>
                      <c:pt idx="837">
                        <c:v>0</c:v>
                      </c:pt>
                      <c:pt idx="838">
                        <c:v>0</c:v>
                      </c:pt>
                      <c:pt idx="839">
                        <c:v>0</c:v>
                      </c:pt>
                      <c:pt idx="840">
                        <c:v>0</c:v>
                      </c:pt>
                      <c:pt idx="841">
                        <c:v>0</c:v>
                      </c:pt>
                      <c:pt idx="842">
                        <c:v>0</c:v>
                      </c:pt>
                      <c:pt idx="843">
                        <c:v>0</c:v>
                      </c:pt>
                      <c:pt idx="844">
                        <c:v>0</c:v>
                      </c:pt>
                      <c:pt idx="845">
                        <c:v>0</c:v>
                      </c:pt>
                      <c:pt idx="846">
                        <c:v>0</c:v>
                      </c:pt>
                      <c:pt idx="847">
                        <c:v>0</c:v>
                      </c:pt>
                      <c:pt idx="848">
                        <c:v>0</c:v>
                      </c:pt>
                      <c:pt idx="849">
                        <c:v>0</c:v>
                      </c:pt>
                      <c:pt idx="850">
                        <c:v>0</c:v>
                      </c:pt>
                      <c:pt idx="851">
                        <c:v>0</c:v>
                      </c:pt>
                      <c:pt idx="852">
                        <c:v>0</c:v>
                      </c:pt>
                      <c:pt idx="853">
                        <c:v>0</c:v>
                      </c:pt>
                      <c:pt idx="854">
                        <c:v>0</c:v>
                      </c:pt>
                      <c:pt idx="855">
                        <c:v>0</c:v>
                      </c:pt>
                      <c:pt idx="856">
                        <c:v>0</c:v>
                      </c:pt>
                      <c:pt idx="857">
                        <c:v>0</c:v>
                      </c:pt>
                      <c:pt idx="858">
                        <c:v>0</c:v>
                      </c:pt>
                      <c:pt idx="859">
                        <c:v>0</c:v>
                      </c:pt>
                      <c:pt idx="860">
                        <c:v>0</c:v>
                      </c:pt>
                      <c:pt idx="861">
                        <c:v>0</c:v>
                      </c:pt>
                      <c:pt idx="862">
                        <c:v>0</c:v>
                      </c:pt>
                      <c:pt idx="863">
                        <c:v>0</c:v>
                      </c:pt>
                      <c:pt idx="864">
                        <c:v>0</c:v>
                      </c:pt>
                      <c:pt idx="865">
                        <c:v>0</c:v>
                      </c:pt>
                      <c:pt idx="866">
                        <c:v>0</c:v>
                      </c:pt>
                      <c:pt idx="867">
                        <c:v>0</c:v>
                      </c:pt>
                      <c:pt idx="868">
                        <c:v>0</c:v>
                      </c:pt>
                      <c:pt idx="869">
                        <c:v>0</c:v>
                      </c:pt>
                      <c:pt idx="870">
                        <c:v>0</c:v>
                      </c:pt>
                      <c:pt idx="871">
                        <c:v>0</c:v>
                      </c:pt>
                      <c:pt idx="872">
                        <c:v>0</c:v>
                      </c:pt>
                      <c:pt idx="873">
                        <c:v>0</c:v>
                      </c:pt>
                      <c:pt idx="874">
                        <c:v>0</c:v>
                      </c:pt>
                      <c:pt idx="875">
                        <c:v>0</c:v>
                      </c:pt>
                      <c:pt idx="876">
                        <c:v>0</c:v>
                      </c:pt>
                      <c:pt idx="877">
                        <c:v>0</c:v>
                      </c:pt>
                      <c:pt idx="878">
                        <c:v>0</c:v>
                      </c:pt>
                      <c:pt idx="879">
                        <c:v>0</c:v>
                      </c:pt>
                      <c:pt idx="880">
                        <c:v>0</c:v>
                      </c:pt>
                      <c:pt idx="881">
                        <c:v>0</c:v>
                      </c:pt>
                      <c:pt idx="882">
                        <c:v>0</c:v>
                      </c:pt>
                      <c:pt idx="883">
                        <c:v>0</c:v>
                      </c:pt>
                      <c:pt idx="884">
                        <c:v>0</c:v>
                      </c:pt>
                      <c:pt idx="885">
                        <c:v>0</c:v>
                      </c:pt>
                      <c:pt idx="886">
                        <c:v>0</c:v>
                      </c:pt>
                      <c:pt idx="887">
                        <c:v>0</c:v>
                      </c:pt>
                      <c:pt idx="888">
                        <c:v>0</c:v>
                      </c:pt>
                      <c:pt idx="889">
                        <c:v>0</c:v>
                      </c:pt>
                      <c:pt idx="890">
                        <c:v>0</c:v>
                      </c:pt>
                      <c:pt idx="891">
                        <c:v>0</c:v>
                      </c:pt>
                      <c:pt idx="892">
                        <c:v>0</c:v>
                      </c:pt>
                      <c:pt idx="893">
                        <c:v>0</c:v>
                      </c:pt>
                      <c:pt idx="894">
                        <c:v>0</c:v>
                      </c:pt>
                      <c:pt idx="895">
                        <c:v>0</c:v>
                      </c:pt>
                      <c:pt idx="896">
                        <c:v>0</c:v>
                      </c:pt>
                      <c:pt idx="897">
                        <c:v>0</c:v>
                      </c:pt>
                      <c:pt idx="898">
                        <c:v>0</c:v>
                      </c:pt>
                      <c:pt idx="899">
                        <c:v>0</c:v>
                      </c:pt>
                      <c:pt idx="900">
                        <c:v>0</c:v>
                      </c:pt>
                      <c:pt idx="901">
                        <c:v>0</c:v>
                      </c:pt>
                      <c:pt idx="902">
                        <c:v>0</c:v>
                      </c:pt>
                      <c:pt idx="903">
                        <c:v>0</c:v>
                      </c:pt>
                      <c:pt idx="904">
                        <c:v>0</c:v>
                      </c:pt>
                      <c:pt idx="905">
                        <c:v>0</c:v>
                      </c:pt>
                      <c:pt idx="906">
                        <c:v>0</c:v>
                      </c:pt>
                      <c:pt idx="907">
                        <c:v>0</c:v>
                      </c:pt>
                      <c:pt idx="908">
                        <c:v>0</c:v>
                      </c:pt>
                      <c:pt idx="909">
                        <c:v>0</c:v>
                      </c:pt>
                      <c:pt idx="910">
                        <c:v>0</c:v>
                      </c:pt>
                      <c:pt idx="911">
                        <c:v>0</c:v>
                      </c:pt>
                      <c:pt idx="912">
                        <c:v>0</c:v>
                      </c:pt>
                      <c:pt idx="913">
                        <c:v>0</c:v>
                      </c:pt>
                      <c:pt idx="914">
                        <c:v>0</c:v>
                      </c:pt>
                      <c:pt idx="915">
                        <c:v>0</c:v>
                      </c:pt>
                      <c:pt idx="916">
                        <c:v>0</c:v>
                      </c:pt>
                      <c:pt idx="917">
                        <c:v>0</c:v>
                      </c:pt>
                      <c:pt idx="918">
                        <c:v>0</c:v>
                      </c:pt>
                      <c:pt idx="919">
                        <c:v>0</c:v>
                      </c:pt>
                      <c:pt idx="920">
                        <c:v>0</c:v>
                      </c:pt>
                      <c:pt idx="921">
                        <c:v>0</c:v>
                      </c:pt>
                      <c:pt idx="922">
                        <c:v>0</c:v>
                      </c:pt>
                      <c:pt idx="923">
                        <c:v>0</c:v>
                      </c:pt>
                      <c:pt idx="924">
                        <c:v>0</c:v>
                      </c:pt>
                      <c:pt idx="925">
                        <c:v>0</c:v>
                      </c:pt>
                      <c:pt idx="926">
                        <c:v>0</c:v>
                      </c:pt>
                      <c:pt idx="927">
                        <c:v>0</c:v>
                      </c:pt>
                      <c:pt idx="928">
                        <c:v>0</c:v>
                      </c:pt>
                      <c:pt idx="929">
                        <c:v>0</c:v>
                      </c:pt>
                      <c:pt idx="930">
                        <c:v>0</c:v>
                      </c:pt>
                      <c:pt idx="931">
                        <c:v>0</c:v>
                      </c:pt>
                      <c:pt idx="932">
                        <c:v>0</c:v>
                      </c:pt>
                      <c:pt idx="933">
                        <c:v>0</c:v>
                      </c:pt>
                      <c:pt idx="934">
                        <c:v>0</c:v>
                      </c:pt>
                      <c:pt idx="935">
                        <c:v>0</c:v>
                      </c:pt>
                      <c:pt idx="936">
                        <c:v>0</c:v>
                      </c:pt>
                      <c:pt idx="937">
                        <c:v>0</c:v>
                      </c:pt>
                      <c:pt idx="938">
                        <c:v>0</c:v>
                      </c:pt>
                      <c:pt idx="939">
                        <c:v>0</c:v>
                      </c:pt>
                      <c:pt idx="940">
                        <c:v>0</c:v>
                      </c:pt>
                      <c:pt idx="941">
                        <c:v>0</c:v>
                      </c:pt>
                      <c:pt idx="942">
                        <c:v>0</c:v>
                      </c:pt>
                      <c:pt idx="943">
                        <c:v>0</c:v>
                      </c:pt>
                      <c:pt idx="944">
                        <c:v>0</c:v>
                      </c:pt>
                      <c:pt idx="945">
                        <c:v>0</c:v>
                      </c:pt>
                      <c:pt idx="946">
                        <c:v>0</c:v>
                      </c:pt>
                      <c:pt idx="947">
                        <c:v>0</c:v>
                      </c:pt>
                      <c:pt idx="948">
                        <c:v>0</c:v>
                      </c:pt>
                      <c:pt idx="949">
                        <c:v>0</c:v>
                      </c:pt>
                      <c:pt idx="950">
                        <c:v>0</c:v>
                      </c:pt>
                      <c:pt idx="951">
                        <c:v>0</c:v>
                      </c:pt>
                      <c:pt idx="952">
                        <c:v>0</c:v>
                      </c:pt>
                      <c:pt idx="953">
                        <c:v>0</c:v>
                      </c:pt>
                      <c:pt idx="954">
                        <c:v>0</c:v>
                      </c:pt>
                      <c:pt idx="955">
                        <c:v>0</c:v>
                      </c:pt>
                      <c:pt idx="956">
                        <c:v>0</c:v>
                      </c:pt>
                      <c:pt idx="957">
                        <c:v>0</c:v>
                      </c:pt>
                      <c:pt idx="958">
                        <c:v>0</c:v>
                      </c:pt>
                      <c:pt idx="959">
                        <c:v>0</c:v>
                      </c:pt>
                      <c:pt idx="960">
                        <c:v>0</c:v>
                      </c:pt>
                      <c:pt idx="961">
                        <c:v>0</c:v>
                      </c:pt>
                      <c:pt idx="962">
                        <c:v>0</c:v>
                      </c:pt>
                      <c:pt idx="963">
                        <c:v>0</c:v>
                      </c:pt>
                      <c:pt idx="964">
                        <c:v>0</c:v>
                      </c:pt>
                      <c:pt idx="965">
                        <c:v>0</c:v>
                      </c:pt>
                      <c:pt idx="966">
                        <c:v>0</c:v>
                      </c:pt>
                      <c:pt idx="967">
                        <c:v>0</c:v>
                      </c:pt>
                      <c:pt idx="968">
                        <c:v>0</c:v>
                      </c:pt>
                      <c:pt idx="969">
                        <c:v>0</c:v>
                      </c:pt>
                      <c:pt idx="970">
                        <c:v>0</c:v>
                      </c:pt>
                      <c:pt idx="971">
                        <c:v>0</c:v>
                      </c:pt>
                      <c:pt idx="972">
                        <c:v>0</c:v>
                      </c:pt>
                      <c:pt idx="973">
                        <c:v>0</c:v>
                      </c:pt>
                      <c:pt idx="974">
                        <c:v>0</c:v>
                      </c:pt>
                      <c:pt idx="975">
                        <c:v>0</c:v>
                      </c:pt>
                      <c:pt idx="976">
                        <c:v>0</c:v>
                      </c:pt>
                      <c:pt idx="977">
                        <c:v>0</c:v>
                      </c:pt>
                      <c:pt idx="978">
                        <c:v>0</c:v>
                      </c:pt>
                      <c:pt idx="979">
                        <c:v>0</c:v>
                      </c:pt>
                      <c:pt idx="980">
                        <c:v>0</c:v>
                      </c:pt>
                      <c:pt idx="981">
                        <c:v>0</c:v>
                      </c:pt>
                      <c:pt idx="982">
                        <c:v>0</c:v>
                      </c:pt>
                      <c:pt idx="983">
                        <c:v>0</c:v>
                      </c:pt>
                      <c:pt idx="984">
                        <c:v>0</c:v>
                      </c:pt>
                      <c:pt idx="985">
                        <c:v>0</c:v>
                      </c:pt>
                      <c:pt idx="986">
                        <c:v>0</c:v>
                      </c:pt>
                      <c:pt idx="987">
                        <c:v>0</c:v>
                      </c:pt>
                      <c:pt idx="988">
                        <c:v>0</c:v>
                      </c:pt>
                      <c:pt idx="989">
                        <c:v>0</c:v>
                      </c:pt>
                      <c:pt idx="990">
                        <c:v>0</c:v>
                      </c:pt>
                      <c:pt idx="991">
                        <c:v>0</c:v>
                      </c:pt>
                      <c:pt idx="992">
                        <c:v>0</c:v>
                      </c:pt>
                      <c:pt idx="993">
                        <c:v>0</c:v>
                      </c:pt>
                      <c:pt idx="994">
                        <c:v>0</c:v>
                      </c:pt>
                      <c:pt idx="995">
                        <c:v>0</c:v>
                      </c:pt>
                      <c:pt idx="996">
                        <c:v>0</c:v>
                      </c:pt>
                      <c:pt idx="997">
                        <c:v>0</c:v>
                      </c:pt>
                      <c:pt idx="998">
                        <c:v>0</c:v>
                      </c:pt>
                      <c:pt idx="999">
                        <c:v>0</c:v>
                      </c:pt>
                      <c:pt idx="1000">
                        <c:v>0</c:v>
                      </c:pt>
                      <c:pt idx="1001">
                        <c:v>0</c:v>
                      </c:pt>
                      <c:pt idx="1002">
                        <c:v>0</c:v>
                      </c:pt>
                      <c:pt idx="1003">
                        <c:v>0</c:v>
                      </c:pt>
                      <c:pt idx="1004">
                        <c:v>0</c:v>
                      </c:pt>
                      <c:pt idx="1005">
                        <c:v>0</c:v>
                      </c:pt>
                      <c:pt idx="1006">
                        <c:v>0</c:v>
                      </c:pt>
                      <c:pt idx="1007">
                        <c:v>0</c:v>
                      </c:pt>
                      <c:pt idx="1008">
                        <c:v>0</c:v>
                      </c:pt>
                      <c:pt idx="1009">
                        <c:v>0</c:v>
                      </c:pt>
                      <c:pt idx="1010">
                        <c:v>0</c:v>
                      </c:pt>
                      <c:pt idx="1011">
                        <c:v>0</c:v>
                      </c:pt>
                      <c:pt idx="1012">
                        <c:v>0</c:v>
                      </c:pt>
                      <c:pt idx="1013">
                        <c:v>0</c:v>
                      </c:pt>
                      <c:pt idx="1014">
                        <c:v>0</c:v>
                      </c:pt>
                      <c:pt idx="1015">
                        <c:v>0</c:v>
                      </c:pt>
                      <c:pt idx="1016">
                        <c:v>0</c:v>
                      </c:pt>
                      <c:pt idx="1017">
                        <c:v>0</c:v>
                      </c:pt>
                      <c:pt idx="1018">
                        <c:v>0</c:v>
                      </c:pt>
                      <c:pt idx="1019">
                        <c:v>0</c:v>
                      </c:pt>
                      <c:pt idx="1020">
                        <c:v>0</c:v>
                      </c:pt>
                      <c:pt idx="1021">
                        <c:v>0</c:v>
                      </c:pt>
                      <c:pt idx="1022">
                        <c:v>0</c:v>
                      </c:pt>
                      <c:pt idx="1023">
                        <c:v>0</c:v>
                      </c:pt>
                      <c:pt idx="1024">
                        <c:v>0</c:v>
                      </c:pt>
                      <c:pt idx="1025">
                        <c:v>0</c:v>
                      </c:pt>
                      <c:pt idx="1026">
                        <c:v>0</c:v>
                      </c:pt>
                      <c:pt idx="1027">
                        <c:v>0</c:v>
                      </c:pt>
                      <c:pt idx="1028">
                        <c:v>0</c:v>
                      </c:pt>
                      <c:pt idx="1029">
                        <c:v>0</c:v>
                      </c:pt>
                      <c:pt idx="1030">
                        <c:v>0</c:v>
                      </c:pt>
                      <c:pt idx="1031">
                        <c:v>0</c:v>
                      </c:pt>
                      <c:pt idx="1032">
                        <c:v>0</c:v>
                      </c:pt>
                      <c:pt idx="1033">
                        <c:v>0</c:v>
                      </c:pt>
                      <c:pt idx="1034">
                        <c:v>0</c:v>
                      </c:pt>
                      <c:pt idx="1035">
                        <c:v>0</c:v>
                      </c:pt>
                      <c:pt idx="1036">
                        <c:v>0</c:v>
                      </c:pt>
                      <c:pt idx="1037">
                        <c:v>0</c:v>
                      </c:pt>
                      <c:pt idx="1038">
                        <c:v>0</c:v>
                      </c:pt>
                      <c:pt idx="1039">
                        <c:v>0</c:v>
                      </c:pt>
                      <c:pt idx="1040">
                        <c:v>0</c:v>
                      </c:pt>
                      <c:pt idx="1041">
                        <c:v>0</c:v>
                      </c:pt>
                      <c:pt idx="1042">
                        <c:v>0</c:v>
                      </c:pt>
                      <c:pt idx="1043">
                        <c:v>0</c:v>
                      </c:pt>
                      <c:pt idx="1044">
                        <c:v>0</c:v>
                      </c:pt>
                      <c:pt idx="1045">
                        <c:v>0</c:v>
                      </c:pt>
                      <c:pt idx="1046">
                        <c:v>0</c:v>
                      </c:pt>
                      <c:pt idx="1047">
                        <c:v>0</c:v>
                      </c:pt>
                      <c:pt idx="1048">
                        <c:v>0</c:v>
                      </c:pt>
                      <c:pt idx="1049">
                        <c:v>0</c:v>
                      </c:pt>
                      <c:pt idx="1050">
                        <c:v>0</c:v>
                      </c:pt>
                      <c:pt idx="1051">
                        <c:v>0</c:v>
                      </c:pt>
                      <c:pt idx="1052">
                        <c:v>0</c:v>
                      </c:pt>
                      <c:pt idx="1053">
                        <c:v>0</c:v>
                      </c:pt>
                      <c:pt idx="1054">
                        <c:v>0</c:v>
                      </c:pt>
                      <c:pt idx="1055">
                        <c:v>0</c:v>
                      </c:pt>
                      <c:pt idx="1056">
                        <c:v>0</c:v>
                      </c:pt>
                      <c:pt idx="1057">
                        <c:v>0</c:v>
                      </c:pt>
                      <c:pt idx="1058">
                        <c:v>0</c:v>
                      </c:pt>
                      <c:pt idx="1059">
                        <c:v>0</c:v>
                      </c:pt>
                      <c:pt idx="1060">
                        <c:v>0</c:v>
                      </c:pt>
                      <c:pt idx="1061">
                        <c:v>0</c:v>
                      </c:pt>
                      <c:pt idx="1062">
                        <c:v>0</c:v>
                      </c:pt>
                      <c:pt idx="1063">
                        <c:v>0</c:v>
                      </c:pt>
                      <c:pt idx="1064">
                        <c:v>0</c:v>
                      </c:pt>
                      <c:pt idx="1065">
                        <c:v>0</c:v>
                      </c:pt>
                      <c:pt idx="1066">
                        <c:v>0</c:v>
                      </c:pt>
                      <c:pt idx="1067">
                        <c:v>0</c:v>
                      </c:pt>
                      <c:pt idx="1068">
                        <c:v>0</c:v>
                      </c:pt>
                      <c:pt idx="1069">
                        <c:v>0</c:v>
                      </c:pt>
                      <c:pt idx="1070">
                        <c:v>0</c:v>
                      </c:pt>
                      <c:pt idx="1071">
                        <c:v>0</c:v>
                      </c:pt>
                      <c:pt idx="1072">
                        <c:v>0</c:v>
                      </c:pt>
                      <c:pt idx="1073">
                        <c:v>0</c:v>
                      </c:pt>
                      <c:pt idx="1074">
                        <c:v>0</c:v>
                      </c:pt>
                      <c:pt idx="1075">
                        <c:v>0</c:v>
                      </c:pt>
                      <c:pt idx="1076">
                        <c:v>0</c:v>
                      </c:pt>
                      <c:pt idx="1077">
                        <c:v>0</c:v>
                      </c:pt>
                      <c:pt idx="1078">
                        <c:v>0</c:v>
                      </c:pt>
                      <c:pt idx="1079">
                        <c:v>0</c:v>
                      </c:pt>
                      <c:pt idx="1080">
                        <c:v>0</c:v>
                      </c:pt>
                      <c:pt idx="1081">
                        <c:v>0</c:v>
                      </c:pt>
                      <c:pt idx="1082">
                        <c:v>0</c:v>
                      </c:pt>
                      <c:pt idx="1083">
                        <c:v>0</c:v>
                      </c:pt>
                      <c:pt idx="1084">
                        <c:v>0</c:v>
                      </c:pt>
                      <c:pt idx="1085">
                        <c:v>0</c:v>
                      </c:pt>
                      <c:pt idx="1086">
                        <c:v>0</c:v>
                      </c:pt>
                      <c:pt idx="1087">
                        <c:v>0</c:v>
                      </c:pt>
                      <c:pt idx="1088">
                        <c:v>0</c:v>
                      </c:pt>
                      <c:pt idx="1089">
                        <c:v>0</c:v>
                      </c:pt>
                      <c:pt idx="1090">
                        <c:v>0</c:v>
                      </c:pt>
                      <c:pt idx="1091">
                        <c:v>0</c:v>
                      </c:pt>
                      <c:pt idx="1092">
                        <c:v>0</c:v>
                      </c:pt>
                      <c:pt idx="1093">
                        <c:v>0</c:v>
                      </c:pt>
                      <c:pt idx="1094">
                        <c:v>0</c:v>
                      </c:pt>
                      <c:pt idx="1095">
                        <c:v>0</c:v>
                      </c:pt>
                      <c:pt idx="1096">
                        <c:v>0</c:v>
                      </c:pt>
                      <c:pt idx="1097">
                        <c:v>0</c:v>
                      </c:pt>
                      <c:pt idx="1098">
                        <c:v>0</c:v>
                      </c:pt>
                      <c:pt idx="1099">
                        <c:v>0</c:v>
                      </c:pt>
                      <c:pt idx="1100">
                        <c:v>0</c:v>
                      </c:pt>
                      <c:pt idx="1101">
                        <c:v>0</c:v>
                      </c:pt>
                      <c:pt idx="1102">
                        <c:v>0</c:v>
                      </c:pt>
                      <c:pt idx="1103">
                        <c:v>0</c:v>
                      </c:pt>
                      <c:pt idx="1104">
                        <c:v>0</c:v>
                      </c:pt>
                      <c:pt idx="1105">
                        <c:v>0</c:v>
                      </c:pt>
                      <c:pt idx="1106">
                        <c:v>0</c:v>
                      </c:pt>
                      <c:pt idx="1107">
                        <c:v>0</c:v>
                      </c:pt>
                      <c:pt idx="1108">
                        <c:v>0</c:v>
                      </c:pt>
                      <c:pt idx="1109">
                        <c:v>0</c:v>
                      </c:pt>
                      <c:pt idx="1110">
                        <c:v>0</c:v>
                      </c:pt>
                      <c:pt idx="1111">
                        <c:v>0</c:v>
                      </c:pt>
                      <c:pt idx="1112">
                        <c:v>0</c:v>
                      </c:pt>
                      <c:pt idx="1113">
                        <c:v>0</c:v>
                      </c:pt>
                      <c:pt idx="1114">
                        <c:v>0</c:v>
                      </c:pt>
                      <c:pt idx="1115">
                        <c:v>0</c:v>
                      </c:pt>
                      <c:pt idx="1116">
                        <c:v>0</c:v>
                      </c:pt>
                      <c:pt idx="1117">
                        <c:v>0</c:v>
                      </c:pt>
                      <c:pt idx="1118">
                        <c:v>0</c:v>
                      </c:pt>
                      <c:pt idx="1119">
                        <c:v>0</c:v>
                      </c:pt>
                      <c:pt idx="1120">
                        <c:v>0</c:v>
                      </c:pt>
                      <c:pt idx="1121">
                        <c:v>0</c:v>
                      </c:pt>
                      <c:pt idx="1122">
                        <c:v>0</c:v>
                      </c:pt>
                      <c:pt idx="1123">
                        <c:v>0</c:v>
                      </c:pt>
                      <c:pt idx="1124">
                        <c:v>0</c:v>
                      </c:pt>
                      <c:pt idx="1125">
                        <c:v>0</c:v>
                      </c:pt>
                      <c:pt idx="1126">
                        <c:v>0</c:v>
                      </c:pt>
                      <c:pt idx="1127">
                        <c:v>0</c:v>
                      </c:pt>
                      <c:pt idx="1128">
                        <c:v>0</c:v>
                      </c:pt>
                      <c:pt idx="1129">
                        <c:v>0</c:v>
                      </c:pt>
                      <c:pt idx="1130">
                        <c:v>0</c:v>
                      </c:pt>
                      <c:pt idx="1131">
                        <c:v>0</c:v>
                      </c:pt>
                      <c:pt idx="1132">
                        <c:v>0</c:v>
                      </c:pt>
                      <c:pt idx="1133">
                        <c:v>0</c:v>
                      </c:pt>
                      <c:pt idx="1134">
                        <c:v>0</c:v>
                      </c:pt>
                      <c:pt idx="1135">
                        <c:v>0</c:v>
                      </c:pt>
                      <c:pt idx="1136">
                        <c:v>0</c:v>
                      </c:pt>
                      <c:pt idx="1137">
                        <c:v>0</c:v>
                      </c:pt>
                      <c:pt idx="1138">
                        <c:v>0</c:v>
                      </c:pt>
                      <c:pt idx="1139">
                        <c:v>0</c:v>
                      </c:pt>
                      <c:pt idx="1140">
                        <c:v>0</c:v>
                      </c:pt>
                      <c:pt idx="1141">
                        <c:v>0</c:v>
                      </c:pt>
                      <c:pt idx="1142">
                        <c:v>0</c:v>
                      </c:pt>
                      <c:pt idx="1143">
                        <c:v>0</c:v>
                      </c:pt>
                      <c:pt idx="1144">
                        <c:v>0</c:v>
                      </c:pt>
                      <c:pt idx="1145">
                        <c:v>0</c:v>
                      </c:pt>
                      <c:pt idx="1146">
                        <c:v>0</c:v>
                      </c:pt>
                      <c:pt idx="1147">
                        <c:v>0</c:v>
                      </c:pt>
                      <c:pt idx="1148">
                        <c:v>0</c:v>
                      </c:pt>
                      <c:pt idx="1149">
                        <c:v>0</c:v>
                      </c:pt>
                      <c:pt idx="1150">
                        <c:v>2</c:v>
                      </c:pt>
                      <c:pt idx="1151">
                        <c:v>2</c:v>
                      </c:pt>
                      <c:pt idx="1152">
                        <c:v>2</c:v>
                      </c:pt>
                      <c:pt idx="1153">
                        <c:v>2</c:v>
                      </c:pt>
                      <c:pt idx="1154">
                        <c:v>2</c:v>
                      </c:pt>
                      <c:pt idx="1155">
                        <c:v>2</c:v>
                      </c:pt>
                      <c:pt idx="1156">
                        <c:v>2</c:v>
                      </c:pt>
                      <c:pt idx="1157">
                        <c:v>2</c:v>
                      </c:pt>
                      <c:pt idx="1158">
                        <c:v>2</c:v>
                      </c:pt>
                      <c:pt idx="1159">
                        <c:v>2</c:v>
                      </c:pt>
                      <c:pt idx="1160">
                        <c:v>2</c:v>
                      </c:pt>
                      <c:pt idx="1161">
                        <c:v>2</c:v>
                      </c:pt>
                      <c:pt idx="1162">
                        <c:v>2</c:v>
                      </c:pt>
                      <c:pt idx="1163">
                        <c:v>2</c:v>
                      </c:pt>
                      <c:pt idx="1164">
                        <c:v>2</c:v>
                      </c:pt>
                      <c:pt idx="1165">
                        <c:v>2</c:v>
                      </c:pt>
                      <c:pt idx="1166">
                        <c:v>2</c:v>
                      </c:pt>
                      <c:pt idx="1167">
                        <c:v>2</c:v>
                      </c:pt>
                      <c:pt idx="1168">
                        <c:v>2</c:v>
                      </c:pt>
                      <c:pt idx="1169">
                        <c:v>2</c:v>
                      </c:pt>
                      <c:pt idx="1170">
                        <c:v>2</c:v>
                      </c:pt>
                      <c:pt idx="1171">
                        <c:v>2</c:v>
                      </c:pt>
                      <c:pt idx="1172">
                        <c:v>2</c:v>
                      </c:pt>
                      <c:pt idx="1173">
                        <c:v>2</c:v>
                      </c:pt>
                      <c:pt idx="1174">
                        <c:v>2</c:v>
                      </c:pt>
                      <c:pt idx="1175">
                        <c:v>2</c:v>
                      </c:pt>
                      <c:pt idx="1176">
                        <c:v>2</c:v>
                      </c:pt>
                      <c:pt idx="1177">
                        <c:v>2</c:v>
                      </c:pt>
                      <c:pt idx="1178">
                        <c:v>2</c:v>
                      </c:pt>
                      <c:pt idx="1179">
                        <c:v>2</c:v>
                      </c:pt>
                      <c:pt idx="1180">
                        <c:v>2</c:v>
                      </c:pt>
                      <c:pt idx="1181">
                        <c:v>2</c:v>
                      </c:pt>
                      <c:pt idx="1182">
                        <c:v>2</c:v>
                      </c:pt>
                      <c:pt idx="1183">
                        <c:v>2</c:v>
                      </c:pt>
                      <c:pt idx="1184">
                        <c:v>2</c:v>
                      </c:pt>
                      <c:pt idx="1185">
                        <c:v>2</c:v>
                      </c:pt>
                      <c:pt idx="1186">
                        <c:v>2</c:v>
                      </c:pt>
                      <c:pt idx="1187">
                        <c:v>2</c:v>
                      </c:pt>
                      <c:pt idx="1188">
                        <c:v>2</c:v>
                      </c:pt>
                      <c:pt idx="1189">
                        <c:v>2</c:v>
                      </c:pt>
                      <c:pt idx="1190">
                        <c:v>2</c:v>
                      </c:pt>
                      <c:pt idx="1191">
                        <c:v>2</c:v>
                      </c:pt>
                      <c:pt idx="1192">
                        <c:v>2</c:v>
                      </c:pt>
                      <c:pt idx="1193">
                        <c:v>2</c:v>
                      </c:pt>
                      <c:pt idx="1194">
                        <c:v>2</c:v>
                      </c:pt>
                      <c:pt idx="1195">
                        <c:v>2</c:v>
                      </c:pt>
                      <c:pt idx="1196">
                        <c:v>2</c:v>
                      </c:pt>
                      <c:pt idx="1197">
                        <c:v>2</c:v>
                      </c:pt>
                      <c:pt idx="1198">
                        <c:v>2</c:v>
                      </c:pt>
                      <c:pt idx="1199">
                        <c:v>2</c:v>
                      </c:pt>
                      <c:pt idx="1200">
                        <c:v>2</c:v>
                      </c:pt>
                      <c:pt idx="1201">
                        <c:v>2</c:v>
                      </c:pt>
                      <c:pt idx="1202">
                        <c:v>2</c:v>
                      </c:pt>
                      <c:pt idx="1203">
                        <c:v>2</c:v>
                      </c:pt>
                      <c:pt idx="1204">
                        <c:v>2</c:v>
                      </c:pt>
                      <c:pt idx="1205">
                        <c:v>2</c:v>
                      </c:pt>
                      <c:pt idx="1206">
                        <c:v>2</c:v>
                      </c:pt>
                      <c:pt idx="1207">
                        <c:v>2</c:v>
                      </c:pt>
                      <c:pt idx="1208">
                        <c:v>2</c:v>
                      </c:pt>
                      <c:pt idx="1209">
                        <c:v>2</c:v>
                      </c:pt>
                      <c:pt idx="1210">
                        <c:v>2</c:v>
                      </c:pt>
                      <c:pt idx="1211">
                        <c:v>2</c:v>
                      </c:pt>
                      <c:pt idx="1212">
                        <c:v>2</c:v>
                      </c:pt>
                      <c:pt idx="1213">
                        <c:v>2</c:v>
                      </c:pt>
                      <c:pt idx="1214">
                        <c:v>2</c:v>
                      </c:pt>
                      <c:pt idx="1215">
                        <c:v>2</c:v>
                      </c:pt>
                      <c:pt idx="1216">
                        <c:v>2</c:v>
                      </c:pt>
                      <c:pt idx="1217">
                        <c:v>2</c:v>
                      </c:pt>
                      <c:pt idx="1218">
                        <c:v>2</c:v>
                      </c:pt>
                      <c:pt idx="1219">
                        <c:v>2</c:v>
                      </c:pt>
                      <c:pt idx="1220">
                        <c:v>2</c:v>
                      </c:pt>
                      <c:pt idx="1221">
                        <c:v>2</c:v>
                      </c:pt>
                      <c:pt idx="1222">
                        <c:v>2</c:v>
                      </c:pt>
                      <c:pt idx="1223">
                        <c:v>2</c:v>
                      </c:pt>
                      <c:pt idx="1224">
                        <c:v>2</c:v>
                      </c:pt>
                      <c:pt idx="1225">
                        <c:v>2</c:v>
                      </c:pt>
                      <c:pt idx="1226">
                        <c:v>2</c:v>
                      </c:pt>
                      <c:pt idx="1227">
                        <c:v>2</c:v>
                      </c:pt>
                      <c:pt idx="1228">
                        <c:v>2</c:v>
                      </c:pt>
                      <c:pt idx="1229">
                        <c:v>2</c:v>
                      </c:pt>
                      <c:pt idx="1230">
                        <c:v>2</c:v>
                      </c:pt>
                      <c:pt idx="1231">
                        <c:v>2</c:v>
                      </c:pt>
                      <c:pt idx="1232">
                        <c:v>2</c:v>
                      </c:pt>
                      <c:pt idx="1233">
                        <c:v>2</c:v>
                      </c:pt>
                      <c:pt idx="1234">
                        <c:v>2</c:v>
                      </c:pt>
                      <c:pt idx="1235">
                        <c:v>2</c:v>
                      </c:pt>
                      <c:pt idx="1236">
                        <c:v>2</c:v>
                      </c:pt>
                      <c:pt idx="1237">
                        <c:v>2</c:v>
                      </c:pt>
                      <c:pt idx="1238">
                        <c:v>2</c:v>
                      </c:pt>
                      <c:pt idx="1239">
                        <c:v>2</c:v>
                      </c:pt>
                      <c:pt idx="1240">
                        <c:v>2</c:v>
                      </c:pt>
                      <c:pt idx="1241">
                        <c:v>2</c:v>
                      </c:pt>
                      <c:pt idx="1242">
                        <c:v>2</c:v>
                      </c:pt>
                      <c:pt idx="1243">
                        <c:v>2</c:v>
                      </c:pt>
                      <c:pt idx="1244">
                        <c:v>2</c:v>
                      </c:pt>
                      <c:pt idx="1245">
                        <c:v>2</c:v>
                      </c:pt>
                      <c:pt idx="1246">
                        <c:v>2</c:v>
                      </c:pt>
                      <c:pt idx="1247">
                        <c:v>2</c:v>
                      </c:pt>
                      <c:pt idx="1248">
                        <c:v>2</c:v>
                      </c:pt>
                      <c:pt idx="1249">
                        <c:v>2</c:v>
                      </c:pt>
                      <c:pt idx="1250">
                        <c:v>2</c:v>
                      </c:pt>
                      <c:pt idx="1251">
                        <c:v>2</c:v>
                      </c:pt>
                      <c:pt idx="1252">
                        <c:v>2</c:v>
                      </c:pt>
                      <c:pt idx="1253">
                        <c:v>2</c:v>
                      </c:pt>
                      <c:pt idx="1254">
                        <c:v>2</c:v>
                      </c:pt>
                      <c:pt idx="1255">
                        <c:v>2</c:v>
                      </c:pt>
                      <c:pt idx="1256">
                        <c:v>2</c:v>
                      </c:pt>
                      <c:pt idx="1257">
                        <c:v>2</c:v>
                      </c:pt>
                      <c:pt idx="1258">
                        <c:v>2</c:v>
                      </c:pt>
                      <c:pt idx="1259">
                        <c:v>2</c:v>
                      </c:pt>
                      <c:pt idx="1260">
                        <c:v>2</c:v>
                      </c:pt>
                      <c:pt idx="1261">
                        <c:v>2</c:v>
                      </c:pt>
                      <c:pt idx="1262">
                        <c:v>2</c:v>
                      </c:pt>
                      <c:pt idx="1263">
                        <c:v>2</c:v>
                      </c:pt>
                      <c:pt idx="1264">
                        <c:v>2</c:v>
                      </c:pt>
                      <c:pt idx="1265">
                        <c:v>2</c:v>
                      </c:pt>
                      <c:pt idx="1266">
                        <c:v>2</c:v>
                      </c:pt>
                      <c:pt idx="1267">
                        <c:v>2</c:v>
                      </c:pt>
                      <c:pt idx="1268">
                        <c:v>2</c:v>
                      </c:pt>
                      <c:pt idx="1269">
                        <c:v>2</c:v>
                      </c:pt>
                      <c:pt idx="1270">
                        <c:v>2</c:v>
                      </c:pt>
                      <c:pt idx="1271">
                        <c:v>2</c:v>
                      </c:pt>
                      <c:pt idx="1272">
                        <c:v>2</c:v>
                      </c:pt>
                      <c:pt idx="1273">
                        <c:v>2</c:v>
                      </c:pt>
                      <c:pt idx="1274">
                        <c:v>2</c:v>
                      </c:pt>
                      <c:pt idx="1275">
                        <c:v>2</c:v>
                      </c:pt>
                      <c:pt idx="1276">
                        <c:v>2</c:v>
                      </c:pt>
                      <c:pt idx="1277">
                        <c:v>2</c:v>
                      </c:pt>
                      <c:pt idx="1278">
                        <c:v>2</c:v>
                      </c:pt>
                      <c:pt idx="1279">
                        <c:v>2</c:v>
                      </c:pt>
                      <c:pt idx="1280">
                        <c:v>2</c:v>
                      </c:pt>
                      <c:pt idx="1281">
                        <c:v>2</c:v>
                      </c:pt>
                      <c:pt idx="1282">
                        <c:v>2</c:v>
                      </c:pt>
                      <c:pt idx="1283">
                        <c:v>2</c:v>
                      </c:pt>
                      <c:pt idx="1284">
                        <c:v>2</c:v>
                      </c:pt>
                      <c:pt idx="1285">
                        <c:v>2</c:v>
                      </c:pt>
                      <c:pt idx="1286">
                        <c:v>2</c:v>
                      </c:pt>
                      <c:pt idx="1287">
                        <c:v>2</c:v>
                      </c:pt>
                      <c:pt idx="1288">
                        <c:v>2</c:v>
                      </c:pt>
                      <c:pt idx="1289">
                        <c:v>2</c:v>
                      </c:pt>
                      <c:pt idx="1290">
                        <c:v>2</c:v>
                      </c:pt>
                      <c:pt idx="1291">
                        <c:v>2</c:v>
                      </c:pt>
                      <c:pt idx="1292">
                        <c:v>2</c:v>
                      </c:pt>
                      <c:pt idx="1293">
                        <c:v>2</c:v>
                      </c:pt>
                      <c:pt idx="1294">
                        <c:v>2</c:v>
                      </c:pt>
                      <c:pt idx="1295">
                        <c:v>2</c:v>
                      </c:pt>
                      <c:pt idx="1296">
                        <c:v>2</c:v>
                      </c:pt>
                      <c:pt idx="1297">
                        <c:v>2</c:v>
                      </c:pt>
                      <c:pt idx="1298">
                        <c:v>2</c:v>
                      </c:pt>
                      <c:pt idx="1299">
                        <c:v>2</c:v>
                      </c:pt>
                      <c:pt idx="1300">
                        <c:v>2</c:v>
                      </c:pt>
                      <c:pt idx="1301">
                        <c:v>2</c:v>
                      </c:pt>
                      <c:pt idx="1302">
                        <c:v>2</c:v>
                      </c:pt>
                      <c:pt idx="1303">
                        <c:v>2</c:v>
                      </c:pt>
                      <c:pt idx="1304">
                        <c:v>2</c:v>
                      </c:pt>
                      <c:pt idx="1305">
                        <c:v>2</c:v>
                      </c:pt>
                      <c:pt idx="1306">
                        <c:v>2</c:v>
                      </c:pt>
                      <c:pt idx="1307">
                        <c:v>2</c:v>
                      </c:pt>
                      <c:pt idx="1308">
                        <c:v>2</c:v>
                      </c:pt>
                      <c:pt idx="1309">
                        <c:v>2</c:v>
                      </c:pt>
                      <c:pt idx="1310">
                        <c:v>2</c:v>
                      </c:pt>
                      <c:pt idx="1311">
                        <c:v>2</c:v>
                      </c:pt>
                      <c:pt idx="1312">
                        <c:v>2</c:v>
                      </c:pt>
                      <c:pt idx="1313">
                        <c:v>2</c:v>
                      </c:pt>
                      <c:pt idx="1314">
                        <c:v>2</c:v>
                      </c:pt>
                      <c:pt idx="1315">
                        <c:v>2</c:v>
                      </c:pt>
                      <c:pt idx="1316">
                        <c:v>2</c:v>
                      </c:pt>
                      <c:pt idx="1317">
                        <c:v>2</c:v>
                      </c:pt>
                      <c:pt idx="1318">
                        <c:v>2</c:v>
                      </c:pt>
                      <c:pt idx="1319">
                        <c:v>2</c:v>
                      </c:pt>
                      <c:pt idx="1320">
                        <c:v>2</c:v>
                      </c:pt>
                      <c:pt idx="1321">
                        <c:v>2</c:v>
                      </c:pt>
                      <c:pt idx="1322">
                        <c:v>2</c:v>
                      </c:pt>
                      <c:pt idx="1323">
                        <c:v>2</c:v>
                      </c:pt>
                      <c:pt idx="1324">
                        <c:v>2</c:v>
                      </c:pt>
                      <c:pt idx="1325">
                        <c:v>2</c:v>
                      </c:pt>
                      <c:pt idx="1326">
                        <c:v>2</c:v>
                      </c:pt>
                      <c:pt idx="1327">
                        <c:v>2</c:v>
                      </c:pt>
                      <c:pt idx="1328">
                        <c:v>2</c:v>
                      </c:pt>
                      <c:pt idx="1329">
                        <c:v>2</c:v>
                      </c:pt>
                      <c:pt idx="1330">
                        <c:v>2</c:v>
                      </c:pt>
                      <c:pt idx="1331">
                        <c:v>2</c:v>
                      </c:pt>
                      <c:pt idx="1332">
                        <c:v>2</c:v>
                      </c:pt>
                      <c:pt idx="1333">
                        <c:v>2</c:v>
                      </c:pt>
                      <c:pt idx="1334">
                        <c:v>2</c:v>
                      </c:pt>
                      <c:pt idx="1335">
                        <c:v>2</c:v>
                      </c:pt>
                      <c:pt idx="1336">
                        <c:v>2</c:v>
                      </c:pt>
                      <c:pt idx="1337">
                        <c:v>2</c:v>
                      </c:pt>
                      <c:pt idx="1338">
                        <c:v>2</c:v>
                      </c:pt>
                      <c:pt idx="1339">
                        <c:v>2</c:v>
                      </c:pt>
                      <c:pt idx="1340">
                        <c:v>2</c:v>
                      </c:pt>
                      <c:pt idx="1341">
                        <c:v>2</c:v>
                      </c:pt>
                      <c:pt idx="1342">
                        <c:v>2</c:v>
                      </c:pt>
                      <c:pt idx="1343">
                        <c:v>2</c:v>
                      </c:pt>
                      <c:pt idx="1344">
                        <c:v>2</c:v>
                      </c:pt>
                      <c:pt idx="1345">
                        <c:v>2</c:v>
                      </c:pt>
                      <c:pt idx="1346">
                        <c:v>2</c:v>
                      </c:pt>
                      <c:pt idx="1347">
                        <c:v>2</c:v>
                      </c:pt>
                      <c:pt idx="1348">
                        <c:v>2</c:v>
                      </c:pt>
                      <c:pt idx="1349">
                        <c:v>2</c:v>
                      </c:pt>
                      <c:pt idx="1350">
                        <c:v>2</c:v>
                      </c:pt>
                      <c:pt idx="1351">
                        <c:v>2</c:v>
                      </c:pt>
                      <c:pt idx="1352">
                        <c:v>2</c:v>
                      </c:pt>
                      <c:pt idx="1353">
                        <c:v>2</c:v>
                      </c:pt>
                      <c:pt idx="1354">
                        <c:v>2</c:v>
                      </c:pt>
                      <c:pt idx="1355">
                        <c:v>2</c:v>
                      </c:pt>
                      <c:pt idx="1356">
                        <c:v>2</c:v>
                      </c:pt>
                      <c:pt idx="1357">
                        <c:v>2</c:v>
                      </c:pt>
                      <c:pt idx="1358">
                        <c:v>2</c:v>
                      </c:pt>
                      <c:pt idx="1359">
                        <c:v>2</c:v>
                      </c:pt>
                      <c:pt idx="1360">
                        <c:v>2</c:v>
                      </c:pt>
                      <c:pt idx="1361">
                        <c:v>2</c:v>
                      </c:pt>
                      <c:pt idx="1362">
                        <c:v>2</c:v>
                      </c:pt>
                      <c:pt idx="1363">
                        <c:v>2</c:v>
                      </c:pt>
                      <c:pt idx="1364">
                        <c:v>2</c:v>
                      </c:pt>
                      <c:pt idx="1365">
                        <c:v>2</c:v>
                      </c:pt>
                      <c:pt idx="1366">
                        <c:v>2</c:v>
                      </c:pt>
                      <c:pt idx="1367">
                        <c:v>2</c:v>
                      </c:pt>
                      <c:pt idx="1368">
                        <c:v>2</c:v>
                      </c:pt>
                      <c:pt idx="1369">
                        <c:v>2</c:v>
                      </c:pt>
                      <c:pt idx="1370">
                        <c:v>2</c:v>
                      </c:pt>
                      <c:pt idx="1371">
                        <c:v>2</c:v>
                      </c:pt>
                      <c:pt idx="1372">
                        <c:v>2</c:v>
                      </c:pt>
                      <c:pt idx="1373">
                        <c:v>2</c:v>
                      </c:pt>
                      <c:pt idx="1374">
                        <c:v>2</c:v>
                      </c:pt>
                      <c:pt idx="1375">
                        <c:v>2</c:v>
                      </c:pt>
                      <c:pt idx="1376">
                        <c:v>2</c:v>
                      </c:pt>
                      <c:pt idx="1377">
                        <c:v>2</c:v>
                      </c:pt>
                      <c:pt idx="1378">
                        <c:v>2</c:v>
                      </c:pt>
                      <c:pt idx="1379">
                        <c:v>2</c:v>
                      </c:pt>
                      <c:pt idx="1380">
                        <c:v>2</c:v>
                      </c:pt>
                      <c:pt idx="1381">
                        <c:v>2</c:v>
                      </c:pt>
                      <c:pt idx="1382">
                        <c:v>2</c:v>
                      </c:pt>
                      <c:pt idx="1383">
                        <c:v>2</c:v>
                      </c:pt>
                      <c:pt idx="1384">
                        <c:v>2</c:v>
                      </c:pt>
                      <c:pt idx="1385">
                        <c:v>2</c:v>
                      </c:pt>
                      <c:pt idx="1386">
                        <c:v>2</c:v>
                      </c:pt>
                      <c:pt idx="1387">
                        <c:v>2</c:v>
                      </c:pt>
                      <c:pt idx="1388">
                        <c:v>2</c:v>
                      </c:pt>
                      <c:pt idx="1389">
                        <c:v>2</c:v>
                      </c:pt>
                      <c:pt idx="1390">
                        <c:v>2</c:v>
                      </c:pt>
                      <c:pt idx="1391">
                        <c:v>2</c:v>
                      </c:pt>
                      <c:pt idx="1392">
                        <c:v>2</c:v>
                      </c:pt>
                      <c:pt idx="1393">
                        <c:v>2</c:v>
                      </c:pt>
                      <c:pt idx="1394">
                        <c:v>2</c:v>
                      </c:pt>
                      <c:pt idx="1395">
                        <c:v>2</c:v>
                      </c:pt>
                      <c:pt idx="1396">
                        <c:v>2</c:v>
                      </c:pt>
                      <c:pt idx="1397">
                        <c:v>2</c:v>
                      </c:pt>
                      <c:pt idx="1398">
                        <c:v>2</c:v>
                      </c:pt>
                      <c:pt idx="1399">
                        <c:v>2</c:v>
                      </c:pt>
                      <c:pt idx="1400">
                        <c:v>2</c:v>
                      </c:pt>
                      <c:pt idx="1401">
                        <c:v>2</c:v>
                      </c:pt>
                      <c:pt idx="1402">
                        <c:v>2</c:v>
                      </c:pt>
                      <c:pt idx="1403">
                        <c:v>2</c:v>
                      </c:pt>
                      <c:pt idx="1404">
                        <c:v>2</c:v>
                      </c:pt>
                      <c:pt idx="1405">
                        <c:v>2</c:v>
                      </c:pt>
                      <c:pt idx="1406">
                        <c:v>2</c:v>
                      </c:pt>
                      <c:pt idx="1407">
                        <c:v>2</c:v>
                      </c:pt>
                      <c:pt idx="1408">
                        <c:v>2</c:v>
                      </c:pt>
                      <c:pt idx="1409">
                        <c:v>2</c:v>
                      </c:pt>
                      <c:pt idx="1410">
                        <c:v>2</c:v>
                      </c:pt>
                      <c:pt idx="1411">
                        <c:v>2</c:v>
                      </c:pt>
                      <c:pt idx="1412">
                        <c:v>2</c:v>
                      </c:pt>
                      <c:pt idx="1413">
                        <c:v>2</c:v>
                      </c:pt>
                      <c:pt idx="1414">
                        <c:v>2</c:v>
                      </c:pt>
                      <c:pt idx="1415">
                        <c:v>2</c:v>
                      </c:pt>
                      <c:pt idx="1416">
                        <c:v>2</c:v>
                      </c:pt>
                      <c:pt idx="1417">
                        <c:v>2</c:v>
                      </c:pt>
                      <c:pt idx="1418">
                        <c:v>2</c:v>
                      </c:pt>
                      <c:pt idx="1419">
                        <c:v>2</c:v>
                      </c:pt>
                      <c:pt idx="1420">
                        <c:v>2</c:v>
                      </c:pt>
                      <c:pt idx="1421">
                        <c:v>2</c:v>
                      </c:pt>
                      <c:pt idx="1422">
                        <c:v>2</c:v>
                      </c:pt>
                      <c:pt idx="1423">
                        <c:v>2</c:v>
                      </c:pt>
                      <c:pt idx="1424">
                        <c:v>2</c:v>
                      </c:pt>
                      <c:pt idx="1425">
                        <c:v>2</c:v>
                      </c:pt>
                      <c:pt idx="1426">
                        <c:v>2</c:v>
                      </c:pt>
                      <c:pt idx="1427">
                        <c:v>2</c:v>
                      </c:pt>
                      <c:pt idx="1428">
                        <c:v>2</c:v>
                      </c:pt>
                      <c:pt idx="1429">
                        <c:v>2</c:v>
                      </c:pt>
                      <c:pt idx="1430">
                        <c:v>2</c:v>
                      </c:pt>
                      <c:pt idx="1431">
                        <c:v>2</c:v>
                      </c:pt>
                      <c:pt idx="1432">
                        <c:v>2</c:v>
                      </c:pt>
                      <c:pt idx="1433">
                        <c:v>2</c:v>
                      </c:pt>
                      <c:pt idx="1434">
                        <c:v>2</c:v>
                      </c:pt>
                      <c:pt idx="1435">
                        <c:v>2</c:v>
                      </c:pt>
                      <c:pt idx="1436">
                        <c:v>2</c:v>
                      </c:pt>
                      <c:pt idx="1437">
                        <c:v>2</c:v>
                      </c:pt>
                      <c:pt idx="1438">
                        <c:v>2</c:v>
                      </c:pt>
                      <c:pt idx="1439">
                        <c:v>2</c:v>
                      </c:pt>
                      <c:pt idx="1440">
                        <c:v>2</c:v>
                      </c:pt>
                      <c:pt idx="1441">
                        <c:v>2</c:v>
                      </c:pt>
                      <c:pt idx="1442">
                        <c:v>2</c:v>
                      </c:pt>
                      <c:pt idx="1443">
                        <c:v>2</c:v>
                      </c:pt>
                      <c:pt idx="1444">
                        <c:v>2</c:v>
                      </c:pt>
                      <c:pt idx="1445">
                        <c:v>2</c:v>
                      </c:pt>
                      <c:pt idx="1446">
                        <c:v>2</c:v>
                      </c:pt>
                      <c:pt idx="1447">
                        <c:v>2</c:v>
                      </c:pt>
                      <c:pt idx="1448">
                        <c:v>2</c:v>
                      </c:pt>
                      <c:pt idx="1449">
                        <c:v>2</c:v>
                      </c:pt>
                      <c:pt idx="1450">
                        <c:v>2</c:v>
                      </c:pt>
                      <c:pt idx="1451">
                        <c:v>2</c:v>
                      </c:pt>
                      <c:pt idx="1452">
                        <c:v>2</c:v>
                      </c:pt>
                      <c:pt idx="1453">
                        <c:v>2</c:v>
                      </c:pt>
                      <c:pt idx="1454">
                        <c:v>2</c:v>
                      </c:pt>
                      <c:pt idx="1455">
                        <c:v>2</c:v>
                      </c:pt>
                      <c:pt idx="1456">
                        <c:v>2</c:v>
                      </c:pt>
                      <c:pt idx="1457">
                        <c:v>2</c:v>
                      </c:pt>
                      <c:pt idx="1458">
                        <c:v>2</c:v>
                      </c:pt>
                      <c:pt idx="1459">
                        <c:v>2</c:v>
                      </c:pt>
                      <c:pt idx="1460">
                        <c:v>2</c:v>
                      </c:pt>
                      <c:pt idx="1461">
                        <c:v>2</c:v>
                      </c:pt>
                      <c:pt idx="1462">
                        <c:v>2</c:v>
                      </c:pt>
                      <c:pt idx="1463">
                        <c:v>2</c:v>
                      </c:pt>
                      <c:pt idx="1464">
                        <c:v>2</c:v>
                      </c:pt>
                      <c:pt idx="1465">
                        <c:v>2</c:v>
                      </c:pt>
                      <c:pt idx="1466">
                        <c:v>2</c:v>
                      </c:pt>
                      <c:pt idx="1467">
                        <c:v>2</c:v>
                      </c:pt>
                      <c:pt idx="1468">
                        <c:v>2</c:v>
                      </c:pt>
                      <c:pt idx="1469">
                        <c:v>2</c:v>
                      </c:pt>
                      <c:pt idx="1470">
                        <c:v>2</c:v>
                      </c:pt>
                      <c:pt idx="1471">
                        <c:v>2</c:v>
                      </c:pt>
                      <c:pt idx="1472">
                        <c:v>2</c:v>
                      </c:pt>
                      <c:pt idx="1473">
                        <c:v>2</c:v>
                      </c:pt>
                      <c:pt idx="1474">
                        <c:v>2</c:v>
                      </c:pt>
                      <c:pt idx="1475">
                        <c:v>2</c:v>
                      </c:pt>
                      <c:pt idx="1476">
                        <c:v>2</c:v>
                      </c:pt>
                      <c:pt idx="1477">
                        <c:v>2</c:v>
                      </c:pt>
                      <c:pt idx="1478">
                        <c:v>2</c:v>
                      </c:pt>
                      <c:pt idx="1479">
                        <c:v>2</c:v>
                      </c:pt>
                      <c:pt idx="1480">
                        <c:v>2</c:v>
                      </c:pt>
                      <c:pt idx="1481">
                        <c:v>2</c:v>
                      </c:pt>
                      <c:pt idx="1482">
                        <c:v>2</c:v>
                      </c:pt>
                      <c:pt idx="1483">
                        <c:v>2</c:v>
                      </c:pt>
                      <c:pt idx="1484">
                        <c:v>2</c:v>
                      </c:pt>
                      <c:pt idx="1485">
                        <c:v>2</c:v>
                      </c:pt>
                      <c:pt idx="1486">
                        <c:v>2</c:v>
                      </c:pt>
                      <c:pt idx="1487">
                        <c:v>2</c:v>
                      </c:pt>
                      <c:pt idx="1488">
                        <c:v>2</c:v>
                      </c:pt>
                      <c:pt idx="1489">
                        <c:v>2</c:v>
                      </c:pt>
                      <c:pt idx="1490">
                        <c:v>2</c:v>
                      </c:pt>
                      <c:pt idx="1491">
                        <c:v>2</c:v>
                      </c:pt>
                      <c:pt idx="1492">
                        <c:v>2</c:v>
                      </c:pt>
                      <c:pt idx="1493">
                        <c:v>2</c:v>
                      </c:pt>
                      <c:pt idx="1494">
                        <c:v>2</c:v>
                      </c:pt>
                      <c:pt idx="1495">
                        <c:v>2</c:v>
                      </c:pt>
                      <c:pt idx="1496">
                        <c:v>2</c:v>
                      </c:pt>
                      <c:pt idx="1497">
                        <c:v>2</c:v>
                      </c:pt>
                      <c:pt idx="1498">
                        <c:v>2</c:v>
                      </c:pt>
                      <c:pt idx="1499">
                        <c:v>2</c:v>
                      </c:pt>
                      <c:pt idx="1500">
                        <c:v>2</c:v>
                      </c:pt>
                      <c:pt idx="1501">
                        <c:v>2</c:v>
                      </c:pt>
                      <c:pt idx="1502">
                        <c:v>2</c:v>
                      </c:pt>
                      <c:pt idx="1503">
                        <c:v>2</c:v>
                      </c:pt>
                      <c:pt idx="1504">
                        <c:v>2</c:v>
                      </c:pt>
                      <c:pt idx="1505">
                        <c:v>2</c:v>
                      </c:pt>
                      <c:pt idx="1506">
                        <c:v>2</c:v>
                      </c:pt>
                      <c:pt idx="1507">
                        <c:v>2</c:v>
                      </c:pt>
                      <c:pt idx="1508">
                        <c:v>2</c:v>
                      </c:pt>
                      <c:pt idx="1509">
                        <c:v>2</c:v>
                      </c:pt>
                      <c:pt idx="1510">
                        <c:v>2</c:v>
                      </c:pt>
                      <c:pt idx="1511">
                        <c:v>2</c:v>
                      </c:pt>
                      <c:pt idx="1512">
                        <c:v>2</c:v>
                      </c:pt>
                      <c:pt idx="1513">
                        <c:v>2</c:v>
                      </c:pt>
                      <c:pt idx="1514">
                        <c:v>2</c:v>
                      </c:pt>
                      <c:pt idx="1515">
                        <c:v>2</c:v>
                      </c:pt>
                      <c:pt idx="1516">
                        <c:v>2</c:v>
                      </c:pt>
                      <c:pt idx="1517">
                        <c:v>2</c:v>
                      </c:pt>
                      <c:pt idx="1518">
                        <c:v>2</c:v>
                      </c:pt>
                      <c:pt idx="1519">
                        <c:v>2</c:v>
                      </c:pt>
                      <c:pt idx="1520">
                        <c:v>2</c:v>
                      </c:pt>
                      <c:pt idx="1521">
                        <c:v>2</c:v>
                      </c:pt>
                      <c:pt idx="1522">
                        <c:v>2</c:v>
                      </c:pt>
                      <c:pt idx="1523">
                        <c:v>2</c:v>
                      </c:pt>
                      <c:pt idx="1524">
                        <c:v>2</c:v>
                      </c:pt>
                      <c:pt idx="1525">
                        <c:v>2</c:v>
                      </c:pt>
                      <c:pt idx="1526">
                        <c:v>2</c:v>
                      </c:pt>
                      <c:pt idx="1527">
                        <c:v>2</c:v>
                      </c:pt>
                      <c:pt idx="1528">
                        <c:v>2</c:v>
                      </c:pt>
                      <c:pt idx="1529">
                        <c:v>2</c:v>
                      </c:pt>
                      <c:pt idx="1530">
                        <c:v>2</c:v>
                      </c:pt>
                      <c:pt idx="1531">
                        <c:v>2</c:v>
                      </c:pt>
                      <c:pt idx="1532">
                        <c:v>2</c:v>
                      </c:pt>
                      <c:pt idx="1533">
                        <c:v>2</c:v>
                      </c:pt>
                      <c:pt idx="1534">
                        <c:v>2</c:v>
                      </c:pt>
                      <c:pt idx="1535">
                        <c:v>2</c:v>
                      </c:pt>
                      <c:pt idx="1536">
                        <c:v>2</c:v>
                      </c:pt>
                      <c:pt idx="1537">
                        <c:v>2</c:v>
                      </c:pt>
                      <c:pt idx="1538">
                        <c:v>2</c:v>
                      </c:pt>
                      <c:pt idx="1539">
                        <c:v>2</c:v>
                      </c:pt>
                      <c:pt idx="1540">
                        <c:v>2</c:v>
                      </c:pt>
                      <c:pt idx="1541">
                        <c:v>2</c:v>
                      </c:pt>
                      <c:pt idx="1542">
                        <c:v>2</c:v>
                      </c:pt>
                      <c:pt idx="1543">
                        <c:v>2</c:v>
                      </c:pt>
                      <c:pt idx="1544">
                        <c:v>2</c:v>
                      </c:pt>
                      <c:pt idx="1545">
                        <c:v>2</c:v>
                      </c:pt>
                      <c:pt idx="1546">
                        <c:v>2</c:v>
                      </c:pt>
                      <c:pt idx="1547">
                        <c:v>2</c:v>
                      </c:pt>
                      <c:pt idx="1548">
                        <c:v>2</c:v>
                      </c:pt>
                      <c:pt idx="1549">
                        <c:v>2</c:v>
                      </c:pt>
                      <c:pt idx="1550">
                        <c:v>2</c:v>
                      </c:pt>
                      <c:pt idx="1551">
                        <c:v>2</c:v>
                      </c:pt>
                      <c:pt idx="1552">
                        <c:v>2</c:v>
                      </c:pt>
                      <c:pt idx="1553">
                        <c:v>2</c:v>
                      </c:pt>
                      <c:pt idx="1554">
                        <c:v>2</c:v>
                      </c:pt>
                      <c:pt idx="1555">
                        <c:v>2</c:v>
                      </c:pt>
                      <c:pt idx="1556">
                        <c:v>2</c:v>
                      </c:pt>
                      <c:pt idx="1557">
                        <c:v>2</c:v>
                      </c:pt>
                      <c:pt idx="1558">
                        <c:v>2</c:v>
                      </c:pt>
                      <c:pt idx="1559">
                        <c:v>2</c:v>
                      </c:pt>
                      <c:pt idx="1560">
                        <c:v>2</c:v>
                      </c:pt>
                      <c:pt idx="1561">
                        <c:v>2</c:v>
                      </c:pt>
                      <c:pt idx="1562">
                        <c:v>2</c:v>
                      </c:pt>
                      <c:pt idx="1563">
                        <c:v>2</c:v>
                      </c:pt>
                      <c:pt idx="1564">
                        <c:v>2</c:v>
                      </c:pt>
                      <c:pt idx="1565">
                        <c:v>2</c:v>
                      </c:pt>
                      <c:pt idx="1566">
                        <c:v>2</c:v>
                      </c:pt>
                      <c:pt idx="1567">
                        <c:v>2</c:v>
                      </c:pt>
                      <c:pt idx="1568">
                        <c:v>2</c:v>
                      </c:pt>
                      <c:pt idx="1569">
                        <c:v>2</c:v>
                      </c:pt>
                      <c:pt idx="1570">
                        <c:v>2</c:v>
                      </c:pt>
                      <c:pt idx="1571">
                        <c:v>2</c:v>
                      </c:pt>
                      <c:pt idx="1572">
                        <c:v>2</c:v>
                      </c:pt>
                      <c:pt idx="1573">
                        <c:v>2</c:v>
                      </c:pt>
                      <c:pt idx="1574">
                        <c:v>2</c:v>
                      </c:pt>
                      <c:pt idx="1575">
                        <c:v>2</c:v>
                      </c:pt>
                      <c:pt idx="1576">
                        <c:v>2</c:v>
                      </c:pt>
                      <c:pt idx="1577">
                        <c:v>2</c:v>
                      </c:pt>
                      <c:pt idx="1578">
                        <c:v>2</c:v>
                      </c:pt>
                      <c:pt idx="1579">
                        <c:v>2</c:v>
                      </c:pt>
                      <c:pt idx="1580">
                        <c:v>2</c:v>
                      </c:pt>
                      <c:pt idx="1581">
                        <c:v>2</c:v>
                      </c:pt>
                      <c:pt idx="1582">
                        <c:v>2</c:v>
                      </c:pt>
                      <c:pt idx="1583">
                        <c:v>2</c:v>
                      </c:pt>
                      <c:pt idx="1584">
                        <c:v>2</c:v>
                      </c:pt>
                      <c:pt idx="1585">
                        <c:v>2</c:v>
                      </c:pt>
                      <c:pt idx="1586">
                        <c:v>2</c:v>
                      </c:pt>
                      <c:pt idx="1587">
                        <c:v>2</c:v>
                      </c:pt>
                      <c:pt idx="1588">
                        <c:v>2</c:v>
                      </c:pt>
                      <c:pt idx="1589">
                        <c:v>2</c:v>
                      </c:pt>
                      <c:pt idx="1590">
                        <c:v>2</c:v>
                      </c:pt>
                      <c:pt idx="1591">
                        <c:v>2</c:v>
                      </c:pt>
                      <c:pt idx="1592">
                        <c:v>2</c:v>
                      </c:pt>
                      <c:pt idx="1593">
                        <c:v>2</c:v>
                      </c:pt>
                      <c:pt idx="1594">
                        <c:v>2</c:v>
                      </c:pt>
                      <c:pt idx="1595">
                        <c:v>2</c:v>
                      </c:pt>
                      <c:pt idx="1596">
                        <c:v>2</c:v>
                      </c:pt>
                      <c:pt idx="1597">
                        <c:v>2</c:v>
                      </c:pt>
                      <c:pt idx="1598">
                        <c:v>2</c:v>
                      </c:pt>
                      <c:pt idx="1599">
                        <c:v>2</c:v>
                      </c:pt>
                      <c:pt idx="1600">
                        <c:v>2</c:v>
                      </c:pt>
                      <c:pt idx="1601">
                        <c:v>2</c:v>
                      </c:pt>
                      <c:pt idx="1602">
                        <c:v>2</c:v>
                      </c:pt>
                      <c:pt idx="1603">
                        <c:v>2</c:v>
                      </c:pt>
                      <c:pt idx="1604">
                        <c:v>2</c:v>
                      </c:pt>
                      <c:pt idx="1605">
                        <c:v>2</c:v>
                      </c:pt>
                      <c:pt idx="1606">
                        <c:v>2</c:v>
                      </c:pt>
                      <c:pt idx="1607">
                        <c:v>2</c:v>
                      </c:pt>
                      <c:pt idx="1608">
                        <c:v>2</c:v>
                      </c:pt>
                      <c:pt idx="1609">
                        <c:v>2</c:v>
                      </c:pt>
                      <c:pt idx="1610">
                        <c:v>2</c:v>
                      </c:pt>
                      <c:pt idx="1611">
                        <c:v>2</c:v>
                      </c:pt>
                      <c:pt idx="1612">
                        <c:v>2</c:v>
                      </c:pt>
                      <c:pt idx="1613">
                        <c:v>2</c:v>
                      </c:pt>
                      <c:pt idx="1614">
                        <c:v>2</c:v>
                      </c:pt>
                      <c:pt idx="1615">
                        <c:v>2</c:v>
                      </c:pt>
                      <c:pt idx="1616">
                        <c:v>2</c:v>
                      </c:pt>
                      <c:pt idx="1617">
                        <c:v>2</c:v>
                      </c:pt>
                      <c:pt idx="1618">
                        <c:v>2</c:v>
                      </c:pt>
                      <c:pt idx="1619">
                        <c:v>2</c:v>
                      </c:pt>
                      <c:pt idx="1620">
                        <c:v>2</c:v>
                      </c:pt>
                      <c:pt idx="1621">
                        <c:v>2</c:v>
                      </c:pt>
                      <c:pt idx="1622">
                        <c:v>2</c:v>
                      </c:pt>
                      <c:pt idx="1623">
                        <c:v>2</c:v>
                      </c:pt>
                      <c:pt idx="1624">
                        <c:v>2</c:v>
                      </c:pt>
                      <c:pt idx="1625">
                        <c:v>2</c:v>
                      </c:pt>
                      <c:pt idx="1626">
                        <c:v>2</c:v>
                      </c:pt>
                      <c:pt idx="1627">
                        <c:v>2</c:v>
                      </c:pt>
                      <c:pt idx="1628">
                        <c:v>2</c:v>
                      </c:pt>
                      <c:pt idx="1629">
                        <c:v>2</c:v>
                      </c:pt>
                      <c:pt idx="1630">
                        <c:v>2</c:v>
                      </c:pt>
                      <c:pt idx="1631">
                        <c:v>2</c:v>
                      </c:pt>
                      <c:pt idx="1632">
                        <c:v>2</c:v>
                      </c:pt>
                      <c:pt idx="1633">
                        <c:v>2</c:v>
                      </c:pt>
                      <c:pt idx="1634">
                        <c:v>2</c:v>
                      </c:pt>
                      <c:pt idx="1635">
                        <c:v>2</c:v>
                      </c:pt>
                      <c:pt idx="1636">
                        <c:v>2</c:v>
                      </c:pt>
                      <c:pt idx="1637">
                        <c:v>2</c:v>
                      </c:pt>
                      <c:pt idx="1638">
                        <c:v>2</c:v>
                      </c:pt>
                      <c:pt idx="1639">
                        <c:v>2</c:v>
                      </c:pt>
                      <c:pt idx="1640">
                        <c:v>2</c:v>
                      </c:pt>
                      <c:pt idx="1641">
                        <c:v>2</c:v>
                      </c:pt>
                      <c:pt idx="1642">
                        <c:v>2</c:v>
                      </c:pt>
                      <c:pt idx="1643">
                        <c:v>2</c:v>
                      </c:pt>
                      <c:pt idx="1644">
                        <c:v>2</c:v>
                      </c:pt>
                      <c:pt idx="1645">
                        <c:v>2</c:v>
                      </c:pt>
                      <c:pt idx="1646">
                        <c:v>2</c:v>
                      </c:pt>
                      <c:pt idx="1647">
                        <c:v>2</c:v>
                      </c:pt>
                      <c:pt idx="1648">
                        <c:v>2</c:v>
                      </c:pt>
                      <c:pt idx="1649">
                        <c:v>2</c:v>
                      </c:pt>
                      <c:pt idx="1650">
                        <c:v>2</c:v>
                      </c:pt>
                      <c:pt idx="1651">
                        <c:v>2</c:v>
                      </c:pt>
                      <c:pt idx="1652">
                        <c:v>2</c:v>
                      </c:pt>
                      <c:pt idx="1653">
                        <c:v>2</c:v>
                      </c:pt>
                      <c:pt idx="1654">
                        <c:v>2</c:v>
                      </c:pt>
                      <c:pt idx="1655">
                        <c:v>2</c:v>
                      </c:pt>
                      <c:pt idx="1656">
                        <c:v>2</c:v>
                      </c:pt>
                      <c:pt idx="1657">
                        <c:v>2</c:v>
                      </c:pt>
                      <c:pt idx="1658">
                        <c:v>2</c:v>
                      </c:pt>
                      <c:pt idx="1659">
                        <c:v>2</c:v>
                      </c:pt>
                      <c:pt idx="1660">
                        <c:v>2</c:v>
                      </c:pt>
                      <c:pt idx="1661">
                        <c:v>2</c:v>
                      </c:pt>
                      <c:pt idx="1662">
                        <c:v>2</c:v>
                      </c:pt>
                      <c:pt idx="1663">
                        <c:v>2</c:v>
                      </c:pt>
                      <c:pt idx="1664">
                        <c:v>2</c:v>
                      </c:pt>
                      <c:pt idx="1665">
                        <c:v>2</c:v>
                      </c:pt>
                      <c:pt idx="1666">
                        <c:v>2</c:v>
                      </c:pt>
                      <c:pt idx="1667">
                        <c:v>2</c:v>
                      </c:pt>
                      <c:pt idx="1668">
                        <c:v>2</c:v>
                      </c:pt>
                      <c:pt idx="1669">
                        <c:v>2</c:v>
                      </c:pt>
                      <c:pt idx="1670">
                        <c:v>2</c:v>
                      </c:pt>
                      <c:pt idx="1671">
                        <c:v>2</c:v>
                      </c:pt>
                      <c:pt idx="1672">
                        <c:v>2</c:v>
                      </c:pt>
                      <c:pt idx="1673">
                        <c:v>1.964695173</c:v>
                      </c:pt>
                      <c:pt idx="1674">
                        <c:v>1.9301971130000002</c:v>
                      </c:pt>
                      <c:pt idx="1675">
                        <c:v>1.859605</c:v>
                      </c:pt>
                      <c:pt idx="1676">
                        <c:v>1.4229270000000001</c:v>
                      </c:pt>
                      <c:pt idx="1677">
                        <c:v>0.35224319999999998</c:v>
                      </c:pt>
                      <c:pt idx="1678">
                        <c:v>0</c:v>
                      </c:pt>
                      <c:pt idx="1679">
                        <c:v>0</c:v>
                      </c:pt>
                      <c:pt idx="1680">
                        <c:v>0</c:v>
                      </c:pt>
                      <c:pt idx="1681">
                        <c:v>0</c:v>
                      </c:pt>
                      <c:pt idx="1682">
                        <c:v>0</c:v>
                      </c:pt>
                      <c:pt idx="1683">
                        <c:v>0</c:v>
                      </c:pt>
                      <c:pt idx="1684">
                        <c:v>0</c:v>
                      </c:pt>
                      <c:pt idx="1685">
                        <c:v>0</c:v>
                      </c:pt>
                      <c:pt idx="1686">
                        <c:v>0</c:v>
                      </c:pt>
                      <c:pt idx="1687">
                        <c:v>0</c:v>
                      </c:pt>
                      <c:pt idx="1688">
                        <c:v>0</c:v>
                      </c:pt>
                      <c:pt idx="1689">
                        <c:v>0</c:v>
                      </c:pt>
                      <c:pt idx="1690">
                        <c:v>0</c:v>
                      </c:pt>
                      <c:pt idx="1691">
                        <c:v>0</c:v>
                      </c:pt>
                      <c:pt idx="1692">
                        <c:v>0</c:v>
                      </c:pt>
                      <c:pt idx="1693">
                        <c:v>0</c:v>
                      </c:pt>
                      <c:pt idx="1694">
                        <c:v>0</c:v>
                      </c:pt>
                      <c:pt idx="1695">
                        <c:v>0</c:v>
                      </c:pt>
                      <c:pt idx="1696">
                        <c:v>0</c:v>
                      </c:pt>
                      <c:pt idx="1697">
                        <c:v>0</c:v>
                      </c:pt>
                      <c:pt idx="1698">
                        <c:v>0</c:v>
                      </c:pt>
                      <c:pt idx="1699">
                        <c:v>0</c:v>
                      </c:pt>
                      <c:pt idx="1700">
                        <c:v>0</c:v>
                      </c:pt>
                      <c:pt idx="1701">
                        <c:v>0</c:v>
                      </c:pt>
                      <c:pt idx="1702">
                        <c:v>0</c:v>
                      </c:pt>
                      <c:pt idx="1703">
                        <c:v>0</c:v>
                      </c:pt>
                      <c:pt idx="1704">
                        <c:v>0</c:v>
                      </c:pt>
                      <c:pt idx="1705">
                        <c:v>0</c:v>
                      </c:pt>
                      <c:pt idx="1706">
                        <c:v>0</c:v>
                      </c:pt>
                      <c:pt idx="1707">
                        <c:v>0</c:v>
                      </c:pt>
                      <c:pt idx="1708">
                        <c:v>0</c:v>
                      </c:pt>
                      <c:pt idx="1709">
                        <c:v>0</c:v>
                      </c:pt>
                      <c:pt idx="1710">
                        <c:v>0</c:v>
                      </c:pt>
                      <c:pt idx="1711">
                        <c:v>0</c:v>
                      </c:pt>
                      <c:pt idx="1712">
                        <c:v>0</c:v>
                      </c:pt>
                      <c:pt idx="1713">
                        <c:v>0</c:v>
                      </c:pt>
                      <c:pt idx="1714">
                        <c:v>0</c:v>
                      </c:pt>
                      <c:pt idx="1715">
                        <c:v>0</c:v>
                      </c:pt>
                      <c:pt idx="1716">
                        <c:v>7.7408323129999998E-2</c:v>
                      </c:pt>
                      <c:pt idx="1717">
                        <c:v>0.11642258379999999</c:v>
                      </c:pt>
                      <c:pt idx="1718">
                        <c:v>0.194141006</c:v>
                      </c:pt>
                      <c:pt idx="1719">
                        <c:v>0.20563402830000002</c:v>
                      </c:pt>
                      <c:pt idx="1720">
                        <c:v>0.23284516750000001</c:v>
                      </c:pt>
                      <c:pt idx="1721">
                        <c:v>0.31025349060000001</c:v>
                      </c:pt>
                      <c:pt idx="1722">
                        <c:v>0.34835683840000004</c:v>
                      </c:pt>
                      <c:pt idx="1723">
                        <c:v>0.38706099999999999</c:v>
                      </c:pt>
                      <c:pt idx="1724">
                        <c:v>1.9852650000000001</c:v>
                      </c:pt>
                      <c:pt idx="1725">
                        <c:v>1.99809828</c:v>
                      </c:pt>
                      <c:pt idx="1726">
                        <c:v>2</c:v>
                      </c:pt>
                      <c:pt idx="1727">
                        <c:v>1.9867672440000002</c:v>
                      </c:pt>
                      <c:pt idx="1728">
                        <c:v>1.9736405099999998</c:v>
                      </c:pt>
                      <c:pt idx="1729">
                        <c:v>1.960407754</c:v>
                      </c:pt>
                      <c:pt idx="1730">
                        <c:v>1.9469695809999998</c:v>
                      </c:pt>
                      <c:pt idx="1731">
                        <c:v>1.933630805</c:v>
                      </c:pt>
                      <c:pt idx="1732">
                        <c:v>1.9205040690000001</c:v>
                      </c:pt>
                      <c:pt idx="1733">
                        <c:v>1.9164686420000001</c:v>
                      </c:pt>
                      <c:pt idx="1734">
                        <c:v>1.9072713129999999</c:v>
                      </c:pt>
                      <c:pt idx="1735">
                        <c:v>1.894137953</c:v>
                      </c:pt>
                      <c:pt idx="1736">
                        <c:v>1.801197224</c:v>
                      </c:pt>
                      <c:pt idx="1737">
                        <c:v>1.7881765089999999</c:v>
                      </c:pt>
                      <c:pt idx="1738">
                        <c:v>1.7748377319999999</c:v>
                      </c:pt>
                      <c:pt idx="1739">
                        <c:v>1.7616049760000001</c:v>
                      </c:pt>
                      <c:pt idx="1740">
                        <c:v>1.7481668049999999</c:v>
                      </c:pt>
                      <c:pt idx="1741">
                        <c:v>1.7351394640000002</c:v>
                      </c:pt>
                      <c:pt idx="1742">
                        <c:v>1.7215952720000001</c:v>
                      </c:pt>
                      <c:pt idx="1743">
                        <c:v>1.708362516</c:v>
                      </c:pt>
                      <c:pt idx="1744">
                        <c:v>1.6951297600000002</c:v>
                      </c:pt>
                      <c:pt idx="1745">
                        <c:v>1.6818970039999999</c:v>
                      </c:pt>
                      <c:pt idx="1746">
                        <c:v>1.6686642459999999</c:v>
                      </c:pt>
                      <c:pt idx="1747">
                        <c:v>1.65543149</c:v>
                      </c:pt>
                      <c:pt idx="1748">
                        <c:v>1.6423047560000001</c:v>
                      </c:pt>
                      <c:pt idx="1749">
                        <c:v>1.6290719999999999</c:v>
                      </c:pt>
                      <c:pt idx="1750">
                        <c:v>0.80283127850000002</c:v>
                      </c:pt>
                      <c:pt idx="1751">
                        <c:v>1.8503009999999999E-3</c:v>
                      </c:pt>
                      <c:pt idx="1752">
                        <c:v>2.0377955199999999E-3</c:v>
                      </c:pt>
                      <c:pt idx="1753">
                        <c:v>2.2224239800000003E-3</c:v>
                      </c:pt>
                      <c:pt idx="1754">
                        <c:v>2.4085316900000001E-3</c:v>
                      </c:pt>
                      <c:pt idx="1755">
                        <c:v>2.59316015E-3</c:v>
                      </c:pt>
                      <c:pt idx="1756">
                        <c:v>2.7777886200000003E-3</c:v>
                      </c:pt>
                      <c:pt idx="1757">
                        <c:v>2.9624170799999999E-3</c:v>
                      </c:pt>
                      <c:pt idx="1758">
                        <c:v>3.3331532600000004E-3</c:v>
                      </c:pt>
                      <c:pt idx="1759">
                        <c:v>3.5177817199999999E-3</c:v>
                      </c:pt>
                      <c:pt idx="1760">
                        <c:v>3.8855593999999999E-3</c:v>
                      </c:pt>
                      <c:pt idx="1761">
                        <c:v>4.0716671099999997E-3</c:v>
                      </c:pt>
                      <c:pt idx="1762">
                        <c:v>4.4394448100000001E-3</c:v>
                      </c:pt>
                      <c:pt idx="1763">
                        <c:v>4.6269392999999997E-3</c:v>
                      </c:pt>
                      <c:pt idx="1764">
                        <c:v>4.80870173E-3</c:v>
                      </c:pt>
                      <c:pt idx="1765">
                        <c:v>5.1823039400000007E-3</c:v>
                      </c:pt>
                      <c:pt idx="1766">
                        <c:v>5.54869484E-3</c:v>
                      </c:pt>
                      <c:pt idx="1767">
                        <c:v>5.7390553800000001E-3</c:v>
                      </c:pt>
                      <c:pt idx="1768">
                        <c:v>6.1083123099999999E-3</c:v>
                      </c:pt>
                      <c:pt idx="1769">
                        <c:v>6.4732239499999998E-3</c:v>
                      </c:pt>
                      <c:pt idx="1770">
                        <c:v>6.6608109199999994E-3</c:v>
                      </c:pt>
                      <c:pt idx="1771">
                        <c:v>7.0285885899999999E-3</c:v>
                      </c:pt>
                      <c:pt idx="1772">
                        <c:v>7.2160831100000003E-3</c:v>
                      </c:pt>
                      <c:pt idx="1773">
                        <c:v>7.3978455200000006E-3</c:v>
                      </c:pt>
                      <c:pt idx="1774">
                        <c:v>8.3224671100000005E-3</c:v>
                      </c:pt>
                      <c:pt idx="1775">
                        <c:v>8.5113484000000003E-3</c:v>
                      </c:pt>
                      <c:pt idx="1776">
                        <c:v>8.8806053299999993E-3</c:v>
                      </c:pt>
                      <c:pt idx="1777">
                        <c:v>9.0652337900000001E-3</c:v>
                      </c:pt>
                      <c:pt idx="1778">
                        <c:v>9.24986226E-3</c:v>
                      </c:pt>
                      <c:pt idx="1779">
                        <c:v>9.4331039399999997E-3</c:v>
                      </c:pt>
                      <c:pt idx="1780">
                        <c:v>9.6205984300000002E-3</c:v>
                      </c:pt>
                      <c:pt idx="1781">
                        <c:v>9.8052268899999993E-3</c:v>
                      </c:pt>
                      <c:pt idx="1782">
                        <c:v>1.017161779E-2</c:v>
                      </c:pt>
                      <c:pt idx="1783">
                        <c:v>1.0359112280000001E-2</c:v>
                      </c:pt>
                      <c:pt idx="1784">
                        <c:v>1.072984846E-2</c:v>
                      </c:pt>
                      <c:pt idx="1785">
                        <c:v>1.0914476939999999E-2</c:v>
                      </c:pt>
                      <c:pt idx="1786">
                        <c:v>1.1096239349999999E-2</c:v>
                      </c:pt>
                      <c:pt idx="1787">
                        <c:v>1.133994524E-2</c:v>
                      </c:pt>
                      <c:pt idx="1788">
                        <c:v>1.146974911E-2</c:v>
                      </c:pt>
                      <c:pt idx="1789">
                        <c:v>1.165151155E-2</c:v>
                      </c:pt>
                      <c:pt idx="1790">
                        <c:v>1.202224772E-2</c:v>
                      </c:pt>
                      <c:pt idx="1791">
                        <c:v>1.2208262990000001E-2</c:v>
                      </c:pt>
                      <c:pt idx="1792">
                        <c:v>1.257899916E-2</c:v>
                      </c:pt>
                      <c:pt idx="1793">
                        <c:v>1.2763627630000001E-2</c:v>
                      </c:pt>
                      <c:pt idx="1794">
                        <c:v>1.2945390059999999E-2</c:v>
                      </c:pt>
                      <c:pt idx="1795">
                        <c:v>1.313288455E-2</c:v>
                      </c:pt>
                      <c:pt idx="1796">
                        <c:v>1.3318992270000002E-2</c:v>
                      </c:pt>
                      <c:pt idx="1797">
                        <c:v>1.350066223E-2</c:v>
                      </c:pt>
                      <c:pt idx="1798">
                        <c:v>1.3869919180000001E-2</c:v>
                      </c:pt>
                      <c:pt idx="1799">
                        <c:v>1.405889292E-2</c:v>
                      </c:pt>
                      <c:pt idx="1800">
                        <c:v>1.411371749E-2</c:v>
                      </c:pt>
                      <c:pt idx="1801">
                        <c:v>1.424352139E-2</c:v>
                      </c:pt>
                      <c:pt idx="1802">
                        <c:v>1.4425283820000001E-2</c:v>
                      </c:pt>
                      <c:pt idx="1803">
                        <c:v>1.4612778310000001E-2</c:v>
                      </c:pt>
                      <c:pt idx="1804">
                        <c:v>1.4794540739999999E-2</c:v>
                      </c:pt>
                      <c:pt idx="1805">
                        <c:v>1.498203524E-2</c:v>
                      </c:pt>
                      <c:pt idx="1806">
                        <c:v>1.516527692E-2</c:v>
                      </c:pt>
                      <c:pt idx="1807">
                        <c:v>1.5352771409999999E-2</c:v>
                      </c:pt>
                      <c:pt idx="1808">
                        <c:v>1.5534533850000001E-2</c:v>
                      </c:pt>
                      <c:pt idx="1809">
                        <c:v>1.5905177579999999E-2</c:v>
                      </c:pt>
                      <c:pt idx="1810">
                        <c:v>1.6089806040000001E-2</c:v>
                      </c:pt>
                      <c:pt idx="1811">
                        <c:v>1.627730053E-2</c:v>
                      </c:pt>
                      <c:pt idx="1812">
                        <c:v>1.645906296E-2</c:v>
                      </c:pt>
                      <c:pt idx="1813">
                        <c:v>1.6646557480000001E-2</c:v>
                      </c:pt>
                      <c:pt idx="1814">
                        <c:v>1.6829799140000001E-2</c:v>
                      </c:pt>
                      <c:pt idx="1815">
                        <c:v>1.6888876550000001E-2</c:v>
                      </c:pt>
                      <c:pt idx="1816">
                        <c:v>1.7203308900000002E-2</c:v>
                      </c:pt>
                      <c:pt idx="1817">
                        <c:v>1.738655058E-2</c:v>
                      </c:pt>
                      <c:pt idx="1818">
                        <c:v>1.7571086600000001E-2</c:v>
                      </c:pt>
                      <c:pt idx="1819">
                        <c:v>1.775432826E-2</c:v>
                      </c:pt>
                      <c:pt idx="1820">
                        <c:v>1.793895672E-2</c:v>
                      </c:pt>
                      <c:pt idx="1821">
                        <c:v>1.8126451240000001E-2</c:v>
                      </c:pt>
                      <c:pt idx="1822">
                        <c:v>1.8308121199999999E-2</c:v>
                      </c:pt>
                      <c:pt idx="1823">
                        <c:v>1.8495615720000001E-2</c:v>
                      </c:pt>
                      <c:pt idx="1824">
                        <c:v>1.867885738E-2</c:v>
                      </c:pt>
                      <c:pt idx="1825">
                        <c:v>1.8867738670000002E-2</c:v>
                      </c:pt>
                      <c:pt idx="1826">
                        <c:v>1.9232650319999999E-2</c:v>
                      </c:pt>
                      <c:pt idx="1827">
                        <c:v>1.941875803E-2</c:v>
                      </c:pt>
                      <c:pt idx="1828">
                        <c:v>1.9606252550000001E-2</c:v>
                      </c:pt>
                      <c:pt idx="1829">
                        <c:v>1.96668092E-2</c:v>
                      </c:pt>
                      <c:pt idx="1830">
                        <c:v>1.9788014959999999E-2</c:v>
                      </c:pt>
                      <c:pt idx="1831">
                        <c:v>1.997255098E-2</c:v>
                      </c:pt>
                      <c:pt idx="1832">
                        <c:v>2.016013794E-2</c:v>
                      </c:pt>
                      <c:pt idx="1833">
                        <c:v>2.0341807900000002E-2</c:v>
                      </c:pt>
                      <c:pt idx="1834">
                        <c:v>2.0527915609999999E-2</c:v>
                      </c:pt>
                      <c:pt idx="1835">
                        <c:v>2.071541013E-2</c:v>
                      </c:pt>
                      <c:pt idx="1836">
                        <c:v>2.0897080090000002E-2</c:v>
                      </c:pt>
                      <c:pt idx="1837">
                        <c:v>2.1081708560000002E-2</c:v>
                      </c:pt>
                      <c:pt idx="1838">
                        <c:v>2.1452444729999999E-2</c:v>
                      </c:pt>
                      <c:pt idx="1839">
                        <c:v>2.1638459999999998E-2</c:v>
                      </c:pt>
                      <c:pt idx="1840">
                        <c:v>2.203928749E-2</c:v>
                      </c:pt>
                      <c:pt idx="1841">
                        <c:v>7.1265811679999999E-2</c:v>
                      </c:pt>
                      <c:pt idx="1842">
                        <c:v>0.1212939909</c:v>
                      </c:pt>
                      <c:pt idx="1843">
                        <c:v>0.1717229975</c:v>
                      </c:pt>
                      <c:pt idx="1844">
                        <c:v>0.27255596100000001</c:v>
                      </c:pt>
                      <c:pt idx="1845">
                        <c:v>0.32178248519999997</c:v>
                      </c:pt>
                      <c:pt idx="1846">
                        <c:v>0.52229602939999997</c:v>
                      </c:pt>
                      <c:pt idx="1847">
                        <c:v>0.57229915870000003</c:v>
                      </c:pt>
                      <c:pt idx="1848">
                        <c:v>0.62232733779999994</c:v>
                      </c:pt>
                      <c:pt idx="1849">
                        <c:v>0.72278452370000001</c:v>
                      </c:pt>
                      <c:pt idx="1850">
                        <c:v>0.77396507959999994</c:v>
                      </c:pt>
                      <c:pt idx="1851">
                        <c:v>0.82361748719999994</c:v>
                      </c:pt>
                      <c:pt idx="1852">
                        <c:v>0.92364879560000002</c:v>
                      </c:pt>
                      <c:pt idx="1853">
                        <c:v>0.97330119719999997</c:v>
                      </c:pt>
                      <c:pt idx="1854">
                        <c:v>1.023304327</c:v>
                      </c:pt>
                      <c:pt idx="1855">
                        <c:v>1.1241372839999999</c:v>
                      </c:pt>
                      <c:pt idx="1856">
                        <c:v>1.1737896919999999</c:v>
                      </c:pt>
                      <c:pt idx="1857">
                        <c:v>1.2238178710000001</c:v>
                      </c:pt>
                      <c:pt idx="1858">
                        <c:v>1.2738209999999999</c:v>
                      </c:pt>
                      <c:pt idx="1859">
                        <c:v>1.2842508930000001</c:v>
                      </c:pt>
                      <c:pt idx="1860">
                        <c:v>1.2943518000000001</c:v>
                      </c:pt>
                      <c:pt idx="1861">
                        <c:v>1.3047765530000002</c:v>
                      </c:pt>
                      <c:pt idx="1862">
                        <c:v>1.3252251070000001</c:v>
                      </c:pt>
                      <c:pt idx="1863">
                        <c:v>1.3356549999999998</c:v>
                      </c:pt>
                      <c:pt idx="1864">
                        <c:v>1.335105628</c:v>
                      </c:pt>
                      <c:pt idx="1865">
                        <c:v>1.3345518190000001</c:v>
                      </c:pt>
                      <c:pt idx="1866">
                        <c:v>1.3334356039999999</c:v>
                      </c:pt>
                      <c:pt idx="1867">
                        <c:v>1.332890669</c:v>
                      </c:pt>
                      <c:pt idx="1868">
                        <c:v>1.332328264</c:v>
                      </c:pt>
                      <c:pt idx="1869">
                        <c:v>1.331224805</c:v>
                      </c:pt>
                      <c:pt idx="1870">
                        <c:v>1.330671274</c:v>
                      </c:pt>
                      <c:pt idx="1871">
                        <c:v>1.33010859</c:v>
                      </c:pt>
                      <c:pt idx="1872">
                        <c:v>1.3295636559999999</c:v>
                      </c:pt>
                      <c:pt idx="1873">
                        <c:v>1.3284516</c:v>
                      </c:pt>
                      <c:pt idx="1874">
                        <c:v>1.327885035</c:v>
                      </c:pt>
                      <c:pt idx="1875">
                        <c:v>1.3273356630000002</c:v>
                      </c:pt>
                      <c:pt idx="1876">
                        <c:v>1.3267904509999999</c:v>
                      </c:pt>
                      <c:pt idx="1877">
                        <c:v>1.3245580210000001</c:v>
                      </c:pt>
                      <c:pt idx="1878">
                        <c:v>1.3240086489999998</c:v>
                      </c:pt>
                      <c:pt idx="1879">
                        <c:v>1.3234589999999999</c:v>
                      </c:pt>
                      <c:pt idx="1880">
                        <c:v>1.3228965940000001</c:v>
                      </c:pt>
                      <c:pt idx="1881">
                        <c:v>1.322351659</c:v>
                      </c:pt>
                      <c:pt idx="1882">
                        <c:v>1.3212440409999999</c:v>
                      </c:pt>
                      <c:pt idx="1883">
                        <c:v>1.3206857949999999</c:v>
                      </c:pt>
                      <c:pt idx="1884">
                        <c:v>1.3201233889999999</c:v>
                      </c:pt>
                      <c:pt idx="1885">
                        <c:v>1.319578454</c:v>
                      </c:pt>
                      <c:pt idx="1886">
                        <c:v>1.318462239</c:v>
                      </c:pt>
                      <c:pt idx="1887">
                        <c:v>1.3179125899999999</c:v>
                      </c:pt>
                      <c:pt idx="1888">
                        <c:v>1.3173501839999999</c:v>
                      </c:pt>
                      <c:pt idx="1889">
                        <c:v>1.3162514400000001</c:v>
                      </c:pt>
                      <c:pt idx="1890">
                        <c:v>1.3156931940000001</c:v>
                      </c:pt>
                      <c:pt idx="1891">
                        <c:v>1.3151307879999998</c:v>
                      </c:pt>
                      <c:pt idx="1892">
                        <c:v>1.31402317</c:v>
                      </c:pt>
                      <c:pt idx="1893">
                        <c:v>1.313478235</c:v>
                      </c:pt>
                      <c:pt idx="1894">
                        <c:v>1.3129158300000001</c:v>
                      </c:pt>
                      <c:pt idx="1895">
                        <c:v>1.3118126489999999</c:v>
                      </c:pt>
                      <c:pt idx="1896">
                        <c:v>1.3112458060000001</c:v>
                      </c:pt>
                      <c:pt idx="1897">
                        <c:v>1.3106964339999998</c:v>
                      </c:pt>
                      <c:pt idx="1898">
                        <c:v>1.3095888160000002</c:v>
                      </c:pt>
                      <c:pt idx="1899">
                        <c:v>1.3090394439999999</c:v>
                      </c:pt>
                      <c:pt idx="1900">
                        <c:v>1.30847676</c:v>
                      </c:pt>
                      <c:pt idx="1901">
                        <c:v>1.3079318259999999</c:v>
                      </c:pt>
                      <c:pt idx="1902">
                        <c:v>1.30571243</c:v>
                      </c:pt>
                      <c:pt idx="1903">
                        <c:v>1.3051586209999999</c:v>
                      </c:pt>
                      <c:pt idx="1904">
                        <c:v>1.3045962149999999</c:v>
                      </c:pt>
                      <c:pt idx="1905">
                        <c:v>1.3034930339999999</c:v>
                      </c:pt>
                      <c:pt idx="1906">
                        <c:v>1.3029306279999999</c:v>
                      </c:pt>
                      <c:pt idx="1907">
                        <c:v>1.3023854159999999</c:v>
                      </c:pt>
                      <c:pt idx="1908">
                        <c:v>1.3018271699999999</c:v>
                      </c:pt>
                      <c:pt idx="1909">
                        <c:v>1.301269201</c:v>
                      </c:pt>
                      <c:pt idx="1910">
                        <c:v>1.3007198289999999</c:v>
                      </c:pt>
                      <c:pt idx="1911">
                        <c:v>1.3001574229999999</c:v>
                      </c:pt>
                      <c:pt idx="1912">
                        <c:v>1.2990498049999999</c:v>
                      </c:pt>
                      <c:pt idx="1913">
                        <c:v>1.2985004330000001</c:v>
                      </c:pt>
                      <c:pt idx="1914">
                        <c:v>1.29793775</c:v>
                      </c:pt>
                      <c:pt idx="1915">
                        <c:v>1.297392815</c:v>
                      </c:pt>
                      <c:pt idx="1916">
                        <c:v>1.2968390059999999</c:v>
                      </c:pt>
                      <c:pt idx="1917">
                        <c:v>1.2962807599999999</c:v>
                      </c:pt>
                      <c:pt idx="1918">
                        <c:v>1.2957272289999999</c:v>
                      </c:pt>
                      <c:pt idx="1919">
                        <c:v>1.2951734189999999</c:v>
                      </c:pt>
                      <c:pt idx="1920">
                        <c:v>1.2940572050000001</c:v>
                      </c:pt>
                      <c:pt idx="1921">
                        <c:v>1.293511992</c:v>
                      </c:pt>
                      <c:pt idx="1922">
                        <c:v>1.2929451489999999</c:v>
                      </c:pt>
                      <c:pt idx="1923">
                        <c:v>1.29222273</c:v>
                      </c:pt>
                      <c:pt idx="1924">
                        <c:v>1.2918378089999998</c:v>
                      </c:pt>
                      <c:pt idx="1925">
                        <c:v>1.291292597</c:v>
                      </c:pt>
                      <c:pt idx="1926">
                        <c:v>1.2907301910000002</c:v>
                      </c:pt>
                      <c:pt idx="1927">
                        <c:v>1.2885149549999999</c:v>
                      </c:pt>
                      <c:pt idx="1928">
                        <c:v>1.284067566</c:v>
                      </c:pt>
                      <c:pt idx="1929">
                        <c:v>1.283518194</c:v>
                      </c:pt>
                      <c:pt idx="1930">
                        <c:v>1.282972982</c:v>
                      </c:pt>
                      <c:pt idx="1931">
                        <c:v>1.2818612039999999</c:v>
                      </c:pt>
                      <c:pt idx="1932">
                        <c:v>1.2812987979999999</c:v>
                      </c:pt>
                      <c:pt idx="1933">
                        <c:v>1.2807535859999999</c:v>
                      </c:pt>
                      <c:pt idx="1934">
                        <c:v>1.280199777</c:v>
                      </c:pt>
                      <c:pt idx="1935">
                        <c:v>1.2790879990000001</c:v>
                      </c:pt>
                      <c:pt idx="1936">
                        <c:v>1.27853419</c:v>
                      </c:pt>
                      <c:pt idx="1937">
                        <c:v>1.2779676250000001</c:v>
                      </c:pt>
                      <c:pt idx="1938">
                        <c:v>1.2768686039999999</c:v>
                      </c:pt>
                      <c:pt idx="1939">
                        <c:v>1.2763061980000001</c:v>
                      </c:pt>
                      <c:pt idx="1940">
                        <c:v>1.2757609859999999</c:v>
                      </c:pt>
                      <c:pt idx="1941">
                        <c:v>1.2746406109999999</c:v>
                      </c:pt>
                      <c:pt idx="1942">
                        <c:v>1.2740953989999999</c:v>
                      </c:pt>
                      <c:pt idx="1943">
                        <c:v>1.2735329930000001</c:v>
                      </c:pt>
                      <c:pt idx="1944">
                        <c:v>1.2724256519999999</c:v>
                      </c:pt>
                      <c:pt idx="1945">
                        <c:v>1.2718804400000001</c:v>
                      </c:pt>
                      <c:pt idx="1946">
                        <c:v>1.2713180339999999</c:v>
                      </c:pt>
                      <c:pt idx="1947">
                        <c:v>1.2702148529999999</c:v>
                      </c:pt>
                      <c:pt idx="1948">
                        <c:v>1.2696524469999999</c:v>
                      </c:pt>
                      <c:pt idx="1949">
                        <c:v>1.2691072350000001</c:v>
                      </c:pt>
                      <c:pt idx="1950">
                        <c:v>1.2679868599999999</c:v>
                      </c:pt>
                      <c:pt idx="1951">
                        <c:v>1.2674416479999999</c:v>
                      </c:pt>
                      <c:pt idx="1952">
                        <c:v>1.266887839</c:v>
                      </c:pt>
                      <c:pt idx="1953">
                        <c:v>1.265776061</c:v>
                      </c:pt>
                      <c:pt idx="1954">
                        <c:v>1.265213656</c:v>
                      </c:pt>
                      <c:pt idx="1955">
                        <c:v>1.264106038</c:v>
                      </c:pt>
                      <c:pt idx="1956">
                        <c:v>1.263561103</c:v>
                      </c:pt>
                      <c:pt idx="1957">
                        <c:v>1.2624490479999999</c:v>
                      </c:pt>
                      <c:pt idx="1958">
                        <c:v>1.261895239</c:v>
                      </c:pt>
                      <c:pt idx="1959">
                        <c:v>1.261328673</c:v>
                      </c:pt>
                      <c:pt idx="1960">
                        <c:v>1.260225492</c:v>
                      </c:pt>
                      <c:pt idx="1961">
                        <c:v>1.2591092770000001</c:v>
                      </c:pt>
                      <c:pt idx="1962">
                        <c:v>1.2585685019999999</c:v>
                      </c:pt>
                      <c:pt idx="1963">
                        <c:v>1.2580060959999999</c:v>
                      </c:pt>
                      <c:pt idx="1964">
                        <c:v>1.256902915</c:v>
                      </c:pt>
                      <c:pt idx="1965">
                        <c:v>1.2563405090000002</c:v>
                      </c:pt>
                      <c:pt idx="1966">
                        <c:v>1.2557952969999999</c:v>
                      </c:pt>
                      <c:pt idx="1967">
                        <c:v>1.2546835190000001</c:v>
                      </c:pt>
                      <c:pt idx="1968">
                        <c:v>1.25412971</c:v>
                      </c:pt>
                      <c:pt idx="1969">
                        <c:v>1.253575901</c:v>
                      </c:pt>
                      <c:pt idx="1970">
                        <c:v>1.252468283</c:v>
                      </c:pt>
                      <c:pt idx="1971">
                        <c:v>1.251905877</c:v>
                      </c:pt>
                      <c:pt idx="1972">
                        <c:v>1.251356506</c:v>
                      </c:pt>
                      <c:pt idx="1973">
                        <c:v>1.2502402910000001</c:v>
                      </c:pt>
                      <c:pt idx="1974">
                        <c:v>1.2496909189999998</c:v>
                      </c:pt>
                      <c:pt idx="1975">
                        <c:v>1.2491371100000002</c:v>
                      </c:pt>
                      <c:pt idx="1976">
                        <c:v>1.2480294919999999</c:v>
                      </c:pt>
                      <c:pt idx="1977">
                        <c:v>1.2474759600000001</c:v>
                      </c:pt>
                      <c:pt idx="1978">
                        <c:v>1.2469177139999998</c:v>
                      </c:pt>
                      <c:pt idx="1979">
                        <c:v>1.2463553080000001</c:v>
                      </c:pt>
                      <c:pt idx="1980">
                        <c:v>1.244140349</c:v>
                      </c:pt>
                      <c:pt idx="1981">
                        <c:v>1.243582103</c:v>
                      </c:pt>
                      <c:pt idx="1982">
                        <c:v>1.242470325</c:v>
                      </c:pt>
                      <c:pt idx="1983">
                        <c:v>1.2422928400000002</c:v>
                      </c:pt>
                      <c:pt idx="1984">
                        <c:v>1.24192955</c:v>
                      </c:pt>
                      <c:pt idx="1985">
                        <c:v>1.2413715809999999</c:v>
                      </c:pt>
                      <c:pt idx="1986">
                        <c:v>1.2402639630000001</c:v>
                      </c:pt>
                      <c:pt idx="1987">
                        <c:v>1.239710154</c:v>
                      </c:pt>
                      <c:pt idx="1988">
                        <c:v>1.239147749</c:v>
                      </c:pt>
                      <c:pt idx="1989">
                        <c:v>1.238598377</c:v>
                      </c:pt>
                      <c:pt idx="1990">
                        <c:v>1.2374907589999999</c:v>
                      </c:pt>
                      <c:pt idx="1991">
                        <c:v>1.2369283529999999</c:v>
                      </c:pt>
                      <c:pt idx="1992">
                        <c:v>1.2363831410000001</c:v>
                      </c:pt>
                      <c:pt idx="1993">
                        <c:v>1.2352713629999998</c:v>
                      </c:pt>
                      <c:pt idx="1994">
                        <c:v>1.2347089570000001</c:v>
                      </c:pt>
                      <c:pt idx="1995">
                        <c:v>1.234163745</c:v>
                      </c:pt>
                      <c:pt idx="1996">
                        <c:v>1.233051967</c:v>
                      </c:pt>
                      <c:pt idx="1997">
                        <c:v>1.2324981579999998</c:v>
                      </c:pt>
                      <c:pt idx="1998">
                        <c:v>1.2319357520000001</c:v>
                      </c:pt>
                      <c:pt idx="1999">
                        <c:v>1.2308284110000001</c:v>
                      </c:pt>
                      <c:pt idx="2000">
                        <c:v>1.230278762</c:v>
                      </c:pt>
                      <c:pt idx="2001">
                        <c:v>1.2297252299999999</c:v>
                      </c:pt>
                      <c:pt idx="2002">
                        <c:v>1.2286176120000001</c:v>
                      </c:pt>
                      <c:pt idx="2003">
                        <c:v>1.228050769</c:v>
                      </c:pt>
                      <c:pt idx="2004">
                        <c:v>1.2275058350000001</c:v>
                      </c:pt>
                      <c:pt idx="2005">
                        <c:v>1.2269434289999999</c:v>
                      </c:pt>
                      <c:pt idx="2006">
                        <c:v>1.2258444070000001</c:v>
                      </c:pt>
                      <c:pt idx="2007">
                        <c:v>1.225290598</c:v>
                      </c:pt>
                      <c:pt idx="2008">
                        <c:v>1.224178821</c:v>
                      </c:pt>
                      <c:pt idx="2009">
                        <c:v>1.2197444659999999</c:v>
                      </c:pt>
                      <c:pt idx="2010">
                        <c:v>1.2191820600000001</c:v>
                      </c:pt>
                      <c:pt idx="2011">
                        <c:v>1.218632411</c:v>
                      </c:pt>
                      <c:pt idx="2012">
                        <c:v>1.21752507</c:v>
                      </c:pt>
                      <c:pt idx="2013">
                        <c:v>1.216962664</c:v>
                      </c:pt>
                      <c:pt idx="2014">
                        <c:v>1.2164130149999999</c:v>
                      </c:pt>
                      <c:pt idx="2015">
                        <c:v>1.215859483</c:v>
                      </c:pt>
                      <c:pt idx="2016">
                        <c:v>1.2153056739999999</c:v>
                      </c:pt>
                      <c:pt idx="2017">
                        <c:v>1.214751865</c:v>
                      </c:pt>
                      <c:pt idx="2018">
                        <c:v>1.214193619</c:v>
                      </c:pt>
                      <c:pt idx="2019">
                        <c:v>1.2136356499999998</c:v>
                      </c:pt>
                      <c:pt idx="2020">
                        <c:v>1.2130862790000001</c:v>
                      </c:pt>
                      <c:pt idx="2021">
                        <c:v>1.2125238729999999</c:v>
                      </c:pt>
                      <c:pt idx="2022">
                        <c:v>1.2119786610000001</c:v>
                      </c:pt>
                      <c:pt idx="2023">
                        <c:v>1.210866883</c:v>
                      </c:pt>
                      <c:pt idx="2024">
                        <c:v>1.2103130740000001</c:v>
                      </c:pt>
                      <c:pt idx="2025">
                        <c:v>1.209759265</c:v>
                      </c:pt>
                      <c:pt idx="2026">
                        <c:v>1.2086430500000001</c:v>
                      </c:pt>
                      <c:pt idx="2027">
                        <c:v>1.208093678</c:v>
                      </c:pt>
                      <c:pt idx="2028">
                        <c:v>1.2075398690000001</c:v>
                      </c:pt>
                      <c:pt idx="2029">
                        <c:v>1.2064325279999999</c:v>
                      </c:pt>
                      <c:pt idx="2030">
                        <c:v>1.205878719</c:v>
                      </c:pt>
                      <c:pt idx="2031">
                        <c:v>1.205316313</c:v>
                      </c:pt>
                      <c:pt idx="2032">
                        <c:v>1.2047666640000001</c:v>
                      </c:pt>
                      <c:pt idx="2033">
                        <c:v>1.204213132</c:v>
                      </c:pt>
                      <c:pt idx="2034">
                        <c:v>1.203650726</c:v>
                      </c:pt>
                      <c:pt idx="2035">
                        <c:v>1.2031010770000001</c:v>
                      </c:pt>
                      <c:pt idx="2036">
                        <c:v>1.2008861179999999</c:v>
                      </c:pt>
                      <c:pt idx="2037">
                        <c:v>1.200332309</c:v>
                      </c:pt>
                      <c:pt idx="2038">
                        <c:v>1.1981043169999999</c:v>
                      </c:pt>
                      <c:pt idx="2039">
                        <c:v>1.197554945</c:v>
                      </c:pt>
                      <c:pt idx="2040">
                        <c:v>1.196992539</c:v>
                      </c:pt>
                      <c:pt idx="2041">
                        <c:v>1.195884921</c:v>
                      </c:pt>
                      <c:pt idx="2042">
                        <c:v>1.195339986</c:v>
                      </c:pt>
                      <c:pt idx="2043">
                        <c:v>1.19478174</c:v>
                      </c:pt>
                      <c:pt idx="2044">
                        <c:v>1.192566781</c:v>
                      </c:pt>
                      <c:pt idx="2045">
                        <c:v>1.191455003</c:v>
                      </c:pt>
                      <c:pt idx="2046">
                        <c:v>1.1908925969999999</c:v>
                      </c:pt>
                      <c:pt idx="2047">
                        <c:v>1.1903473849999999</c:v>
                      </c:pt>
                      <c:pt idx="2048">
                        <c:v>1.1892397669999999</c:v>
                      </c:pt>
                      <c:pt idx="2049">
                        <c:v>1.188681799</c:v>
                      </c:pt>
                      <c:pt idx="2050">
                        <c:v>1.188119393</c:v>
                      </c:pt>
                      <c:pt idx="2051">
                        <c:v>1.187011775</c:v>
                      </c:pt>
                      <c:pt idx="2052">
                        <c:v>1.1864624029999999</c:v>
                      </c:pt>
                      <c:pt idx="2053">
                        <c:v>1.185908594</c:v>
                      </c:pt>
                      <c:pt idx="2054">
                        <c:v>1.1853547849999999</c:v>
                      </c:pt>
                      <c:pt idx="2055">
                        <c:v>1.1847923790000001</c:v>
                      </c:pt>
                      <c:pt idx="2056">
                        <c:v>1.1842474439999999</c:v>
                      </c:pt>
                      <c:pt idx="2057">
                        <c:v>1.1836850379999999</c:v>
                      </c:pt>
                      <c:pt idx="2058">
                        <c:v>1.182572983</c:v>
                      </c:pt>
                      <c:pt idx="2059">
                        <c:v>1.1820280480000001</c:v>
                      </c:pt>
                      <c:pt idx="2060">
                        <c:v>1.181465642</c:v>
                      </c:pt>
                      <c:pt idx="2061">
                        <c:v>1.1809159929999999</c:v>
                      </c:pt>
                      <c:pt idx="2062">
                        <c:v>1.1803624610000001</c:v>
                      </c:pt>
                      <c:pt idx="2063">
                        <c:v>1.175919232</c:v>
                      </c:pt>
                      <c:pt idx="2064">
                        <c:v>1.175361264</c:v>
                      </c:pt>
                      <c:pt idx="2065">
                        <c:v>1.1748160519999999</c:v>
                      </c:pt>
                      <c:pt idx="2066">
                        <c:v>1.1742536459999999</c:v>
                      </c:pt>
                      <c:pt idx="2067">
                        <c:v>1.173708711</c:v>
                      </c:pt>
                      <c:pt idx="2068">
                        <c:v>1.1731463050000002</c:v>
                      </c:pt>
                      <c:pt idx="2069">
                        <c:v>1.172592496</c:v>
                      </c:pt>
                      <c:pt idx="2070">
                        <c:v>1.1720428469999999</c:v>
                      </c:pt>
                      <c:pt idx="2071">
                        <c:v>1.1714893150000001</c:v>
                      </c:pt>
                      <c:pt idx="2072">
                        <c:v>1.170935506</c:v>
                      </c:pt>
                      <c:pt idx="2073">
                        <c:v>1.1703730999999999</c:v>
                      </c:pt>
                      <c:pt idx="2074">
                        <c:v>1.169269919</c:v>
                      </c:pt>
                      <c:pt idx="2075">
                        <c:v>1.1687161100000001</c:v>
                      </c:pt>
                      <c:pt idx="2076">
                        <c:v>1.168162301</c:v>
                      </c:pt>
                      <c:pt idx="2077">
                        <c:v>1.1670505230000001</c:v>
                      </c:pt>
                      <c:pt idx="2078">
                        <c:v>1.166496714</c:v>
                      </c:pt>
                      <c:pt idx="2079">
                        <c:v>1.165934308</c:v>
                      </c:pt>
                      <c:pt idx="2080">
                        <c:v>1.165389096</c:v>
                      </c:pt>
                      <c:pt idx="2081">
                        <c:v>1.1648266899999999</c:v>
                      </c:pt>
                      <c:pt idx="2082">
                        <c:v>1.164277319</c:v>
                      </c:pt>
                      <c:pt idx="2083">
                        <c:v>1.1637235099999998</c:v>
                      </c:pt>
                      <c:pt idx="2084">
                        <c:v>1.1626161690000001</c:v>
                      </c:pt>
                      <c:pt idx="2085">
                        <c:v>1.1620579229999999</c:v>
                      </c:pt>
                      <c:pt idx="2086">
                        <c:v>1.1614999539999999</c:v>
                      </c:pt>
                      <c:pt idx="2087">
                        <c:v>1.159289155</c:v>
                      </c:pt>
                      <c:pt idx="2088">
                        <c:v>1.1591116700000001</c:v>
                      </c:pt>
                      <c:pt idx="2089">
                        <c:v>1.158731186</c:v>
                      </c:pt>
                      <c:pt idx="2090">
                        <c:v>1.1576149710000001</c:v>
                      </c:pt>
                      <c:pt idx="2091">
                        <c:v>1.1570697590000001</c:v>
                      </c:pt>
                      <c:pt idx="2092">
                        <c:v>1.1565073529999998</c:v>
                      </c:pt>
                      <c:pt idx="2093">
                        <c:v>1.155957981</c:v>
                      </c:pt>
                      <c:pt idx="2094">
                        <c:v>1.154850363</c:v>
                      </c:pt>
                      <c:pt idx="2095">
                        <c:v>1.154287957</c:v>
                      </c:pt>
                      <c:pt idx="2096">
                        <c:v>1.1537430229999999</c:v>
                      </c:pt>
                      <c:pt idx="2097">
                        <c:v>1.1515150300000001</c:v>
                      </c:pt>
                      <c:pt idx="2098">
                        <c:v>1.150965381</c:v>
                      </c:pt>
                      <c:pt idx="2099">
                        <c:v>1.1504115720000001</c:v>
                      </c:pt>
                      <c:pt idx="2100">
                        <c:v>1.14985804</c:v>
                      </c:pt>
                      <c:pt idx="2101">
                        <c:v>1.149295634</c:v>
                      </c:pt>
                      <c:pt idx="2102">
                        <c:v>1.148750422</c:v>
                      </c:pt>
                      <c:pt idx="2103">
                        <c:v>1.147630047</c:v>
                      </c:pt>
                      <c:pt idx="2104">
                        <c:v>1.147084835</c:v>
                      </c:pt>
                      <c:pt idx="2105">
                        <c:v>1.146522429</c:v>
                      </c:pt>
                      <c:pt idx="2106">
                        <c:v>1.145977217</c:v>
                      </c:pt>
                      <c:pt idx="2107">
                        <c:v>1.1448654389999999</c:v>
                      </c:pt>
                      <c:pt idx="2108">
                        <c:v>1.1443030330000001</c:v>
                      </c:pt>
                      <c:pt idx="2109">
                        <c:v>1.1437578209999999</c:v>
                      </c:pt>
                      <c:pt idx="2110">
                        <c:v>1.1431954150000001</c:v>
                      </c:pt>
                      <c:pt idx="2111">
                        <c:v>1.1426460430000001</c:v>
                      </c:pt>
                      <c:pt idx="2112">
                        <c:v>1.142083637</c:v>
                      </c:pt>
                      <c:pt idx="2113">
                        <c:v>1.141538425</c:v>
                      </c:pt>
                      <c:pt idx="2114">
                        <c:v>1.1404310850000001</c:v>
                      </c:pt>
                      <c:pt idx="2115">
                        <c:v>1.1398728389999999</c:v>
                      </c:pt>
                      <c:pt idx="2116">
                        <c:v>1.1393104329999999</c:v>
                      </c:pt>
                      <c:pt idx="2117">
                        <c:v>1.1382030919999999</c:v>
                      </c:pt>
                      <c:pt idx="2118">
                        <c:v>1.1376578799999999</c:v>
                      </c:pt>
                      <c:pt idx="2119">
                        <c:v>1.135983696</c:v>
                      </c:pt>
                      <c:pt idx="2120">
                        <c:v>1.134876078</c:v>
                      </c:pt>
                      <c:pt idx="2121">
                        <c:v>1.1343222690000001</c:v>
                      </c:pt>
                      <c:pt idx="2122">
                        <c:v>1.1341492209999999</c:v>
                      </c:pt>
                      <c:pt idx="2123">
                        <c:v>1.1337728970000001</c:v>
                      </c:pt>
                      <c:pt idx="2124">
                        <c:v>1.131553501</c:v>
                      </c:pt>
                      <c:pt idx="2125">
                        <c:v>1.1309910949999999</c:v>
                      </c:pt>
                      <c:pt idx="2126">
                        <c:v>1.1298923519999999</c:v>
                      </c:pt>
                      <c:pt idx="2127">
                        <c:v>1.1293299459999999</c:v>
                      </c:pt>
                      <c:pt idx="2128">
                        <c:v>1.1287716990000001</c:v>
                      </c:pt>
                      <c:pt idx="2129">
                        <c:v>1.1276643589999999</c:v>
                      </c:pt>
                      <c:pt idx="2130">
                        <c:v>1.1271191469999999</c:v>
                      </c:pt>
                      <c:pt idx="2131">
                        <c:v>1.1265567409999999</c:v>
                      </c:pt>
                      <c:pt idx="2132">
                        <c:v>1.125998772</c:v>
                      </c:pt>
                      <c:pt idx="2133">
                        <c:v>1.1258168499999999</c:v>
                      </c:pt>
                      <c:pt idx="2134">
                        <c:v>1.12545356</c:v>
                      </c:pt>
                      <c:pt idx="2135">
                        <c:v>1.1248997510000001</c:v>
                      </c:pt>
                      <c:pt idx="2136">
                        <c:v>1.124337345</c:v>
                      </c:pt>
                      <c:pt idx="2137">
                        <c:v>1.123792133</c:v>
                      </c:pt>
                      <c:pt idx="2138">
                        <c:v>1.123229727</c:v>
                      </c:pt>
                      <c:pt idx="2139">
                        <c:v>1.122680355</c:v>
                      </c:pt>
                      <c:pt idx="2140">
                        <c:v>1.1221179489999999</c:v>
                      </c:pt>
                      <c:pt idx="2141">
                        <c:v>1.121573014</c:v>
                      </c:pt>
                      <c:pt idx="2142">
                        <c:v>1.1204609589999999</c:v>
                      </c:pt>
                      <c:pt idx="2143">
                        <c:v>1.1198985530000001</c:v>
                      </c:pt>
                      <c:pt idx="2144">
                        <c:v>1.119353619</c:v>
                      </c:pt>
                      <c:pt idx="2145">
                        <c:v>1.118237404</c:v>
                      </c:pt>
                      <c:pt idx="2146">
                        <c:v>1.117688032</c:v>
                      </c:pt>
                      <c:pt idx="2147">
                        <c:v>1.117125626</c:v>
                      </c:pt>
                      <c:pt idx="2148">
                        <c:v>1.1154727959999999</c:v>
                      </c:pt>
                      <c:pt idx="2149">
                        <c:v>1.1149103899999999</c:v>
                      </c:pt>
                      <c:pt idx="2150">
                        <c:v>1.1143610180000001</c:v>
                      </c:pt>
                      <c:pt idx="2151">
                        <c:v>1.1132534000000001</c:v>
                      </c:pt>
                      <c:pt idx="2152">
                        <c:v>1.112690994</c:v>
                      </c:pt>
                      <c:pt idx="2153">
                        <c:v>1.112141622</c:v>
                      </c:pt>
                      <c:pt idx="2154">
                        <c:v>1.111575056</c:v>
                      </c:pt>
                      <c:pt idx="2155">
                        <c:v>1.1104804719999999</c:v>
                      </c:pt>
                      <c:pt idx="2156">
                        <c:v>1.1099180660000001</c:v>
                      </c:pt>
                      <c:pt idx="2157">
                        <c:v>1.109368694</c:v>
                      </c:pt>
                      <c:pt idx="2158">
                        <c:v>1.1088148850000001</c:v>
                      </c:pt>
                      <c:pt idx="2159">
                        <c:v>1.10769867</c:v>
                      </c:pt>
                      <c:pt idx="2160">
                        <c:v>1.1071448610000001</c:v>
                      </c:pt>
                      <c:pt idx="2161">
                        <c:v>1.1065954899999999</c:v>
                      </c:pt>
                      <c:pt idx="2162">
                        <c:v>1.105479275</c:v>
                      </c:pt>
                      <c:pt idx="2163">
                        <c:v>1.104934063</c:v>
                      </c:pt>
                      <c:pt idx="2164">
                        <c:v>1.104371657</c:v>
                      </c:pt>
                      <c:pt idx="2165">
                        <c:v>1.103268476</c:v>
                      </c:pt>
                      <c:pt idx="2166">
                        <c:v>1.1027149439999999</c:v>
                      </c:pt>
                      <c:pt idx="2167">
                        <c:v>1.1021525379999999</c:v>
                      </c:pt>
                      <c:pt idx="2168">
                        <c:v>1.101602889</c:v>
                      </c:pt>
                      <c:pt idx="2169">
                        <c:v>1.1004869509999999</c:v>
                      </c:pt>
                      <c:pt idx="2170">
                        <c:v>1.0999417390000001</c:v>
                      </c:pt>
                      <c:pt idx="2171">
                        <c:v>1.0993793329999999</c:v>
                      </c:pt>
                      <c:pt idx="2172">
                        <c:v>1.0982761519999999</c:v>
                      </c:pt>
                      <c:pt idx="2173">
                        <c:v>1.097722343</c:v>
                      </c:pt>
                      <c:pt idx="2174">
                        <c:v>1.096614725</c:v>
                      </c:pt>
                      <c:pt idx="2175">
                        <c:v>1.096052319</c:v>
                      </c:pt>
                      <c:pt idx="2176">
                        <c:v>1.093833201</c:v>
                      </c:pt>
                      <c:pt idx="2177">
                        <c:v>1.092176211</c:v>
                      </c:pt>
                      <c:pt idx="2178">
                        <c:v>1.0916093680000001</c:v>
                      </c:pt>
                      <c:pt idx="2179">
                        <c:v>1.091059996</c:v>
                      </c:pt>
                      <c:pt idx="2180">
                        <c:v>1.088286791</c:v>
                      </c:pt>
                      <c:pt idx="2181">
                        <c:v>1.087737419</c:v>
                      </c:pt>
                      <c:pt idx="2182">
                        <c:v>1.0871836100000001</c:v>
                      </c:pt>
                      <c:pt idx="2183">
                        <c:v>1.0866212040000001</c:v>
                      </c:pt>
                      <c:pt idx="2184">
                        <c:v>1.085522461</c:v>
                      </c:pt>
                      <c:pt idx="2185">
                        <c:v>1.084960055</c:v>
                      </c:pt>
                      <c:pt idx="2186">
                        <c:v>1.084410683</c:v>
                      </c:pt>
                      <c:pt idx="2187">
                        <c:v>1.083303065</c:v>
                      </c:pt>
                      <c:pt idx="2188">
                        <c:v>1.0827406589999999</c:v>
                      </c:pt>
                      <c:pt idx="2189">
                        <c:v>1.0821912869999999</c:v>
                      </c:pt>
                      <c:pt idx="2190">
                        <c:v>1.0810836689999999</c:v>
                      </c:pt>
                      <c:pt idx="2191">
                        <c:v>1.0805212630000001</c:v>
                      </c:pt>
                      <c:pt idx="2192">
                        <c:v>1.079976051</c:v>
                      </c:pt>
                      <c:pt idx="2193">
                        <c:v>1.078864273</c:v>
                      </c:pt>
                      <c:pt idx="2194">
                        <c:v>1.0782977069999999</c:v>
                      </c:pt>
                      <c:pt idx="2195">
                        <c:v>1.0777480580000001</c:v>
                      </c:pt>
                      <c:pt idx="2196">
                        <c:v>1.0766448769999999</c:v>
                      </c:pt>
                      <c:pt idx="2197">
                        <c:v>1.0760824710000001</c:v>
                      </c:pt>
                      <c:pt idx="2198">
                        <c:v>1.0755289399999999</c:v>
                      </c:pt>
                      <c:pt idx="2199">
                        <c:v>1.0744213220000001</c:v>
                      </c:pt>
                      <c:pt idx="2200">
                        <c:v>1.07387195</c:v>
                      </c:pt>
                      <c:pt idx="2201">
                        <c:v>1.073309544</c:v>
                      </c:pt>
                      <c:pt idx="2202">
                        <c:v>1.0722105229999999</c:v>
                      </c:pt>
                      <c:pt idx="2203">
                        <c:v>1.0716481170000001</c:v>
                      </c:pt>
                      <c:pt idx="2204">
                        <c:v>1.071098745</c:v>
                      </c:pt>
                      <c:pt idx="2205">
                        <c:v>1.0705449360000001</c:v>
                      </c:pt>
                      <c:pt idx="2206">
                        <c:v>1.0699825300000001</c:v>
                      </c:pt>
                      <c:pt idx="2207">
                        <c:v>1.0688751890000001</c:v>
                      </c:pt>
                      <c:pt idx="2208">
                        <c:v>1.06832554</c:v>
                      </c:pt>
                      <c:pt idx="2209">
                        <c:v>1.0677720079999999</c:v>
                      </c:pt>
                      <c:pt idx="2210">
                        <c:v>1.0655526120000001</c:v>
                      </c:pt>
                      <c:pt idx="2211">
                        <c:v>1.0649902060000001</c:v>
                      </c:pt>
                      <c:pt idx="2212">
                        <c:v>1.0638911849999999</c:v>
                      </c:pt>
                      <c:pt idx="2213">
                        <c:v>1.0633287789999999</c:v>
                      </c:pt>
                      <c:pt idx="2214">
                        <c:v>1.062225599</c:v>
                      </c:pt>
                      <c:pt idx="2215">
                        <c:v>1.0611093839999999</c:v>
                      </c:pt>
                      <c:pt idx="2216">
                        <c:v>1.060555852</c:v>
                      </c:pt>
                      <c:pt idx="2217">
                        <c:v>1.0600062029999999</c:v>
                      </c:pt>
                      <c:pt idx="2218">
                        <c:v>1.0594437969999999</c:v>
                      </c:pt>
                      <c:pt idx="2219">
                        <c:v>1.0588902650000001</c:v>
                      </c:pt>
                      <c:pt idx="2220">
                        <c:v>1.058345053</c:v>
                      </c:pt>
                      <c:pt idx="2221">
                        <c:v>1.057782647</c:v>
                      </c:pt>
                      <c:pt idx="2222">
                        <c:v>1.057233275</c:v>
                      </c:pt>
                      <c:pt idx="2223">
                        <c:v>1.0566794659999998</c:v>
                      </c:pt>
                      <c:pt idx="2224">
                        <c:v>1.0561170600000001</c:v>
                      </c:pt>
                      <c:pt idx="2225">
                        <c:v>1.055571848</c:v>
                      </c:pt>
                      <c:pt idx="2226">
                        <c:v>1.0544556330000001</c:v>
                      </c:pt>
                      <c:pt idx="2227">
                        <c:v>1.0539062610000001</c:v>
                      </c:pt>
                      <c:pt idx="2228">
                        <c:v>1.0533438550000001</c:v>
                      </c:pt>
                      <c:pt idx="2229">
                        <c:v>1.0527989209999999</c:v>
                      </c:pt>
                      <c:pt idx="2230">
                        <c:v>1.0455783270000001</c:v>
                      </c:pt>
                      <c:pt idx="2231">
                        <c:v>1.045024518</c:v>
                      </c:pt>
                      <c:pt idx="2232">
                        <c:v>1.0444707090000001</c:v>
                      </c:pt>
                      <c:pt idx="2233">
                        <c:v>1.043921337</c:v>
                      </c:pt>
                      <c:pt idx="2234">
                        <c:v>1.0433675280000001</c:v>
                      </c:pt>
                      <c:pt idx="2235">
                        <c:v>1.0428051220000001</c:v>
                      </c:pt>
                      <c:pt idx="2236">
                        <c:v>1.041693344</c:v>
                      </c:pt>
                      <c:pt idx="2237">
                        <c:v>1.0411484099999999</c:v>
                      </c:pt>
                      <c:pt idx="2238">
                        <c:v>1.0405860040000001</c:v>
                      </c:pt>
                      <c:pt idx="2239">
                        <c:v>1.0394783859999999</c:v>
                      </c:pt>
                      <c:pt idx="2240">
                        <c:v>1.038924577</c:v>
                      </c:pt>
                      <c:pt idx="2241">
                        <c:v>1.0383752049999999</c:v>
                      </c:pt>
                      <c:pt idx="2242">
                        <c:v>1.0372675870000001</c:v>
                      </c:pt>
                      <c:pt idx="2243">
                        <c:v>1.0367051809999999</c:v>
                      </c:pt>
                      <c:pt idx="2244">
                        <c:v>1.036151372</c:v>
                      </c:pt>
                      <c:pt idx="2245">
                        <c:v>1.0356019999999999</c:v>
                      </c:pt>
                      <c:pt idx="2246">
                        <c:v>1.044319768</c:v>
                      </c:pt>
                      <c:pt idx="2247">
                        <c:v>1.0527667169999999</c:v>
                      </c:pt>
                      <c:pt idx="2248">
                        <c:v>1.061351224</c:v>
                      </c:pt>
                      <c:pt idx="2249">
                        <c:v>1.070137771</c:v>
                      </c:pt>
                      <c:pt idx="2250">
                        <c:v>1.0785847200000001</c:v>
                      </c:pt>
                      <c:pt idx="2251">
                        <c:v>1.0873024870000001</c:v>
                      </c:pt>
                      <c:pt idx="2252">
                        <c:v>1.095753735</c:v>
                      </c:pt>
                      <c:pt idx="2253">
                        <c:v>1.1044715030000001</c:v>
                      </c:pt>
                      <c:pt idx="2254">
                        <c:v>1.1129227500000001</c:v>
                      </c:pt>
                      <c:pt idx="2255">
                        <c:v>1.164623237</c:v>
                      </c:pt>
                      <c:pt idx="2256">
                        <c:v>1.173143265</c:v>
                      </c:pt>
                      <c:pt idx="2257">
                        <c:v>1.2076102559999999</c:v>
                      </c:pt>
                      <c:pt idx="2258">
                        <c:v>1.224843752</c:v>
                      </c:pt>
                      <c:pt idx="2259">
                        <c:v>1.233295</c:v>
                      </c:pt>
                      <c:pt idx="2260">
                        <c:v>2</c:v>
                      </c:pt>
                      <c:pt idx="2261">
                        <c:v>2</c:v>
                      </c:pt>
                      <c:pt idx="2262">
                        <c:v>2</c:v>
                      </c:pt>
                      <c:pt idx="2263">
                        <c:v>2</c:v>
                      </c:pt>
                      <c:pt idx="2264">
                        <c:v>2</c:v>
                      </c:pt>
                      <c:pt idx="2265">
                        <c:v>2</c:v>
                      </c:pt>
                      <c:pt idx="2266">
                        <c:v>2</c:v>
                      </c:pt>
                      <c:pt idx="2267">
                        <c:v>1.847081</c:v>
                      </c:pt>
                      <c:pt idx="2268">
                        <c:v>1.40215</c:v>
                      </c:pt>
                      <c:pt idx="2269">
                        <c:v>1.038802</c:v>
                      </c:pt>
                      <c:pt idx="2270">
                        <c:v>0.77590700000000001</c:v>
                      </c:pt>
                      <c:pt idx="2271">
                        <c:v>0.60502350000000005</c:v>
                      </c:pt>
                      <c:pt idx="2272">
                        <c:v>0.48554459999999999</c:v>
                      </c:pt>
                      <c:pt idx="2273">
                        <c:v>0.49898081799999999</c:v>
                      </c:pt>
                      <c:pt idx="2274">
                        <c:v>0.50909610000000005</c:v>
                      </c:pt>
                      <c:pt idx="2275">
                        <c:v>0.2964021</c:v>
                      </c:pt>
                      <c:pt idx="2276">
                        <c:v>0.3723051</c:v>
                      </c:pt>
                      <c:pt idx="2277">
                        <c:v>0.39239930000000001</c:v>
                      </c:pt>
                      <c:pt idx="2278">
                        <c:v>0</c:v>
                      </c:pt>
                      <c:pt idx="2279">
                        <c:v>2.6071022290000002E-2</c:v>
                      </c:pt>
                      <c:pt idx="2280">
                        <c:v>2.7776060000000002E-2</c:v>
                      </c:pt>
                      <c:pt idx="2281">
                        <c:v>0.1021265</c:v>
                      </c:pt>
                      <c:pt idx="2282">
                        <c:v>0.1017015</c:v>
                      </c:pt>
                      <c:pt idx="2283">
                        <c:v>0.20734169999999999</c:v>
                      </c:pt>
                      <c:pt idx="2284">
                        <c:v>0.66835109999999998</c:v>
                      </c:pt>
                      <c:pt idx="2285">
                        <c:v>0.96232590000000007</c:v>
                      </c:pt>
                      <c:pt idx="2286">
                        <c:v>0.94270548369999996</c:v>
                      </c:pt>
                      <c:pt idx="2287">
                        <c:v>0.92974467110000003</c:v>
                      </c:pt>
                      <c:pt idx="2288">
                        <c:v>0.89716669999999998</c:v>
                      </c:pt>
                      <c:pt idx="2289">
                        <c:v>0.66486429999999996</c:v>
                      </c:pt>
                      <c:pt idx="2290">
                        <c:v>0.48640149999999999</c:v>
                      </c:pt>
                      <c:pt idx="2291">
                        <c:v>0.142487</c:v>
                      </c:pt>
                      <c:pt idx="2292">
                        <c:v>0</c:v>
                      </c:pt>
                      <c:pt idx="2293">
                        <c:v>3.099375E-2</c:v>
                      </c:pt>
                      <c:pt idx="2294">
                        <c:v>0.31451689999999999</c:v>
                      </c:pt>
                      <c:pt idx="2295">
                        <c:v>0.44238819999999995</c:v>
                      </c:pt>
                      <c:pt idx="2296">
                        <c:v>0.55594440000000001</c:v>
                      </c:pt>
                      <c:pt idx="2297">
                        <c:v>0.39822249999999998</c:v>
                      </c:pt>
                      <c:pt idx="2298">
                        <c:v>0.2484335</c:v>
                      </c:pt>
                      <c:pt idx="2299">
                        <c:v>0.19756309999999999</c:v>
                      </c:pt>
                      <c:pt idx="2300">
                        <c:v>9.8140962110000007E-2</c:v>
                      </c:pt>
                      <c:pt idx="2301">
                        <c:v>0</c:v>
                      </c:pt>
                      <c:pt idx="2302">
                        <c:v>3.4110630000000003E-2</c:v>
                      </c:pt>
                      <c:pt idx="2303">
                        <c:v>0.32756000000000002</c:v>
                      </c:pt>
                      <c:pt idx="2304">
                        <c:v>0.45472477210000001</c:v>
                      </c:pt>
                      <c:pt idx="2305">
                        <c:v>0.6234944</c:v>
                      </c:pt>
                      <c:pt idx="2306">
                        <c:v>0.63427679999999997</c:v>
                      </c:pt>
                      <c:pt idx="2307">
                        <c:v>0.81481329999999996</c:v>
                      </c:pt>
                      <c:pt idx="2308">
                        <c:v>0.57394279999999998</c:v>
                      </c:pt>
                      <c:pt idx="2309">
                        <c:v>0.38172199999999995</c:v>
                      </c:pt>
                      <c:pt idx="2310">
                        <c:v>0.12678900000000001</c:v>
                      </c:pt>
                      <c:pt idx="2311">
                        <c:v>0</c:v>
                      </c:pt>
                      <c:pt idx="2312">
                        <c:v>0</c:v>
                      </c:pt>
                      <c:pt idx="2313">
                        <c:v>0</c:v>
                      </c:pt>
                      <c:pt idx="2314">
                        <c:v>0</c:v>
                      </c:pt>
                      <c:pt idx="2315">
                        <c:v>0</c:v>
                      </c:pt>
                      <c:pt idx="2316">
                        <c:v>0</c:v>
                      </c:pt>
                      <c:pt idx="2317">
                        <c:v>0</c:v>
                      </c:pt>
                      <c:pt idx="2318">
                        <c:v>0</c:v>
                      </c:pt>
                      <c:pt idx="2319">
                        <c:v>0</c:v>
                      </c:pt>
                      <c:pt idx="2320">
                        <c:v>0</c:v>
                      </c:pt>
                      <c:pt idx="2321">
                        <c:v>0</c:v>
                      </c:pt>
                      <c:pt idx="2322">
                        <c:v>0</c:v>
                      </c:pt>
                      <c:pt idx="2323">
                        <c:v>0</c:v>
                      </c:pt>
                      <c:pt idx="2324">
                        <c:v>0</c:v>
                      </c:pt>
                      <c:pt idx="2325">
                        <c:v>0</c:v>
                      </c:pt>
                      <c:pt idx="2326">
                        <c:v>0</c:v>
                      </c:pt>
                      <c:pt idx="2327">
                        <c:v>0</c:v>
                      </c:pt>
                      <c:pt idx="2328">
                        <c:v>0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4.3393150069999997E-2</c:v>
                      </c:pt>
                      <c:pt idx="2336">
                        <c:v>6.4835361750000001E-2</c:v>
                      </c:pt>
                      <c:pt idx="2337">
                        <c:v>8.662394000000001E-2</c:v>
                      </c:pt>
                      <c:pt idx="2338">
                        <c:v>8.8646266619999997E-2</c:v>
                      </c:pt>
                      <c:pt idx="2339">
                        <c:v>0.35370399999999996</c:v>
                      </c:pt>
                      <c:pt idx="2340">
                        <c:v>0.92974100879999999</c:v>
                      </c:pt>
                      <c:pt idx="2341">
                        <c:v>1.4924279999999999</c:v>
                      </c:pt>
                      <c:pt idx="2342">
                        <c:v>1.4948466809999998</c:v>
                      </c:pt>
                      <c:pt idx="2343">
                        <c:v>1.7943090000000002</c:v>
                      </c:pt>
                      <c:pt idx="2344">
                        <c:v>2</c:v>
                      </c:pt>
                      <c:pt idx="2345">
                        <c:v>2</c:v>
                      </c:pt>
                      <c:pt idx="2346">
                        <c:v>2</c:v>
                      </c:pt>
                      <c:pt idx="2347">
                        <c:v>2</c:v>
                      </c:pt>
                      <c:pt idx="2348">
                        <c:v>1.9166890000000001</c:v>
                      </c:pt>
                      <c:pt idx="2349">
                        <c:v>1.6577680000000001</c:v>
                      </c:pt>
                      <c:pt idx="2350">
                        <c:v>1.5182470000000001</c:v>
                      </c:pt>
                      <c:pt idx="2351">
                        <c:v>1.3001410000000002</c:v>
                      </c:pt>
                      <c:pt idx="2352">
                        <c:v>0.77019670000000007</c:v>
                      </c:pt>
                      <c:pt idx="2353">
                        <c:v>0.88049000000000011</c:v>
                      </c:pt>
                      <c:pt idx="2354">
                        <c:v>0.7080149</c:v>
                      </c:pt>
                      <c:pt idx="2355">
                        <c:v>0.75792270000000006</c:v>
                      </c:pt>
                      <c:pt idx="2356">
                        <c:v>0.70911789999999997</c:v>
                      </c:pt>
                      <c:pt idx="2357">
                        <c:v>0.53823200000000004</c:v>
                      </c:pt>
                      <c:pt idx="2358">
                        <c:v>0.48925479999999999</c:v>
                      </c:pt>
                      <c:pt idx="2359">
                        <c:v>0.506247</c:v>
                      </c:pt>
                      <c:pt idx="2360">
                        <c:v>0.4286623</c:v>
                      </c:pt>
                      <c:pt idx="2361">
                        <c:v>0.62304300000000001</c:v>
                      </c:pt>
                      <c:pt idx="2362">
                        <c:v>0.71627560000000001</c:v>
                      </c:pt>
                      <c:pt idx="2363">
                        <c:v>0.89123630000000009</c:v>
                      </c:pt>
                      <c:pt idx="2364">
                        <c:v>0.7407201000000001</c:v>
                      </c:pt>
                      <c:pt idx="2365">
                        <c:v>0.6566902</c:v>
                      </c:pt>
                      <c:pt idx="2366">
                        <c:v>0.67544169999999992</c:v>
                      </c:pt>
                      <c:pt idx="2367">
                        <c:v>0.74536150000000001</c:v>
                      </c:pt>
                      <c:pt idx="2368">
                        <c:v>0.68673360000000006</c:v>
                      </c:pt>
                      <c:pt idx="2369">
                        <c:v>0.80199389999999993</c:v>
                      </c:pt>
                      <c:pt idx="2370">
                        <c:v>0.95090920000000001</c:v>
                      </c:pt>
                      <c:pt idx="2371">
                        <c:v>0.75682739999999993</c:v>
                      </c:pt>
                      <c:pt idx="2372">
                        <c:v>0.69560640000000007</c:v>
                      </c:pt>
                      <c:pt idx="2373">
                        <c:v>0.97568470000000007</c:v>
                      </c:pt>
                      <c:pt idx="2374">
                        <c:v>1.0857049999999999</c:v>
                      </c:pt>
                      <c:pt idx="2375">
                        <c:v>1.0734859999999999</c:v>
                      </c:pt>
                      <c:pt idx="2376">
                        <c:v>0.88699085100000008</c:v>
                      </c:pt>
                      <c:pt idx="2377">
                        <c:v>0.84008159999999998</c:v>
                      </c:pt>
                      <c:pt idx="2378">
                        <c:v>0.88030420000000009</c:v>
                      </c:pt>
                      <c:pt idx="2379">
                        <c:v>1.0980840000000001</c:v>
                      </c:pt>
                      <c:pt idx="2380">
                        <c:v>1.1383118290000001</c:v>
                      </c:pt>
                      <c:pt idx="2381">
                        <c:v>1.158501</c:v>
                      </c:pt>
                      <c:pt idx="2382">
                        <c:v>0.91991240000000007</c:v>
                      </c:pt>
                      <c:pt idx="2383">
                        <c:v>0.88827179999999994</c:v>
                      </c:pt>
                      <c:pt idx="2384">
                        <c:v>1.182077</c:v>
                      </c:pt>
                      <c:pt idx="2385">
                        <c:v>1.27362</c:v>
                      </c:pt>
                      <c:pt idx="2386">
                        <c:v>1.1931829999999999</c:v>
                      </c:pt>
                      <c:pt idx="2387">
                        <c:v>1.093421</c:v>
                      </c:pt>
                      <c:pt idx="2388">
                        <c:v>1.0980129999999999</c:v>
                      </c:pt>
                      <c:pt idx="2389">
                        <c:v>0.79410839999999994</c:v>
                      </c:pt>
                      <c:pt idx="2390">
                        <c:v>0.66923929999999998</c:v>
                      </c:pt>
                      <c:pt idx="2391">
                        <c:v>0.46338940000000001</c:v>
                      </c:pt>
                      <c:pt idx="2392">
                        <c:v>0.24701129999999999</c:v>
                      </c:pt>
                      <c:pt idx="2393">
                        <c:v>2.2399520000000003E-2</c:v>
                      </c:pt>
                      <c:pt idx="2394">
                        <c:v>2.9670621380000001E-2</c:v>
                      </c:pt>
                      <c:pt idx="2395">
                        <c:v>4.1519250000000001E-2</c:v>
                      </c:pt>
                      <c:pt idx="2396">
                        <c:v>1.3080400000000001E-2</c:v>
                      </c:pt>
                      <c:pt idx="2397">
                        <c:v>9.2148325329999989E-2</c:v>
                      </c:pt>
                      <c:pt idx="2398">
                        <c:v>9.7881040000000002E-2</c:v>
                      </c:pt>
                      <c:pt idx="2399">
                        <c:v>0.1595956</c:v>
                      </c:pt>
                      <c:pt idx="2400">
                        <c:v>9.3729720000000002E-2</c:v>
                      </c:pt>
                      <c:pt idx="2401">
                        <c:v>6.426774628000001E-2</c:v>
                      </c:pt>
                      <c:pt idx="2402">
                        <c:v>3.476158E-2</c:v>
                      </c:pt>
                      <c:pt idx="2403">
                        <c:v>9.5942693100000004E-3</c:v>
                      </c:pt>
                      <c:pt idx="2404">
                        <c:v>8.68067101E-3</c:v>
                      </c:pt>
                      <c:pt idx="2405">
                        <c:v>0</c:v>
                      </c:pt>
                      <c:pt idx="2406">
                        <c:v>2.5804029999999999E-2</c:v>
                      </c:pt>
                      <c:pt idx="2407">
                        <c:v>0.1310654</c:v>
                      </c:pt>
                      <c:pt idx="2408">
                        <c:v>0.2447136</c:v>
                      </c:pt>
                      <c:pt idx="2409">
                        <c:v>0.19508150000000002</c:v>
                      </c:pt>
                      <c:pt idx="2410">
                        <c:v>0.2397389</c:v>
                      </c:pt>
                      <c:pt idx="2411">
                        <c:v>0.30543239999999999</c:v>
                      </c:pt>
                      <c:pt idx="2412">
                        <c:v>0.35521760000000002</c:v>
                      </c:pt>
                      <c:pt idx="2413">
                        <c:v>0.33122880000000005</c:v>
                      </c:pt>
                      <c:pt idx="2414">
                        <c:v>0.2301839</c:v>
                      </c:pt>
                      <c:pt idx="2415">
                        <c:v>0.12888629999999998</c:v>
                      </c:pt>
                      <c:pt idx="2416">
                        <c:v>6.560545000000001E-2</c:v>
                      </c:pt>
                      <c:pt idx="2417">
                        <c:v>0.13918039999999998</c:v>
                      </c:pt>
                      <c:pt idx="2418">
                        <c:v>0.1703153</c:v>
                      </c:pt>
                      <c:pt idx="2419">
                        <c:v>9.5576149999999999E-2</c:v>
                      </c:pt>
                      <c:pt idx="2420">
                        <c:v>5.7163310000000002E-2</c:v>
                      </c:pt>
                      <c:pt idx="2421">
                        <c:v>0</c:v>
                      </c:pt>
                      <c:pt idx="2422">
                        <c:v>0.14797160000000001</c:v>
                      </c:pt>
                      <c:pt idx="2423">
                        <c:v>1.1089509999999999E-3</c:v>
                      </c:pt>
                      <c:pt idx="2424">
                        <c:v>2.8507769999999998E-2</c:v>
                      </c:pt>
                      <c:pt idx="2425">
                        <c:v>8.1552019999999989E-2</c:v>
                      </c:pt>
                      <c:pt idx="2426">
                        <c:v>0</c:v>
                      </c:pt>
                      <c:pt idx="2427">
                        <c:v>2.8320120000000001E-2</c:v>
                      </c:pt>
                      <c:pt idx="2428">
                        <c:v>2.6283517650000001E-2</c:v>
                      </c:pt>
                      <c:pt idx="2429">
                        <c:v>2.6263546910000001E-2</c:v>
                      </c:pt>
                      <c:pt idx="2430">
                        <c:v>2.4932906759999998E-2</c:v>
                      </c:pt>
                      <c:pt idx="2431">
                        <c:v>2.2150078139999998E-2</c:v>
                      </c:pt>
                      <c:pt idx="2432">
                        <c:v>2.200916394E-2</c:v>
                      </c:pt>
                      <c:pt idx="2433">
                        <c:v>2.1061788639999999E-2</c:v>
                      </c:pt>
                      <c:pt idx="2434">
                        <c:v>2.0920249410000001E-2</c:v>
                      </c:pt>
                      <c:pt idx="2435">
                        <c:v>2.0497043069999998E-2</c:v>
                      </c:pt>
                      <c:pt idx="2436">
                        <c:v>1.989219473E-2</c:v>
                      </c:pt>
                      <c:pt idx="2437">
                        <c:v>1.950909118E-2</c:v>
                      </c:pt>
                      <c:pt idx="2438">
                        <c:v>1.9408279760000001E-2</c:v>
                      </c:pt>
                      <c:pt idx="2439">
                        <c:v>1.9368176979999999E-2</c:v>
                      </c:pt>
                      <c:pt idx="2440">
                        <c:v>1.8642395249999999E-2</c:v>
                      </c:pt>
                      <c:pt idx="2441">
                        <c:v>1.8621950700000001E-2</c:v>
                      </c:pt>
                      <c:pt idx="2442">
                        <c:v>1.8521139280000001E-2</c:v>
                      </c:pt>
                      <c:pt idx="2443">
                        <c:v>1.842033794E-2</c:v>
                      </c:pt>
                      <c:pt idx="2444">
                        <c:v>1.8077810990000002E-2</c:v>
                      </c:pt>
                      <c:pt idx="2445">
                        <c:v>1.7633998799999998E-2</c:v>
                      </c:pt>
                      <c:pt idx="2446">
                        <c:v>1.5940397219999999E-2</c:v>
                      </c:pt>
                      <c:pt idx="2447">
                        <c:v>1.5577738230000001E-2</c:v>
                      </c:pt>
                      <c:pt idx="2448">
                        <c:v>1.545648225E-2</c:v>
                      </c:pt>
                      <c:pt idx="2449">
                        <c:v>1.5335548880000001E-2</c:v>
                      </c:pt>
                      <c:pt idx="2450">
                        <c:v>1.5234737460000002E-2</c:v>
                      </c:pt>
                      <c:pt idx="2451">
                        <c:v>1.5073540000000002E-2</c:v>
                      </c:pt>
                      <c:pt idx="2452">
                        <c:v>0.42395189999999999</c:v>
                      </c:pt>
                      <c:pt idx="2453">
                        <c:v>0.57284800000000002</c:v>
                      </c:pt>
                      <c:pt idx="2454">
                        <c:v>0.61172649999999995</c:v>
                      </c:pt>
                      <c:pt idx="2455">
                        <c:v>0.55716569999999999</c:v>
                      </c:pt>
                      <c:pt idx="2456">
                        <c:v>0.68278139999999998</c:v>
                      </c:pt>
                      <c:pt idx="2457">
                        <c:v>0.68239649629999999</c:v>
                      </c:pt>
                      <c:pt idx="2458">
                        <c:v>0.63435580000000003</c:v>
                      </c:pt>
                      <c:pt idx="2459">
                        <c:v>0.38310119999999998</c:v>
                      </c:pt>
                      <c:pt idx="2460">
                        <c:v>0.38293503029999998</c:v>
                      </c:pt>
                      <c:pt idx="2461">
                        <c:v>0.34146540000000003</c:v>
                      </c:pt>
                      <c:pt idx="2462">
                        <c:v>0.24633739999999998</c:v>
                      </c:pt>
                      <c:pt idx="2463">
                        <c:v>5.5391820000000001E-2</c:v>
                      </c:pt>
                      <c:pt idx="2464">
                        <c:v>0</c:v>
                      </c:pt>
                      <c:pt idx="2465">
                        <c:v>0.14531539999999998</c:v>
                      </c:pt>
                      <c:pt idx="2466">
                        <c:v>0.25898650000000001</c:v>
                      </c:pt>
                      <c:pt idx="2467">
                        <c:v>0.1602394</c:v>
                      </c:pt>
                      <c:pt idx="2468">
                        <c:v>2.456322E-2</c:v>
                      </c:pt>
                      <c:pt idx="2469">
                        <c:v>2.825637445E-2</c:v>
                      </c:pt>
                      <c:pt idx="2470">
                        <c:v>3.2563977229999999E-2</c:v>
                      </c:pt>
                      <c:pt idx="2471">
                        <c:v>3.6871580000000001E-2</c:v>
                      </c:pt>
                      <c:pt idx="2472">
                        <c:v>0.46619650000000001</c:v>
                      </c:pt>
                      <c:pt idx="2473">
                        <c:v>0.94941990000000009</c:v>
                      </c:pt>
                      <c:pt idx="2474">
                        <c:v>0.98754009999999992</c:v>
                      </c:pt>
                      <c:pt idx="2475">
                        <c:v>0.79263059999999996</c:v>
                      </c:pt>
                      <c:pt idx="2476">
                        <c:v>0.37747940000000002</c:v>
                      </c:pt>
                      <c:pt idx="2477">
                        <c:v>0.22097750000000002</c:v>
                      </c:pt>
                      <c:pt idx="2478">
                        <c:v>0.26265929999999998</c:v>
                      </c:pt>
                      <c:pt idx="2479">
                        <c:v>0.3671624</c:v>
                      </c:pt>
                      <c:pt idx="2480">
                        <c:v>0.63393480000000002</c:v>
                      </c:pt>
                      <c:pt idx="2481">
                        <c:v>0.8048206</c:v>
                      </c:pt>
                      <c:pt idx="2482">
                        <c:v>0.80426388380000002</c:v>
                      </c:pt>
                      <c:pt idx="2483">
                        <c:v>0.73533559999999998</c:v>
                      </c:pt>
                      <c:pt idx="2484">
                        <c:v>1.3507070000000001E-2</c:v>
                      </c:pt>
                      <c:pt idx="2485">
                        <c:v>7.7752970000000005E-2</c:v>
                      </c:pt>
                      <c:pt idx="2486">
                        <c:v>8.006601931E-2</c:v>
                      </c:pt>
                      <c:pt idx="2487">
                        <c:v>0.36413679999999998</c:v>
                      </c:pt>
                      <c:pt idx="2488">
                        <c:v>0.58671129999999994</c:v>
                      </c:pt>
                      <c:pt idx="2489">
                        <c:v>0.73176640000000004</c:v>
                      </c:pt>
                      <c:pt idx="2490">
                        <c:v>0.84867720000000002</c:v>
                      </c:pt>
                      <c:pt idx="2491">
                        <c:v>0.81594160000000004</c:v>
                      </c:pt>
                      <c:pt idx="2492">
                        <c:v>0.5061090667</c:v>
                      </c:pt>
                      <c:pt idx="2493">
                        <c:v>0.35119280000000003</c:v>
                      </c:pt>
                      <c:pt idx="2494">
                        <c:v>0.43475530000000001</c:v>
                      </c:pt>
                      <c:pt idx="2495">
                        <c:v>0.77183980000000008</c:v>
                      </c:pt>
                      <c:pt idx="2496">
                        <c:v>0.77368212080000009</c:v>
                      </c:pt>
                      <c:pt idx="2497">
                        <c:v>1.2371399999999999</c:v>
                      </c:pt>
                      <c:pt idx="2498">
                        <c:v>1.3634649999999999</c:v>
                      </c:pt>
                      <c:pt idx="2499">
                        <c:v>1.328956</c:v>
                      </c:pt>
                      <c:pt idx="2500">
                        <c:v>1.3577510000000002</c:v>
                      </c:pt>
                      <c:pt idx="2501">
                        <c:v>1.305016</c:v>
                      </c:pt>
                      <c:pt idx="2502">
                        <c:v>1.3236289999999999</c:v>
                      </c:pt>
                      <c:pt idx="2503">
                        <c:v>1.4880690000000001</c:v>
                      </c:pt>
                      <c:pt idx="2504">
                        <c:v>1.6914230000000001</c:v>
                      </c:pt>
                      <c:pt idx="2505">
                        <c:v>1.804133</c:v>
                      </c:pt>
                      <c:pt idx="2506">
                        <c:v>2</c:v>
                      </c:pt>
                      <c:pt idx="2507">
                        <c:v>1.977326382</c:v>
                      </c:pt>
                      <c:pt idx="2508">
                        <c:v>1.909497</c:v>
                      </c:pt>
                      <c:pt idx="2509">
                        <c:v>1.4875020000000001</c:v>
                      </c:pt>
                      <c:pt idx="2510">
                        <c:v>1.204358</c:v>
                      </c:pt>
                      <c:pt idx="2511">
                        <c:v>1.1042589999999999</c:v>
                      </c:pt>
                      <c:pt idx="2512">
                        <c:v>0.91068700000000002</c:v>
                      </c:pt>
                      <c:pt idx="2513">
                        <c:v>1.095221</c:v>
                      </c:pt>
                      <c:pt idx="2514">
                        <c:v>1.084384</c:v>
                      </c:pt>
                      <c:pt idx="2515">
                        <c:v>0.76170640000000001</c:v>
                      </c:pt>
                      <c:pt idx="2516">
                        <c:v>0.77639690000000006</c:v>
                      </c:pt>
                      <c:pt idx="2517">
                        <c:v>0.71742440000000007</c:v>
                      </c:pt>
                      <c:pt idx="2518">
                        <c:v>0.84250400000000003</c:v>
                      </c:pt>
                      <c:pt idx="2519">
                        <c:v>0.88928914520000002</c:v>
                      </c:pt>
                      <c:pt idx="2520">
                        <c:v>0.98105999999999993</c:v>
                      </c:pt>
                      <c:pt idx="2521">
                        <c:v>1.2957749999999999</c:v>
                      </c:pt>
                      <c:pt idx="2522">
                        <c:v>1.2623770000000001</c:v>
                      </c:pt>
                      <c:pt idx="2523">
                        <c:v>0.93249629999999994</c:v>
                      </c:pt>
                      <c:pt idx="2524">
                        <c:v>0.85162161710000006</c:v>
                      </c:pt>
                      <c:pt idx="2525">
                        <c:v>0.81213869999999999</c:v>
                      </c:pt>
                      <c:pt idx="2526">
                        <c:v>0.13571079999999999</c:v>
                      </c:pt>
                      <c:pt idx="2527">
                        <c:v>0</c:v>
                      </c:pt>
                      <c:pt idx="2528">
                        <c:v>0</c:v>
                      </c:pt>
                      <c:pt idx="2529">
                        <c:v>0</c:v>
                      </c:pt>
                      <c:pt idx="2530">
                        <c:v>0</c:v>
                      </c:pt>
                      <c:pt idx="2531">
                        <c:v>0</c:v>
                      </c:pt>
                      <c:pt idx="2532">
                        <c:v>0</c:v>
                      </c:pt>
                      <c:pt idx="2533">
                        <c:v>0</c:v>
                      </c:pt>
                      <c:pt idx="2534">
                        <c:v>3.6174549869999996E-2</c:v>
                      </c:pt>
                      <c:pt idx="2535">
                        <c:v>7.8217275190000005E-2</c:v>
                      </c:pt>
                      <c:pt idx="2536">
                        <c:v>8.4317049999999991E-2</c:v>
                      </c:pt>
                      <c:pt idx="2537">
                        <c:v>0.20908650000000001</c:v>
                      </c:pt>
                      <c:pt idx="2538">
                        <c:v>0.25874160000000002</c:v>
                      </c:pt>
                      <c:pt idx="2539">
                        <c:v>0.14928669999999999</c:v>
                      </c:pt>
                      <c:pt idx="2540">
                        <c:v>0.3016296</c:v>
                      </c:pt>
                      <c:pt idx="2541">
                        <c:v>0.69317130000000005</c:v>
                      </c:pt>
                      <c:pt idx="2542">
                        <c:v>0.98820629999999998</c:v>
                      </c:pt>
                      <c:pt idx="2543">
                        <c:v>1.162056</c:v>
                      </c:pt>
                      <c:pt idx="2544">
                        <c:v>1.243398</c:v>
                      </c:pt>
                      <c:pt idx="2545">
                        <c:v>0.91460400000000008</c:v>
                      </c:pt>
                      <c:pt idx="2546">
                        <c:v>1.0412919999999999</c:v>
                      </c:pt>
                      <c:pt idx="2547">
                        <c:v>1.1412450000000001</c:v>
                      </c:pt>
                      <c:pt idx="2548">
                        <c:v>1.1754020000000001</c:v>
                      </c:pt>
                      <c:pt idx="2549">
                        <c:v>1.032727</c:v>
                      </c:pt>
                      <c:pt idx="2550">
                        <c:v>0.94900779999999996</c:v>
                      </c:pt>
                      <c:pt idx="2551">
                        <c:v>0.44688529999999999</c:v>
                      </c:pt>
                      <c:pt idx="2552">
                        <c:v>0.13890630000000001</c:v>
                      </c:pt>
                      <c:pt idx="2553">
                        <c:v>0</c:v>
                      </c:pt>
                      <c:pt idx="2554">
                        <c:v>0</c:v>
                      </c:pt>
                      <c:pt idx="2555">
                        <c:v>0</c:v>
                      </c:pt>
                      <c:pt idx="2556">
                        <c:v>0</c:v>
                      </c:pt>
                      <c:pt idx="2557">
                        <c:v>0</c:v>
                      </c:pt>
                      <c:pt idx="2558">
                        <c:v>6.8454609999999999E-2</c:v>
                      </c:pt>
                      <c:pt idx="2559">
                        <c:v>0.21804010000000001</c:v>
                      </c:pt>
                      <c:pt idx="2560">
                        <c:v>5.3013539999999998E-2</c:v>
                      </c:pt>
                      <c:pt idx="2561">
                        <c:v>0</c:v>
                      </c:pt>
                      <c:pt idx="2562">
                        <c:v>8.0255647399999994E-3</c:v>
                      </c:pt>
                      <c:pt idx="2563">
                        <c:v>9.2596490300000008E-3</c:v>
                      </c:pt>
                      <c:pt idx="2564">
                        <c:v>1.112035403E-2</c:v>
                      </c:pt>
                      <c:pt idx="2565">
                        <c:v>1.6682693959999998E-2</c:v>
                      </c:pt>
                      <c:pt idx="2566">
                        <c:v>2.1001680000000002E-2</c:v>
                      </c:pt>
                      <c:pt idx="2567">
                        <c:v>0.1291774</c:v>
                      </c:pt>
                      <c:pt idx="2568">
                        <c:v>0.12994504060000001</c:v>
                      </c:pt>
                      <c:pt idx="2569">
                        <c:v>0.32228659999999998</c:v>
                      </c:pt>
                      <c:pt idx="2570">
                        <c:v>0.46739520000000001</c:v>
                      </c:pt>
                      <c:pt idx="2571">
                        <c:v>0.39832400000000001</c:v>
                      </c:pt>
                      <c:pt idx="2572">
                        <c:v>0</c:v>
                      </c:pt>
                      <c:pt idx="2573">
                        <c:v>6.0025760000000004E-2</c:v>
                      </c:pt>
                      <c:pt idx="2574">
                        <c:v>0.36657249999999997</c:v>
                      </c:pt>
                      <c:pt idx="2575">
                        <c:v>0.56179190000000001</c:v>
                      </c:pt>
                      <c:pt idx="2576">
                        <c:v>0.68060199999999993</c:v>
                      </c:pt>
                      <c:pt idx="2577">
                        <c:v>0.70445279999999999</c:v>
                      </c:pt>
                      <c:pt idx="2578">
                        <c:v>0.70283595139999999</c:v>
                      </c:pt>
                      <c:pt idx="2579">
                        <c:v>0.50265029999999999</c:v>
                      </c:pt>
                      <c:pt idx="2580">
                        <c:v>0.38714860000000001</c:v>
                      </c:pt>
                      <c:pt idx="2581">
                        <c:v>0.30018919999999999</c:v>
                      </c:pt>
                      <c:pt idx="2582">
                        <c:v>0</c:v>
                      </c:pt>
                      <c:pt idx="2583">
                        <c:v>0</c:v>
                      </c:pt>
                      <c:pt idx="2584">
                        <c:v>0</c:v>
                      </c:pt>
                      <c:pt idx="2585">
                        <c:v>0</c:v>
                      </c:pt>
                      <c:pt idx="2586">
                        <c:v>0</c:v>
                      </c:pt>
                      <c:pt idx="2587">
                        <c:v>0</c:v>
                      </c:pt>
                      <c:pt idx="2588">
                        <c:v>0</c:v>
                      </c:pt>
                      <c:pt idx="2589">
                        <c:v>0</c:v>
                      </c:pt>
                      <c:pt idx="2590">
                        <c:v>8.123023E-2</c:v>
                      </c:pt>
                      <c:pt idx="2591">
                        <c:v>0.2687291</c:v>
                      </c:pt>
                      <c:pt idx="2592">
                        <c:v>0.3850886</c:v>
                      </c:pt>
                      <c:pt idx="2593">
                        <c:v>0.33600830000000004</c:v>
                      </c:pt>
                      <c:pt idx="2594">
                        <c:v>0.15816</c:v>
                      </c:pt>
                      <c:pt idx="2595">
                        <c:v>6.6375080000000003E-2</c:v>
                      </c:pt>
                      <c:pt idx="2596">
                        <c:v>0.11466290000000001</c:v>
                      </c:pt>
                      <c:pt idx="2597">
                        <c:v>0</c:v>
                      </c:pt>
                      <c:pt idx="2598">
                        <c:v>8.5434521760000007E-2</c:v>
                      </c:pt>
                      <c:pt idx="2599">
                        <c:v>0.1063412</c:v>
                      </c:pt>
                      <c:pt idx="2600">
                        <c:v>0.49136859999999999</c:v>
                      </c:pt>
                      <c:pt idx="2601">
                        <c:v>0.61820619999999993</c:v>
                      </c:pt>
                      <c:pt idx="2602">
                        <c:v>0.45674509999999996</c:v>
                      </c:pt>
                      <c:pt idx="2603">
                        <c:v>0.60569870000000003</c:v>
                      </c:pt>
                      <c:pt idx="2604">
                        <c:v>0.60976560000000002</c:v>
                      </c:pt>
                      <c:pt idx="2605">
                        <c:v>0.71868030000000005</c:v>
                      </c:pt>
                      <c:pt idx="2606">
                        <c:v>0.7185326984</c:v>
                      </c:pt>
                      <c:pt idx="2607">
                        <c:v>0.6793884</c:v>
                      </c:pt>
                      <c:pt idx="2608">
                        <c:v>0.19757840000000002</c:v>
                      </c:pt>
                      <c:pt idx="2609">
                        <c:v>0</c:v>
                      </c:pt>
                      <c:pt idx="2610">
                        <c:v>0.2129456884</c:v>
                      </c:pt>
                      <c:pt idx="2611">
                        <c:v>0.25115490000000001</c:v>
                      </c:pt>
                      <c:pt idx="2612">
                        <c:v>0.51368769999999997</c:v>
                      </c:pt>
                      <c:pt idx="2613">
                        <c:v>0.83461470000000004</c:v>
                      </c:pt>
                      <c:pt idx="2614">
                        <c:v>0.94056550000000005</c:v>
                      </c:pt>
                      <c:pt idx="2615">
                        <c:v>0.9627545999999999</c:v>
                      </c:pt>
                      <c:pt idx="2616">
                        <c:v>1.0771839999999999</c:v>
                      </c:pt>
                      <c:pt idx="2617">
                        <c:v>1.119923</c:v>
                      </c:pt>
                      <c:pt idx="2618">
                        <c:v>0.8426115354</c:v>
                      </c:pt>
                      <c:pt idx="2619">
                        <c:v>0.56099529999999997</c:v>
                      </c:pt>
                      <c:pt idx="2620">
                        <c:v>0.36660710000000002</c:v>
                      </c:pt>
                      <c:pt idx="2621">
                        <c:v>0.2294641</c:v>
                      </c:pt>
                      <c:pt idx="2622">
                        <c:v>0.1097612</c:v>
                      </c:pt>
                      <c:pt idx="2623">
                        <c:v>0</c:v>
                      </c:pt>
                      <c:pt idx="2624">
                        <c:v>5.4266674640000005E-2</c:v>
                      </c:pt>
                      <c:pt idx="2625">
                        <c:v>6.7887909999999996E-2</c:v>
                      </c:pt>
                      <c:pt idx="2626">
                        <c:v>0.13098100000000001</c:v>
                      </c:pt>
                      <c:pt idx="2627">
                        <c:v>0</c:v>
                      </c:pt>
                      <c:pt idx="2628">
                        <c:v>1.2071949E-4</c:v>
                      </c:pt>
                      <c:pt idx="2629">
                        <c:v>2.8450877900000001E-2</c:v>
                      </c:pt>
                      <c:pt idx="2630">
                        <c:v>3.3654799999999999E-2</c:v>
                      </c:pt>
                      <c:pt idx="2631">
                        <c:v>0.63251420000000003</c:v>
                      </c:pt>
                      <c:pt idx="2632">
                        <c:v>0.64068068839999992</c:v>
                      </c:pt>
                      <c:pt idx="2633">
                        <c:v>1.1530610000000001</c:v>
                      </c:pt>
                      <c:pt idx="2634">
                        <c:v>1.2871940000000002</c:v>
                      </c:pt>
                      <c:pt idx="2635">
                        <c:v>1.238078</c:v>
                      </c:pt>
                      <c:pt idx="2636">
                        <c:v>1.277792</c:v>
                      </c:pt>
                      <c:pt idx="2637">
                        <c:v>1.0248139999999999</c:v>
                      </c:pt>
                      <c:pt idx="2638">
                        <c:v>0.57575100000000001</c:v>
                      </c:pt>
                      <c:pt idx="2639">
                        <c:v>0.25521060000000001</c:v>
                      </c:pt>
                      <c:pt idx="2640">
                        <c:v>1.45915E-3</c:v>
                      </c:pt>
                      <c:pt idx="2641">
                        <c:v>3.177774806E-2</c:v>
                      </c:pt>
                      <c:pt idx="2642">
                        <c:v>6.0489100000000004E-2</c:v>
                      </c:pt>
                      <c:pt idx="2643">
                        <c:v>0.25419190000000003</c:v>
                      </c:pt>
                      <c:pt idx="2644">
                        <c:v>0.4452142</c:v>
                      </c:pt>
                      <c:pt idx="2645">
                        <c:v>0.56544930000000004</c:v>
                      </c:pt>
                      <c:pt idx="2646">
                        <c:v>0.71365599999999996</c:v>
                      </c:pt>
                      <c:pt idx="2647">
                        <c:v>0.80472460000000001</c:v>
                      </c:pt>
                      <c:pt idx="2648">
                        <c:v>0.78320210000000001</c:v>
                      </c:pt>
                      <c:pt idx="2649">
                        <c:v>0.67267889999999997</c:v>
                      </c:pt>
                      <c:pt idx="2650">
                        <c:v>0.62490810000000008</c:v>
                      </c:pt>
                      <c:pt idx="2651">
                        <c:v>0.54980519999999999</c:v>
                      </c:pt>
                      <c:pt idx="2652">
                        <c:v>0.33407829999999999</c:v>
                      </c:pt>
                      <c:pt idx="2653">
                        <c:v>7.6025910000000002E-2</c:v>
                      </c:pt>
                      <c:pt idx="2654">
                        <c:v>0.28173373880000002</c:v>
                      </c:pt>
                      <c:pt idx="2655">
                        <c:v>0.38502380000000003</c:v>
                      </c:pt>
                      <c:pt idx="2656">
                        <c:v>0.63425640000000005</c:v>
                      </c:pt>
                      <c:pt idx="2657">
                        <c:v>0.78125690000000003</c:v>
                      </c:pt>
                      <c:pt idx="2658">
                        <c:v>0.58418389999999998</c:v>
                      </c:pt>
                      <c:pt idx="2659">
                        <c:v>0.58192832420000007</c:v>
                      </c:pt>
                      <c:pt idx="2660">
                        <c:v>1.0141020000000001E-2</c:v>
                      </c:pt>
                      <c:pt idx="2661">
                        <c:v>2.770974679E-2</c:v>
                      </c:pt>
                      <c:pt idx="2662">
                        <c:v>4.9749170950000005E-2</c:v>
                      </c:pt>
                      <c:pt idx="2663">
                        <c:v>7.3988129690000001E-2</c:v>
                      </c:pt>
                      <c:pt idx="2664">
                        <c:v>7.6274720000000004E-2</c:v>
                      </c:pt>
                      <c:pt idx="2665">
                        <c:v>0.4250777</c:v>
                      </c:pt>
                      <c:pt idx="2666">
                        <c:v>0.71505759999999996</c:v>
                      </c:pt>
                      <c:pt idx="2667">
                        <c:v>0.83464267000000003</c:v>
                      </c:pt>
                      <c:pt idx="2668">
                        <c:v>1.0755950000000001</c:v>
                      </c:pt>
                      <c:pt idx="2669">
                        <c:v>1.105925</c:v>
                      </c:pt>
                      <c:pt idx="2670">
                        <c:v>0.74886160000000002</c:v>
                      </c:pt>
                      <c:pt idx="2671">
                        <c:v>0.66148870000000004</c:v>
                      </c:pt>
                      <c:pt idx="2672">
                        <c:v>0.66183216029999992</c:v>
                      </c:pt>
                      <c:pt idx="2673">
                        <c:v>0.70719149999999997</c:v>
                      </c:pt>
                      <c:pt idx="2674">
                        <c:v>0.50869010000000003</c:v>
                      </c:pt>
                      <c:pt idx="2675">
                        <c:v>0.4028851</c:v>
                      </c:pt>
                      <c:pt idx="2676">
                        <c:v>0</c:v>
                      </c:pt>
                      <c:pt idx="2677">
                        <c:v>7.7328334700000004E-3</c:v>
                      </c:pt>
                      <c:pt idx="2678">
                        <c:v>5.0991072710000002E-2</c:v>
                      </c:pt>
                      <c:pt idx="2679">
                        <c:v>7.0655518109999996E-2</c:v>
                      </c:pt>
                      <c:pt idx="2680">
                        <c:v>9.0321929999999995E-2</c:v>
                      </c:pt>
                      <c:pt idx="2681">
                        <c:v>0.4229871</c:v>
                      </c:pt>
                      <c:pt idx="2682">
                        <c:v>0.66126689999999999</c:v>
                      </c:pt>
                      <c:pt idx="2683">
                        <c:v>0.78007340000000003</c:v>
                      </c:pt>
                      <c:pt idx="2684">
                        <c:v>0.75904880000000008</c:v>
                      </c:pt>
                      <c:pt idx="2685">
                        <c:v>0.91897419999999996</c:v>
                      </c:pt>
                      <c:pt idx="2686">
                        <c:v>1.269493</c:v>
                      </c:pt>
                      <c:pt idx="2687">
                        <c:v>1.8919269999999999</c:v>
                      </c:pt>
                      <c:pt idx="2688">
                        <c:v>2</c:v>
                      </c:pt>
                      <c:pt idx="2689">
                        <c:v>1.990139077</c:v>
                      </c:pt>
                      <c:pt idx="2690">
                        <c:v>1.9802929230000001</c:v>
                      </c:pt>
                      <c:pt idx="2691">
                        <c:v>1.968512</c:v>
                      </c:pt>
                      <c:pt idx="2692">
                        <c:v>1.7562483330000001</c:v>
                      </c:pt>
                      <c:pt idx="2693">
                        <c:v>1.3331979999999999</c:v>
                      </c:pt>
                      <c:pt idx="2694">
                        <c:v>1.1358379999999999</c:v>
                      </c:pt>
                      <c:pt idx="2695">
                        <c:v>0.53179009999999993</c:v>
                      </c:pt>
                      <c:pt idx="2696">
                        <c:v>0.36266219999999999</c:v>
                      </c:pt>
                      <c:pt idx="2697">
                        <c:v>0.22878649870000001</c:v>
                      </c:pt>
                      <c:pt idx="2698">
                        <c:v>0.16130800000000001</c:v>
                      </c:pt>
                      <c:pt idx="2699">
                        <c:v>0</c:v>
                      </c:pt>
                      <c:pt idx="2700">
                        <c:v>2.8182685000000001E-4</c:v>
                      </c:pt>
                      <c:pt idx="2701">
                        <c:v>3.9726058600000006E-3</c:v>
                      </c:pt>
                      <c:pt idx="2702">
                        <c:v>4.8270490299999998E-3</c:v>
                      </c:pt>
                      <c:pt idx="2703">
                        <c:v>9.3789576799999993E-3</c:v>
                      </c:pt>
                      <c:pt idx="2704">
                        <c:v>1.165590784E-2</c:v>
                      </c:pt>
                      <c:pt idx="2705">
                        <c:v>1.5364469999999998E-2</c:v>
                      </c:pt>
                      <c:pt idx="2706">
                        <c:v>9.2638830000000005E-2</c:v>
                      </c:pt>
                      <c:pt idx="2707">
                        <c:v>0</c:v>
                      </c:pt>
                      <c:pt idx="2708">
                        <c:v>5.8611707959999995E-2</c:v>
                      </c:pt>
                      <c:pt idx="2709">
                        <c:v>0.2348870831</c:v>
                      </c:pt>
                      <c:pt idx="2710">
                        <c:v>0.35164090000000003</c:v>
                      </c:pt>
                      <c:pt idx="2711">
                        <c:v>0.67328399999999999</c:v>
                      </c:pt>
                      <c:pt idx="2712">
                        <c:v>1.02363</c:v>
                      </c:pt>
                      <c:pt idx="2713">
                        <c:v>1.0896680000000001</c:v>
                      </c:pt>
                      <c:pt idx="2714">
                        <c:v>1.127229</c:v>
                      </c:pt>
                      <c:pt idx="2715">
                        <c:v>1.0128459999999999</c:v>
                      </c:pt>
                      <c:pt idx="2716">
                        <c:v>0.86594870000000002</c:v>
                      </c:pt>
                      <c:pt idx="2717">
                        <c:v>0.68734269999999997</c:v>
                      </c:pt>
                      <c:pt idx="2718">
                        <c:v>0.59114240000000007</c:v>
                      </c:pt>
                      <c:pt idx="2719">
                        <c:v>0.48142699999999999</c:v>
                      </c:pt>
                      <c:pt idx="2720">
                        <c:v>0.42972709999999997</c:v>
                      </c:pt>
                      <c:pt idx="2721">
                        <c:v>0.43806809999999996</c:v>
                      </c:pt>
                      <c:pt idx="2722">
                        <c:v>0.70938959999999995</c:v>
                      </c:pt>
                      <c:pt idx="2723">
                        <c:v>1.121343</c:v>
                      </c:pt>
                      <c:pt idx="2724">
                        <c:v>1.4071070000000001</c:v>
                      </c:pt>
                      <c:pt idx="2725">
                        <c:v>1.585817</c:v>
                      </c:pt>
                      <c:pt idx="2726">
                        <c:v>1.6963509999999999</c:v>
                      </c:pt>
                      <c:pt idx="2727">
                        <c:v>1.6188399999999998</c:v>
                      </c:pt>
                      <c:pt idx="2728">
                        <c:v>1.243938</c:v>
                      </c:pt>
                      <c:pt idx="2729">
                        <c:v>0.96810069999999993</c:v>
                      </c:pt>
                      <c:pt idx="2730">
                        <c:v>0.83505930000000006</c:v>
                      </c:pt>
                      <c:pt idx="2731">
                        <c:v>0.77978229999999993</c:v>
                      </c:pt>
                      <c:pt idx="2732">
                        <c:v>0.65325109999999997</c:v>
                      </c:pt>
                      <c:pt idx="2733">
                        <c:v>0</c:v>
                      </c:pt>
                      <c:pt idx="2734">
                        <c:v>0</c:v>
                      </c:pt>
                      <c:pt idx="2735">
                        <c:v>0</c:v>
                      </c:pt>
                      <c:pt idx="2736">
                        <c:v>0</c:v>
                      </c:pt>
                      <c:pt idx="2737">
                        <c:v>0</c:v>
                      </c:pt>
                      <c:pt idx="2738">
                        <c:v>0</c:v>
                      </c:pt>
                      <c:pt idx="2739">
                        <c:v>0</c:v>
                      </c:pt>
                      <c:pt idx="2740">
                        <c:v>0</c:v>
                      </c:pt>
                      <c:pt idx="2741">
                        <c:v>0</c:v>
                      </c:pt>
                      <c:pt idx="2742">
                        <c:v>0.2222259</c:v>
                      </c:pt>
                      <c:pt idx="2743">
                        <c:v>0.37112209999999995</c:v>
                      </c:pt>
                      <c:pt idx="2744">
                        <c:v>0.43050829999999995</c:v>
                      </c:pt>
                      <c:pt idx="2745">
                        <c:v>0.4123328</c:v>
                      </c:pt>
                      <c:pt idx="2746">
                        <c:v>0.45329829999999999</c:v>
                      </c:pt>
                      <c:pt idx="2747">
                        <c:v>0.37626530000000002</c:v>
                      </c:pt>
                      <c:pt idx="2748">
                        <c:v>0.25047330000000001</c:v>
                      </c:pt>
                      <c:pt idx="2749">
                        <c:v>0.41504809999999998</c:v>
                      </c:pt>
                      <c:pt idx="2750">
                        <c:v>0.26318913129999999</c:v>
                      </c:pt>
                      <c:pt idx="2751">
                        <c:v>0.18682490000000002</c:v>
                      </c:pt>
                      <c:pt idx="2752">
                        <c:v>0.2007265</c:v>
                      </c:pt>
                      <c:pt idx="2753">
                        <c:v>0.11573159999999999</c:v>
                      </c:pt>
                      <c:pt idx="2754">
                        <c:v>0.106889</c:v>
                      </c:pt>
                      <c:pt idx="2755">
                        <c:v>0.15924379999999999</c:v>
                      </c:pt>
                      <c:pt idx="2756">
                        <c:v>0.26599099999999998</c:v>
                      </c:pt>
                      <c:pt idx="2757">
                        <c:v>0.16100539999999999</c:v>
                      </c:pt>
                      <c:pt idx="2758">
                        <c:v>2.1208499999999998E-2</c:v>
                      </c:pt>
                      <c:pt idx="2759">
                        <c:v>0</c:v>
                      </c:pt>
                      <c:pt idx="2760">
                        <c:v>4.7430191700000004E-3</c:v>
                      </c:pt>
                      <c:pt idx="2761">
                        <c:v>0.23903579400000002</c:v>
                      </c:pt>
                      <c:pt idx="2762">
                        <c:v>0.35858410000000002</c:v>
                      </c:pt>
                      <c:pt idx="2763">
                        <c:v>0.71569339999999992</c:v>
                      </c:pt>
                      <c:pt idx="2764">
                        <c:v>0.89612650000000005</c:v>
                      </c:pt>
                      <c:pt idx="2765">
                        <c:v>1.0387150000000001</c:v>
                      </c:pt>
                      <c:pt idx="2766">
                        <c:v>1.3559430000000001</c:v>
                      </c:pt>
                      <c:pt idx="2767">
                        <c:v>1.373486</c:v>
                      </c:pt>
                      <c:pt idx="2768">
                        <c:v>1.378577333</c:v>
                      </c:pt>
                      <c:pt idx="2769">
                        <c:v>1.481061</c:v>
                      </c:pt>
                      <c:pt idx="2770">
                        <c:v>2</c:v>
                      </c:pt>
                      <c:pt idx="2771">
                        <c:v>1.999296569</c:v>
                      </c:pt>
                      <c:pt idx="2772">
                        <c:v>1.838211048</c:v>
                      </c:pt>
                      <c:pt idx="2773">
                        <c:v>1.820481</c:v>
                      </c:pt>
                      <c:pt idx="2774">
                        <c:v>1.3345390000000001</c:v>
                      </c:pt>
                      <c:pt idx="2775">
                        <c:v>0.99131969999999991</c:v>
                      </c:pt>
                      <c:pt idx="2776">
                        <c:v>0.77885189999999993</c:v>
                      </c:pt>
                      <c:pt idx="2777">
                        <c:v>0.57608020000000004</c:v>
                      </c:pt>
                      <c:pt idx="2778">
                        <c:v>0.50737270000000001</c:v>
                      </c:pt>
                      <c:pt idx="2779">
                        <c:v>0.40507559999999998</c:v>
                      </c:pt>
                      <c:pt idx="2780">
                        <c:v>0.100658</c:v>
                      </c:pt>
                      <c:pt idx="2781">
                        <c:v>0</c:v>
                      </c:pt>
                      <c:pt idx="2782">
                        <c:v>0</c:v>
                      </c:pt>
                      <c:pt idx="2783">
                        <c:v>0</c:v>
                      </c:pt>
                      <c:pt idx="2784">
                        <c:v>0</c:v>
                      </c:pt>
                      <c:pt idx="2785">
                        <c:v>0</c:v>
                      </c:pt>
                      <c:pt idx="2786">
                        <c:v>0</c:v>
                      </c:pt>
                      <c:pt idx="2787">
                        <c:v>0</c:v>
                      </c:pt>
                      <c:pt idx="2788">
                        <c:v>0</c:v>
                      </c:pt>
                      <c:pt idx="2789">
                        <c:v>0</c:v>
                      </c:pt>
                      <c:pt idx="2790">
                        <c:v>9.1453639219999994E-2</c:v>
                      </c:pt>
                      <c:pt idx="2791">
                        <c:v>0.21434080000000003</c:v>
                      </c:pt>
                      <c:pt idx="2792">
                        <c:v>0.62490800000000002</c:v>
                      </c:pt>
                      <c:pt idx="2793">
                        <c:v>0.85445629999999995</c:v>
                      </c:pt>
                      <c:pt idx="2794">
                        <c:v>1.0558110000000001</c:v>
                      </c:pt>
                      <c:pt idx="2795">
                        <c:v>1.3430709999999999</c:v>
                      </c:pt>
                      <c:pt idx="2796">
                        <c:v>1.4500210000000002</c:v>
                      </c:pt>
                      <c:pt idx="2797">
                        <c:v>1.3739785200000001</c:v>
                      </c:pt>
                      <c:pt idx="2798">
                        <c:v>1.299126</c:v>
                      </c:pt>
                      <c:pt idx="2799">
                        <c:v>1.037156</c:v>
                      </c:pt>
                      <c:pt idx="2800">
                        <c:v>0.85122759999999997</c:v>
                      </c:pt>
                      <c:pt idx="2801">
                        <c:v>0.7912479</c:v>
                      </c:pt>
                      <c:pt idx="2802">
                        <c:v>0.95551609999999998</c:v>
                      </c:pt>
                      <c:pt idx="2803">
                        <c:v>0.96536522149999993</c:v>
                      </c:pt>
                      <c:pt idx="2804">
                        <c:v>1.203638</c:v>
                      </c:pt>
                      <c:pt idx="2805">
                        <c:v>1.327998</c:v>
                      </c:pt>
                      <c:pt idx="2806">
                        <c:v>1.3624639999999999</c:v>
                      </c:pt>
                      <c:pt idx="2807">
                        <c:v>1.47</c:v>
                      </c:pt>
                      <c:pt idx="2808">
                        <c:v>1.9679490000000002</c:v>
                      </c:pt>
                      <c:pt idx="2809">
                        <c:v>2</c:v>
                      </c:pt>
                      <c:pt idx="2810">
                        <c:v>1.8616467320000001</c:v>
                      </c:pt>
                      <c:pt idx="2811">
                        <c:v>1.8275270000000001</c:v>
                      </c:pt>
                      <c:pt idx="2812">
                        <c:v>0.84143579999999996</c:v>
                      </c:pt>
                      <c:pt idx="2813">
                        <c:v>0.1091632</c:v>
                      </c:pt>
                      <c:pt idx="2814">
                        <c:v>0</c:v>
                      </c:pt>
                      <c:pt idx="2815">
                        <c:v>4.0658677259999998E-2</c:v>
                      </c:pt>
                      <c:pt idx="2816">
                        <c:v>0.29541810000000002</c:v>
                      </c:pt>
                      <c:pt idx="2817">
                        <c:v>0.49736609999999998</c:v>
                      </c:pt>
                      <c:pt idx="2818">
                        <c:v>0.52781169999999999</c:v>
                      </c:pt>
                      <c:pt idx="2819">
                        <c:v>0.21221129999999999</c:v>
                      </c:pt>
                      <c:pt idx="2820">
                        <c:v>0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0</c:v>
                      </c:pt>
                      <c:pt idx="2824">
                        <c:v>0</c:v>
                      </c:pt>
                      <c:pt idx="2825">
                        <c:v>0.21884440000000002</c:v>
                      </c:pt>
                      <c:pt idx="2826">
                        <c:v>1.1373139999999999</c:v>
                      </c:pt>
                      <c:pt idx="2827">
                        <c:v>1.743058</c:v>
                      </c:pt>
                      <c:pt idx="2828">
                        <c:v>1.9738470000000001</c:v>
                      </c:pt>
                      <c:pt idx="2829">
                        <c:v>1.9823411120000001</c:v>
                      </c:pt>
                      <c:pt idx="2830">
                        <c:v>1.983967338</c:v>
                      </c:pt>
                      <c:pt idx="2831">
                        <c:v>1.9882074299999999</c:v>
                      </c:pt>
                      <c:pt idx="2832">
                        <c:v>1.9949301230000001</c:v>
                      </c:pt>
                      <c:pt idx="2833">
                        <c:v>2</c:v>
                      </c:pt>
                      <c:pt idx="2834">
                        <c:v>1.974964908</c:v>
                      </c:pt>
                      <c:pt idx="2835">
                        <c:v>1.9540389999999999</c:v>
                      </c:pt>
                      <c:pt idx="2836">
                        <c:v>1.663673</c:v>
                      </c:pt>
                      <c:pt idx="2837">
                        <c:v>1.6232439999999999</c:v>
                      </c:pt>
                      <c:pt idx="2838">
                        <c:v>1.699932</c:v>
                      </c:pt>
                      <c:pt idx="2839">
                        <c:v>1.9543350000000002</c:v>
                      </c:pt>
                      <c:pt idx="2840">
                        <c:v>2</c:v>
                      </c:pt>
                      <c:pt idx="2841">
                        <c:v>1.9305909999999999</c:v>
                      </c:pt>
                      <c:pt idx="2842">
                        <c:v>1.7199690000000001</c:v>
                      </c:pt>
                      <c:pt idx="2843">
                        <c:v>1.5870500000000001</c:v>
                      </c:pt>
                      <c:pt idx="2844">
                        <c:v>1.5850696500000001</c:v>
                      </c:pt>
                      <c:pt idx="2845">
                        <c:v>1.343715</c:v>
                      </c:pt>
                      <c:pt idx="2846">
                        <c:v>1.028</c:v>
                      </c:pt>
                      <c:pt idx="2847">
                        <c:v>0.6495533913</c:v>
                      </c:pt>
                      <c:pt idx="2848">
                        <c:v>0.2826767</c:v>
                      </c:pt>
                      <c:pt idx="2849">
                        <c:v>2.0231849999999999E-2</c:v>
                      </c:pt>
                      <c:pt idx="2850">
                        <c:v>2.0216422440000003E-2</c:v>
                      </c:pt>
                      <c:pt idx="2851">
                        <c:v>1.7250679170000002E-2</c:v>
                      </c:pt>
                      <c:pt idx="2852">
                        <c:v>1.2587239489999999E-2</c:v>
                      </c:pt>
                      <c:pt idx="2853">
                        <c:v>1.062312713E-2</c:v>
                      </c:pt>
                      <c:pt idx="2854">
                        <c:v>1.026348224E-2</c:v>
                      </c:pt>
                      <c:pt idx="2855">
                        <c:v>9.6268046000000003E-3</c:v>
                      </c:pt>
                      <c:pt idx="2856">
                        <c:v>8.9566176300000001E-3</c:v>
                      </c:pt>
                      <c:pt idx="2857">
                        <c:v>7.9601292199999989E-3</c:v>
                      </c:pt>
                      <c:pt idx="2858">
                        <c:v>4.3190564799999998E-3</c:v>
                      </c:pt>
                      <c:pt idx="2859">
                        <c:v>1.9899908499999997E-3</c:v>
                      </c:pt>
                      <c:pt idx="2860">
                        <c:v>1.32494638E-3</c:v>
                      </c:pt>
                      <c:pt idx="2861">
                        <c:v>0</c:v>
                      </c:pt>
                      <c:pt idx="2862">
                        <c:v>3.9305453899999999E-3</c:v>
                      </c:pt>
                      <c:pt idx="2863">
                        <c:v>3.6024666660000003E-2</c:v>
                      </c:pt>
                      <c:pt idx="2864">
                        <c:v>7.5975879999999996E-2</c:v>
                      </c:pt>
                      <c:pt idx="2865">
                        <c:v>0.2270549</c:v>
                      </c:pt>
                      <c:pt idx="2866">
                        <c:v>0.27282630000000002</c:v>
                      </c:pt>
                      <c:pt idx="2867">
                        <c:v>0.38032400000000005</c:v>
                      </c:pt>
                      <c:pt idx="2868">
                        <c:v>0.37309460379999998</c:v>
                      </c:pt>
                      <c:pt idx="2869">
                        <c:v>0.15472079999999999</c:v>
                      </c:pt>
                      <c:pt idx="2870">
                        <c:v>0</c:v>
                      </c:pt>
                      <c:pt idx="2871">
                        <c:v>6.902925E-2</c:v>
                      </c:pt>
                      <c:pt idx="2872">
                        <c:v>0.29030529999999999</c:v>
                      </c:pt>
                      <c:pt idx="2873">
                        <c:v>0.51299795690000005</c:v>
                      </c:pt>
                      <c:pt idx="2874">
                        <c:v>0.84787329999999994</c:v>
                      </c:pt>
                      <c:pt idx="2875">
                        <c:v>0.92550479789999995</c:v>
                      </c:pt>
                      <c:pt idx="2876">
                        <c:v>0.96328289999999994</c:v>
                      </c:pt>
                      <c:pt idx="2877">
                        <c:v>0.89434960000000008</c:v>
                      </c:pt>
                      <c:pt idx="2878">
                        <c:v>0.52176450000000008</c:v>
                      </c:pt>
                      <c:pt idx="2879">
                        <c:v>0.25706019999999996</c:v>
                      </c:pt>
                      <c:pt idx="2880">
                        <c:v>0.2524834138</c:v>
                      </c:pt>
                      <c:pt idx="2881">
                        <c:v>2.640141E-2</c:v>
                      </c:pt>
                      <c:pt idx="2882">
                        <c:v>8.94065E-2</c:v>
                      </c:pt>
                      <c:pt idx="2883">
                        <c:v>0</c:v>
                      </c:pt>
                      <c:pt idx="2884">
                        <c:v>0.2210887</c:v>
                      </c:pt>
                      <c:pt idx="2885">
                        <c:v>0.46564909999999998</c:v>
                      </c:pt>
                      <c:pt idx="2886">
                        <c:v>0.74868950000000001</c:v>
                      </c:pt>
                      <c:pt idx="2887">
                        <c:v>1.006535</c:v>
                      </c:pt>
                      <c:pt idx="2888">
                        <c:v>0.9952190635</c:v>
                      </c:pt>
                      <c:pt idx="2889">
                        <c:v>0.98328149999999992</c:v>
                      </c:pt>
                      <c:pt idx="2890">
                        <c:v>1.607424</c:v>
                      </c:pt>
                      <c:pt idx="2891">
                        <c:v>1.8864510000000001</c:v>
                      </c:pt>
                      <c:pt idx="2892">
                        <c:v>2</c:v>
                      </c:pt>
                      <c:pt idx="2893">
                        <c:v>1.9395783789999999</c:v>
                      </c:pt>
                      <c:pt idx="2894">
                        <c:v>1.907173</c:v>
                      </c:pt>
                      <c:pt idx="2895">
                        <c:v>1.7889169999999999</c:v>
                      </c:pt>
                      <c:pt idx="2896">
                        <c:v>1.8333109999999999</c:v>
                      </c:pt>
                      <c:pt idx="2897">
                        <c:v>1.972901</c:v>
                      </c:pt>
                      <c:pt idx="2898">
                        <c:v>2</c:v>
                      </c:pt>
                      <c:pt idx="2899">
                        <c:v>1.9225409999999998</c:v>
                      </c:pt>
                      <c:pt idx="2900">
                        <c:v>1.7713859999999999</c:v>
                      </c:pt>
                      <c:pt idx="2901">
                        <c:v>1.7063969999999999</c:v>
                      </c:pt>
                      <c:pt idx="2902">
                        <c:v>1.779695</c:v>
                      </c:pt>
                      <c:pt idx="2903">
                        <c:v>1.5294669999999999</c:v>
                      </c:pt>
                      <c:pt idx="2904">
                        <c:v>1.5854150000000002</c:v>
                      </c:pt>
                      <c:pt idx="2905">
                        <c:v>1.077299</c:v>
                      </c:pt>
                      <c:pt idx="2906">
                        <c:v>0.78212619999999999</c:v>
                      </c:pt>
                      <c:pt idx="2907">
                        <c:v>0.63035780000000008</c:v>
                      </c:pt>
                      <c:pt idx="2908">
                        <c:v>0.59275080000000002</c:v>
                      </c:pt>
                      <c:pt idx="2909">
                        <c:v>0.83077780000000001</c:v>
                      </c:pt>
                      <c:pt idx="2910">
                        <c:v>1.50238</c:v>
                      </c:pt>
                      <c:pt idx="2911">
                        <c:v>2</c:v>
                      </c:pt>
                      <c:pt idx="2912">
                        <c:v>1.9238050000000002</c:v>
                      </c:pt>
                      <c:pt idx="2913">
                        <c:v>1.9158984530000001</c:v>
                      </c:pt>
                      <c:pt idx="2914">
                        <c:v>1.1778310000000001</c:v>
                      </c:pt>
                      <c:pt idx="2915">
                        <c:v>0.76271730000000004</c:v>
                      </c:pt>
                      <c:pt idx="2916">
                        <c:v>0.1376829</c:v>
                      </c:pt>
                      <c:pt idx="2917">
                        <c:v>0</c:v>
                      </c:pt>
                      <c:pt idx="2918">
                        <c:v>0</c:v>
                      </c:pt>
                      <c:pt idx="2919">
                        <c:v>0</c:v>
                      </c:pt>
                      <c:pt idx="2920">
                        <c:v>0</c:v>
                      </c:pt>
                      <c:pt idx="2921">
                        <c:v>0</c:v>
                      </c:pt>
                      <c:pt idx="2922">
                        <c:v>0</c:v>
                      </c:pt>
                      <c:pt idx="2923">
                        <c:v>0</c:v>
                      </c:pt>
                      <c:pt idx="2924">
                        <c:v>0</c:v>
                      </c:pt>
                      <c:pt idx="2925">
                        <c:v>0</c:v>
                      </c:pt>
                      <c:pt idx="2926">
                        <c:v>0.11074529999999999</c:v>
                      </c:pt>
                      <c:pt idx="2927">
                        <c:v>0.47829070000000001</c:v>
                      </c:pt>
                      <c:pt idx="2928">
                        <c:v>0.48951094640000004</c:v>
                      </c:pt>
                      <c:pt idx="2929">
                        <c:v>0.8284338</c:v>
                      </c:pt>
                      <c:pt idx="2930">
                        <c:v>1.273055</c:v>
                      </c:pt>
                      <c:pt idx="2931">
                        <c:v>1.5636859999999999</c:v>
                      </c:pt>
                      <c:pt idx="2932">
                        <c:v>1.7539410000000002</c:v>
                      </c:pt>
                      <c:pt idx="2933">
                        <c:v>1.753661905</c:v>
                      </c:pt>
                      <c:pt idx="2934">
                        <c:v>1.7533750000000001</c:v>
                      </c:pt>
                      <c:pt idx="2935">
                        <c:v>1.581968</c:v>
                      </c:pt>
                      <c:pt idx="2936">
                        <c:v>1.2997890000000001</c:v>
                      </c:pt>
                      <c:pt idx="2937">
                        <c:v>0.75972660000000003</c:v>
                      </c:pt>
                      <c:pt idx="2938">
                        <c:v>0.68949110000000002</c:v>
                      </c:pt>
                      <c:pt idx="2939">
                        <c:v>0.69079390270000007</c:v>
                      </c:pt>
                      <c:pt idx="2940">
                        <c:v>0.77273199999999997</c:v>
                      </c:pt>
                      <c:pt idx="2941">
                        <c:v>1.0433300000000001</c:v>
                      </c:pt>
                      <c:pt idx="2942">
                        <c:v>1.026958</c:v>
                      </c:pt>
                      <c:pt idx="2943">
                        <c:v>0.71024770000000004</c:v>
                      </c:pt>
                      <c:pt idx="2944">
                        <c:v>0.68889549999999999</c:v>
                      </c:pt>
                      <c:pt idx="2945">
                        <c:v>0.66754329999999995</c:v>
                      </c:pt>
                      <c:pt idx="2946">
                        <c:v>0.51156990000000002</c:v>
                      </c:pt>
                      <c:pt idx="2947">
                        <c:v>0</c:v>
                      </c:pt>
                      <c:pt idx="2948">
                        <c:v>0</c:v>
                      </c:pt>
                      <c:pt idx="2949">
                        <c:v>0</c:v>
                      </c:pt>
                      <c:pt idx="2950">
                        <c:v>0</c:v>
                      </c:pt>
                      <c:pt idx="2951">
                        <c:v>0.1365036</c:v>
                      </c:pt>
                      <c:pt idx="2952">
                        <c:v>0.50977800000000006</c:v>
                      </c:pt>
                      <c:pt idx="2953">
                        <c:v>0.60973129999999998</c:v>
                      </c:pt>
                      <c:pt idx="2954">
                        <c:v>0.64350870000000004</c:v>
                      </c:pt>
                      <c:pt idx="2955">
                        <c:v>0.6169694</c:v>
                      </c:pt>
                      <c:pt idx="2956">
                        <c:v>0.84938990000000003</c:v>
                      </c:pt>
                      <c:pt idx="2957">
                        <c:v>0.91763400000000006</c:v>
                      </c:pt>
                      <c:pt idx="2958">
                        <c:v>1.052026565</c:v>
                      </c:pt>
                      <c:pt idx="2959">
                        <c:v>1.4625870000000001</c:v>
                      </c:pt>
                      <c:pt idx="2960">
                        <c:v>1.5573320000000002</c:v>
                      </c:pt>
                      <c:pt idx="2961">
                        <c:v>1.5054400000000001</c:v>
                      </c:pt>
                      <c:pt idx="2962">
                        <c:v>1.1983570000000001</c:v>
                      </c:pt>
                      <c:pt idx="2963">
                        <c:v>1.1270499999999999</c:v>
                      </c:pt>
                      <c:pt idx="2964">
                        <c:v>1.2949789999999999</c:v>
                      </c:pt>
                      <c:pt idx="2965">
                        <c:v>1.3219509999999999</c:v>
                      </c:pt>
                      <c:pt idx="2966">
                        <c:v>1.2828120000000001</c:v>
                      </c:pt>
                      <c:pt idx="2967">
                        <c:v>1.4038710000000001</c:v>
                      </c:pt>
                      <c:pt idx="2968">
                        <c:v>1.2900160000000001</c:v>
                      </c:pt>
                      <c:pt idx="2969">
                        <c:v>1.6495410000000001</c:v>
                      </c:pt>
                      <c:pt idx="2970">
                        <c:v>1.814292</c:v>
                      </c:pt>
                      <c:pt idx="2971">
                        <c:v>1.9538820000000001</c:v>
                      </c:pt>
                      <c:pt idx="2972">
                        <c:v>2</c:v>
                      </c:pt>
                      <c:pt idx="2973">
                        <c:v>1.8336078409999998</c:v>
                      </c:pt>
                      <c:pt idx="2974">
                        <c:v>1.8111412010000001</c:v>
                      </c:pt>
                      <c:pt idx="2975">
                        <c:v>1.7886689999999998</c:v>
                      </c:pt>
                      <c:pt idx="2976">
                        <c:v>1.5791110000000002</c:v>
                      </c:pt>
                      <c:pt idx="2977">
                        <c:v>1.4543029999999999</c:v>
                      </c:pt>
                      <c:pt idx="2978">
                        <c:v>1.408922</c:v>
                      </c:pt>
                      <c:pt idx="2979">
                        <c:v>0.97445020000000004</c:v>
                      </c:pt>
                      <c:pt idx="2980">
                        <c:v>0.66773480000000007</c:v>
                      </c:pt>
                      <c:pt idx="2981">
                        <c:v>0.46456616519999999</c:v>
                      </c:pt>
                      <c:pt idx="2982">
                        <c:v>0.2864987</c:v>
                      </c:pt>
                      <c:pt idx="2983">
                        <c:v>0.13654170000000002</c:v>
                      </c:pt>
                      <c:pt idx="2984">
                        <c:v>0.1873609</c:v>
                      </c:pt>
                      <c:pt idx="2985">
                        <c:v>0</c:v>
                      </c:pt>
                      <c:pt idx="2986">
                        <c:v>5.5215405750000002E-2</c:v>
                      </c:pt>
                      <c:pt idx="2987">
                        <c:v>0.10329670000000001</c:v>
                      </c:pt>
                      <c:pt idx="2988">
                        <c:v>0.29982579999999998</c:v>
                      </c:pt>
                      <c:pt idx="2989">
                        <c:v>0.2784565</c:v>
                      </c:pt>
                      <c:pt idx="2990">
                        <c:v>4.0134530000000002E-2</c:v>
                      </c:pt>
                      <c:pt idx="2991">
                        <c:v>0</c:v>
                      </c:pt>
                      <c:pt idx="2992">
                        <c:v>5.0531112300000007E-3</c:v>
                      </c:pt>
                      <c:pt idx="2993">
                        <c:v>6.1578527269999996E-2</c:v>
                      </c:pt>
                      <c:pt idx="2994">
                        <c:v>8.7373825820000001E-2</c:v>
                      </c:pt>
                      <c:pt idx="2995">
                        <c:v>9.7762920000000003E-2</c:v>
                      </c:pt>
                      <c:pt idx="2996">
                        <c:v>0</c:v>
                      </c:pt>
                      <c:pt idx="2997">
                        <c:v>0.11829729999999999</c:v>
                      </c:pt>
                      <c:pt idx="2998">
                        <c:v>0.12217403600000001</c:v>
                      </c:pt>
                      <c:pt idx="2999">
                        <c:v>0.61354930000000008</c:v>
                      </c:pt>
                      <c:pt idx="3000">
                        <c:v>1.320125</c:v>
                      </c:pt>
                      <c:pt idx="3001">
                        <c:v>1.317731344</c:v>
                      </c:pt>
                      <c:pt idx="3002">
                        <c:v>1.1994910000000001</c:v>
                      </c:pt>
                      <c:pt idx="3003">
                        <c:v>1.43946</c:v>
                      </c:pt>
                      <c:pt idx="3004">
                        <c:v>1.464847397</c:v>
                      </c:pt>
                      <c:pt idx="3005">
                        <c:v>1.5156350000000001</c:v>
                      </c:pt>
                      <c:pt idx="3006">
                        <c:v>1.6395459999999999</c:v>
                      </c:pt>
                      <c:pt idx="3007">
                        <c:v>1.8037917200000002</c:v>
                      </c:pt>
                      <c:pt idx="3008">
                        <c:v>1.9681209999999998</c:v>
                      </c:pt>
                      <c:pt idx="3009">
                        <c:v>2</c:v>
                      </c:pt>
                      <c:pt idx="3010">
                        <c:v>1.8779586539999999</c:v>
                      </c:pt>
                      <c:pt idx="3011">
                        <c:v>1.7605170000000001</c:v>
                      </c:pt>
                      <c:pt idx="3012">
                        <c:v>1.4562139999999999</c:v>
                      </c:pt>
                      <c:pt idx="3013">
                        <c:v>1.3003479999999998</c:v>
                      </c:pt>
                      <c:pt idx="3014">
                        <c:v>1.2265889999999999</c:v>
                      </c:pt>
                      <c:pt idx="3015">
                        <c:v>0.68680269999999988</c:v>
                      </c:pt>
                      <c:pt idx="3016">
                        <c:v>0.32037999999999994</c:v>
                      </c:pt>
                      <c:pt idx="3017">
                        <c:v>0.20215900000000001</c:v>
                      </c:pt>
                      <c:pt idx="3018">
                        <c:v>0</c:v>
                      </c:pt>
                      <c:pt idx="3019">
                        <c:v>0</c:v>
                      </c:pt>
                      <c:pt idx="3020">
                        <c:v>0</c:v>
                      </c:pt>
                      <c:pt idx="3021">
                        <c:v>0</c:v>
                      </c:pt>
                      <c:pt idx="3022">
                        <c:v>0</c:v>
                      </c:pt>
                      <c:pt idx="3023">
                        <c:v>0</c:v>
                      </c:pt>
                      <c:pt idx="3024">
                        <c:v>0</c:v>
                      </c:pt>
                      <c:pt idx="3025">
                        <c:v>7.3364403019999996E-2</c:v>
                      </c:pt>
                      <c:pt idx="3026">
                        <c:v>0.176562</c:v>
                      </c:pt>
                      <c:pt idx="3027">
                        <c:v>0.4469648</c:v>
                      </c:pt>
                      <c:pt idx="3028">
                        <c:v>0.63469340000000007</c:v>
                      </c:pt>
                      <c:pt idx="3029">
                        <c:v>0.69795879999999999</c:v>
                      </c:pt>
                      <c:pt idx="3030">
                        <c:v>0.51313640000000005</c:v>
                      </c:pt>
                      <c:pt idx="3031">
                        <c:v>2.9262199999999999E-2</c:v>
                      </c:pt>
                      <c:pt idx="3032">
                        <c:v>2.7347853639999999E-2</c:v>
                      </c:pt>
                      <c:pt idx="3033">
                        <c:v>2.502632963E-2</c:v>
                      </c:pt>
                      <c:pt idx="3034">
                        <c:v>2.4057989649999997E-2</c:v>
                      </c:pt>
                      <c:pt idx="3035">
                        <c:v>2.0779410000000002E-2</c:v>
                      </c:pt>
                      <c:pt idx="3036">
                        <c:v>0.32389499999999999</c:v>
                      </c:pt>
                      <c:pt idx="3037">
                        <c:v>0.41995350000000004</c:v>
                      </c:pt>
                      <c:pt idx="3038">
                        <c:v>0.31036859999999999</c:v>
                      </c:pt>
                      <c:pt idx="3039">
                        <c:v>0.1009259</c:v>
                      </c:pt>
                      <c:pt idx="3040">
                        <c:v>0</c:v>
                      </c:pt>
                      <c:pt idx="3041">
                        <c:v>8.4234628480000004E-2</c:v>
                      </c:pt>
                      <c:pt idx="3042">
                        <c:v>0.2120698</c:v>
                      </c:pt>
                      <c:pt idx="3043">
                        <c:v>0.52621470000000004</c:v>
                      </c:pt>
                      <c:pt idx="3044">
                        <c:v>0.91586070000000008</c:v>
                      </c:pt>
                      <c:pt idx="3045">
                        <c:v>1.0870679999999999</c:v>
                      </c:pt>
                      <c:pt idx="3046">
                        <c:v>1.3000720000000001</c:v>
                      </c:pt>
                      <c:pt idx="3047">
                        <c:v>1.21587</c:v>
                      </c:pt>
                      <c:pt idx="3048">
                        <c:v>0.48743580000000003</c:v>
                      </c:pt>
                      <c:pt idx="3049">
                        <c:v>3.9253759999999999E-2</c:v>
                      </c:pt>
                      <c:pt idx="3050">
                        <c:v>0</c:v>
                      </c:pt>
                      <c:pt idx="3051">
                        <c:v>1.8060816399999998E-3</c:v>
                      </c:pt>
                      <c:pt idx="3052">
                        <c:v>1.528028E-2</c:v>
                      </c:pt>
                      <c:pt idx="3053">
                        <c:v>0.1449134</c:v>
                      </c:pt>
                      <c:pt idx="3054">
                        <c:v>0.21354040000000002</c:v>
                      </c:pt>
                      <c:pt idx="3055">
                        <c:v>0.16367860000000001</c:v>
                      </c:pt>
                      <c:pt idx="3056">
                        <c:v>0.17639299999999999</c:v>
                      </c:pt>
                      <c:pt idx="3057">
                        <c:v>0.5942442</c:v>
                      </c:pt>
                      <c:pt idx="3058">
                        <c:v>0.85050409999999999</c:v>
                      </c:pt>
                      <c:pt idx="3059">
                        <c:v>1.045509</c:v>
                      </c:pt>
                      <c:pt idx="3060">
                        <c:v>1.097148</c:v>
                      </c:pt>
                      <c:pt idx="3061">
                        <c:v>0.95514500000000002</c:v>
                      </c:pt>
                      <c:pt idx="3062">
                        <c:v>0.83382210000000001</c:v>
                      </c:pt>
                      <c:pt idx="3063">
                        <c:v>0.85894770269999998</c:v>
                      </c:pt>
                      <c:pt idx="3064">
                        <c:v>0.88506259999999992</c:v>
                      </c:pt>
                      <c:pt idx="3065">
                        <c:v>1.2061390000000001</c:v>
                      </c:pt>
                      <c:pt idx="3066">
                        <c:v>1.3568907590000001</c:v>
                      </c:pt>
                      <c:pt idx="3067">
                        <c:v>1.5212680000000001</c:v>
                      </c:pt>
                      <c:pt idx="3068">
                        <c:v>1.5402250000000002</c:v>
                      </c:pt>
                      <c:pt idx="3069">
                        <c:v>1.3905320000000001</c:v>
                      </c:pt>
                      <c:pt idx="3070">
                        <c:v>1.1095140000000001</c:v>
                      </c:pt>
                      <c:pt idx="3071">
                        <c:v>1.1046665710000001</c:v>
                      </c:pt>
                      <c:pt idx="3072">
                        <c:v>0.80697269999999999</c:v>
                      </c:pt>
                      <c:pt idx="3073">
                        <c:v>0.64735339999999997</c:v>
                      </c:pt>
                      <c:pt idx="3074">
                        <c:v>0.62475849999999999</c:v>
                      </c:pt>
                      <c:pt idx="3075">
                        <c:v>0.73091579999999989</c:v>
                      </c:pt>
                      <c:pt idx="3076">
                        <c:v>0.6457832</c:v>
                      </c:pt>
                      <c:pt idx="3077">
                        <c:v>0.76911669999999999</c:v>
                      </c:pt>
                      <c:pt idx="3078">
                        <c:v>0.76542540100000001</c:v>
                      </c:pt>
                      <c:pt idx="3079">
                        <c:v>0.58161779999999996</c:v>
                      </c:pt>
                      <c:pt idx="3080">
                        <c:v>0.42278759999999999</c:v>
                      </c:pt>
                      <c:pt idx="3081">
                        <c:v>0.32421289999999997</c:v>
                      </c:pt>
                      <c:pt idx="3082">
                        <c:v>0.38460630000000001</c:v>
                      </c:pt>
                      <c:pt idx="3083">
                        <c:v>0.54196579999999994</c:v>
                      </c:pt>
                      <c:pt idx="3084">
                        <c:v>0.55402909999999994</c:v>
                      </c:pt>
                      <c:pt idx="3085">
                        <c:v>0.31839190000000001</c:v>
                      </c:pt>
                      <c:pt idx="3086">
                        <c:v>0.11503450000000001</c:v>
                      </c:pt>
                      <c:pt idx="3087">
                        <c:v>0.12828500000000001</c:v>
                      </c:pt>
                      <c:pt idx="3088">
                        <c:v>0.19406582060000002</c:v>
                      </c:pt>
                      <c:pt idx="3089">
                        <c:v>0.32615450000000001</c:v>
                      </c:pt>
                      <c:pt idx="3090">
                        <c:v>0.73504440000000004</c:v>
                      </c:pt>
                      <c:pt idx="3091">
                        <c:v>1.0434829999999999</c:v>
                      </c:pt>
                      <c:pt idx="3092">
                        <c:v>1.275161</c:v>
                      </c:pt>
                      <c:pt idx="3093">
                        <c:v>1.5565620000000002</c:v>
                      </c:pt>
                      <c:pt idx="3094">
                        <c:v>1.476599</c:v>
                      </c:pt>
                      <c:pt idx="3095">
                        <c:v>1.4806834719999999</c:v>
                      </c:pt>
                      <c:pt idx="3096">
                        <c:v>1.818303</c:v>
                      </c:pt>
                      <c:pt idx="3097">
                        <c:v>1.8470629999999999</c:v>
                      </c:pt>
                      <c:pt idx="3098">
                        <c:v>1.7427440000000001</c:v>
                      </c:pt>
                      <c:pt idx="3099">
                        <c:v>1.8705000000000001</c:v>
                      </c:pt>
                      <c:pt idx="3100">
                        <c:v>1.8327717290000001</c:v>
                      </c:pt>
                      <c:pt idx="3101">
                        <c:v>1.7762639999999998</c:v>
                      </c:pt>
                      <c:pt idx="3102">
                        <c:v>1.675737</c:v>
                      </c:pt>
                      <c:pt idx="3103">
                        <c:v>2</c:v>
                      </c:pt>
                      <c:pt idx="3104">
                        <c:v>1.9893388089999999</c:v>
                      </c:pt>
                      <c:pt idx="3105">
                        <c:v>1.9564980000000001</c:v>
                      </c:pt>
                      <c:pt idx="3106">
                        <c:v>1.8120830000000001</c:v>
                      </c:pt>
                      <c:pt idx="3107">
                        <c:v>1.8043469999999999</c:v>
                      </c:pt>
                      <c:pt idx="3108">
                        <c:v>1.633124</c:v>
                      </c:pt>
                      <c:pt idx="3109">
                        <c:v>1.5081249999999999</c:v>
                      </c:pt>
                      <c:pt idx="3110">
                        <c:v>1.444836</c:v>
                      </c:pt>
                      <c:pt idx="3111">
                        <c:v>1.5539810000000001</c:v>
                      </c:pt>
                      <c:pt idx="3112">
                        <c:v>1.0322469999999999</c:v>
                      </c:pt>
                      <c:pt idx="3113">
                        <c:v>0.87289599999999989</c:v>
                      </c:pt>
                      <c:pt idx="3114">
                        <c:v>0.8169947327</c:v>
                      </c:pt>
                      <c:pt idx="3115">
                        <c:v>0.76535989999999998</c:v>
                      </c:pt>
                      <c:pt idx="3116">
                        <c:v>0.78041050000000001</c:v>
                      </c:pt>
                      <c:pt idx="3117">
                        <c:v>1.0840890000000001</c:v>
                      </c:pt>
                      <c:pt idx="3118">
                        <c:v>1.4855869999999998</c:v>
                      </c:pt>
                      <c:pt idx="3119">
                        <c:v>1.8014169999999998</c:v>
                      </c:pt>
                      <c:pt idx="3120">
                        <c:v>1.970764</c:v>
                      </c:pt>
                      <c:pt idx="3121">
                        <c:v>1.9853399469999999</c:v>
                      </c:pt>
                      <c:pt idx="3122">
                        <c:v>2</c:v>
                      </c:pt>
                      <c:pt idx="3123">
                        <c:v>1.9942500599999999</c:v>
                      </c:pt>
                      <c:pt idx="3124">
                        <c:v>1.9120341170000001</c:v>
                      </c:pt>
                      <c:pt idx="3125">
                        <c:v>1.8773589999999998</c:v>
                      </c:pt>
                      <c:pt idx="3126">
                        <c:v>1.7470289999999999</c:v>
                      </c:pt>
                      <c:pt idx="3127">
                        <c:v>1.684912</c:v>
                      </c:pt>
                      <c:pt idx="3128">
                        <c:v>1.2107649999999999</c:v>
                      </c:pt>
                      <c:pt idx="3129">
                        <c:v>1.10365</c:v>
                      </c:pt>
                      <c:pt idx="3130">
                        <c:v>1.101846031</c:v>
                      </c:pt>
                      <c:pt idx="3131">
                        <c:v>0.86969819999999998</c:v>
                      </c:pt>
                      <c:pt idx="3132">
                        <c:v>0.8606599774</c:v>
                      </c:pt>
                      <c:pt idx="3133">
                        <c:v>0.58090529999999996</c:v>
                      </c:pt>
                      <c:pt idx="3134">
                        <c:v>0.22356239999999999</c:v>
                      </c:pt>
                      <c:pt idx="3135">
                        <c:v>0</c:v>
                      </c:pt>
                      <c:pt idx="3136">
                        <c:v>0.11697210650000001</c:v>
                      </c:pt>
                      <c:pt idx="3137">
                        <c:v>0.16872599999999999</c:v>
                      </c:pt>
                      <c:pt idx="3138">
                        <c:v>0.26764530000000003</c:v>
                      </c:pt>
                      <c:pt idx="3139">
                        <c:v>0.29226980000000002</c:v>
                      </c:pt>
                      <c:pt idx="3140">
                        <c:v>0.47973059999999995</c:v>
                      </c:pt>
                      <c:pt idx="3141">
                        <c:v>0.52266060000000003</c:v>
                      </c:pt>
                      <c:pt idx="3142">
                        <c:v>0.50052529999999995</c:v>
                      </c:pt>
                      <c:pt idx="3143">
                        <c:v>0.336395</c:v>
                      </c:pt>
                      <c:pt idx="3144">
                        <c:v>0.29748570000000002</c:v>
                      </c:pt>
                      <c:pt idx="3145">
                        <c:v>0.37105300000000002</c:v>
                      </c:pt>
                      <c:pt idx="3146">
                        <c:v>0.52249979999999996</c:v>
                      </c:pt>
                      <c:pt idx="3147">
                        <c:v>0.82335559999999997</c:v>
                      </c:pt>
                      <c:pt idx="3148">
                        <c:v>1.4215059999999999</c:v>
                      </c:pt>
                      <c:pt idx="3149">
                        <c:v>1.7266509999999999</c:v>
                      </c:pt>
                      <c:pt idx="3150">
                        <c:v>1.9169069999999999</c:v>
                      </c:pt>
                      <c:pt idx="3151">
                        <c:v>2</c:v>
                      </c:pt>
                      <c:pt idx="3152">
                        <c:v>1.9592509999999999</c:v>
                      </c:pt>
                      <c:pt idx="3153">
                        <c:v>1.8975559999999998</c:v>
                      </c:pt>
                      <c:pt idx="3154">
                        <c:v>2</c:v>
                      </c:pt>
                      <c:pt idx="3155">
                        <c:v>2</c:v>
                      </c:pt>
                      <c:pt idx="3156">
                        <c:v>2</c:v>
                      </c:pt>
                      <c:pt idx="3157">
                        <c:v>2</c:v>
                      </c:pt>
                      <c:pt idx="3158">
                        <c:v>1.8376070000000002</c:v>
                      </c:pt>
                      <c:pt idx="3159">
                        <c:v>1.8189839240000001</c:v>
                      </c:pt>
                      <c:pt idx="3160">
                        <c:v>1.368209</c:v>
                      </c:pt>
                      <c:pt idx="3161">
                        <c:v>1.0160750000000001</c:v>
                      </c:pt>
                      <c:pt idx="3162">
                        <c:v>0.80927440000000006</c:v>
                      </c:pt>
                      <c:pt idx="3163">
                        <c:v>0.44923689999999999</c:v>
                      </c:pt>
                      <c:pt idx="3164">
                        <c:v>0.62878540000000005</c:v>
                      </c:pt>
                      <c:pt idx="3165">
                        <c:v>0.62597795209999996</c:v>
                      </c:pt>
                      <c:pt idx="3166">
                        <c:v>0.54326960000000002</c:v>
                      </c:pt>
                      <c:pt idx="3167">
                        <c:v>0.54137889559999997</c:v>
                      </c:pt>
                      <c:pt idx="3168">
                        <c:v>6.5867690000000007E-2</c:v>
                      </c:pt>
                      <c:pt idx="3169">
                        <c:v>0.16451899999999997</c:v>
                      </c:pt>
                      <c:pt idx="3170">
                        <c:v>0.15098890000000001</c:v>
                      </c:pt>
                      <c:pt idx="3171">
                        <c:v>0.24060239999999999</c:v>
                      </c:pt>
                      <c:pt idx="3172">
                        <c:v>0.84803580000000001</c:v>
                      </c:pt>
                      <c:pt idx="3173">
                        <c:v>1.0362739999999999</c:v>
                      </c:pt>
                      <c:pt idx="3174">
                        <c:v>1.7068809999999999</c:v>
                      </c:pt>
                      <c:pt idx="3175">
                        <c:v>1.963382</c:v>
                      </c:pt>
                      <c:pt idx="3176">
                        <c:v>2</c:v>
                      </c:pt>
                      <c:pt idx="3177">
                        <c:v>1.9389336660000001</c:v>
                      </c:pt>
                      <c:pt idx="3178">
                        <c:v>1.8168010000000001</c:v>
                      </c:pt>
                      <c:pt idx="3179">
                        <c:v>1.445748</c:v>
                      </c:pt>
                      <c:pt idx="3180">
                        <c:v>1.039868</c:v>
                      </c:pt>
                      <c:pt idx="3181">
                        <c:v>0.95305019999999996</c:v>
                      </c:pt>
                      <c:pt idx="3182">
                        <c:v>1.104895</c:v>
                      </c:pt>
                      <c:pt idx="3183">
                        <c:v>1.050246</c:v>
                      </c:pt>
                      <c:pt idx="3184">
                        <c:v>0.96273949999999997</c:v>
                      </c:pt>
                      <c:pt idx="3185">
                        <c:v>0.80606909999999998</c:v>
                      </c:pt>
                      <c:pt idx="3186">
                        <c:v>0.54680280000000003</c:v>
                      </c:pt>
                      <c:pt idx="3187">
                        <c:v>0.48248789999999997</c:v>
                      </c:pt>
                      <c:pt idx="3188">
                        <c:v>0.52109070000000002</c:v>
                      </c:pt>
                      <c:pt idx="3189">
                        <c:v>0.4347975</c:v>
                      </c:pt>
                      <c:pt idx="3190">
                        <c:v>7.0982320000000002E-2</c:v>
                      </c:pt>
                      <c:pt idx="3191">
                        <c:v>0</c:v>
                      </c:pt>
                      <c:pt idx="3192">
                        <c:v>4.9256659999999994E-2</c:v>
                      </c:pt>
                      <c:pt idx="3193">
                        <c:v>0.1425466</c:v>
                      </c:pt>
                      <c:pt idx="3194">
                        <c:v>0.22921119999999998</c:v>
                      </c:pt>
                      <c:pt idx="3195">
                        <c:v>0.48274050000000002</c:v>
                      </c:pt>
                      <c:pt idx="3196">
                        <c:v>0.64629259999999999</c:v>
                      </c:pt>
                      <c:pt idx="3197">
                        <c:v>1.249652</c:v>
                      </c:pt>
                      <c:pt idx="3198">
                        <c:v>1.3794679999999999</c:v>
                      </c:pt>
                      <c:pt idx="3199">
                        <c:v>1.3597839999999999</c:v>
                      </c:pt>
                      <c:pt idx="3200">
                        <c:v>1.4301730000000001</c:v>
                      </c:pt>
                      <c:pt idx="3201">
                        <c:v>1.3906129999999999</c:v>
                      </c:pt>
                      <c:pt idx="3202">
                        <c:v>1.5332669999999999</c:v>
                      </c:pt>
                      <c:pt idx="3203">
                        <c:v>1.4211009999999999</c:v>
                      </c:pt>
                      <c:pt idx="3204">
                        <c:v>1.5219649999999998</c:v>
                      </c:pt>
                      <c:pt idx="3205">
                        <c:v>1.9793000000000001</c:v>
                      </c:pt>
                      <c:pt idx="3206">
                        <c:v>1.981962875</c:v>
                      </c:pt>
                      <c:pt idx="3207">
                        <c:v>1.9839693009999999</c:v>
                      </c:pt>
                      <c:pt idx="3208">
                        <c:v>1.985975727</c:v>
                      </c:pt>
                      <c:pt idx="3209">
                        <c:v>1.9979935739999999</c:v>
                      </c:pt>
                      <c:pt idx="3210">
                        <c:v>2</c:v>
                      </c:pt>
                      <c:pt idx="3211">
                        <c:v>1.7439410000000002</c:v>
                      </c:pt>
                      <c:pt idx="3212">
                        <c:v>1.7303188840000001</c:v>
                      </c:pt>
                      <c:pt idx="3213">
                        <c:v>1.1741299999999999</c:v>
                      </c:pt>
                      <c:pt idx="3214">
                        <c:v>0.7824354</c:v>
                      </c:pt>
                      <c:pt idx="3215">
                        <c:v>0.52097510000000002</c:v>
                      </c:pt>
                      <c:pt idx="3216">
                        <c:v>0</c:v>
                      </c:pt>
                      <c:pt idx="3217">
                        <c:v>5.5080634479999994E-2</c:v>
                      </c:pt>
                      <c:pt idx="3218">
                        <c:v>0.2987957</c:v>
                      </c:pt>
                      <c:pt idx="3219">
                        <c:v>0.59065210000000001</c:v>
                      </c:pt>
                      <c:pt idx="3220">
                        <c:v>0.83813680010000002</c:v>
                      </c:pt>
                      <c:pt idx="3221">
                        <c:v>1.0619459999999998</c:v>
                      </c:pt>
                      <c:pt idx="3222">
                        <c:v>1.3180340000000001</c:v>
                      </c:pt>
                      <c:pt idx="3223">
                        <c:v>1.693146</c:v>
                      </c:pt>
                      <c:pt idx="3224">
                        <c:v>1.82389</c:v>
                      </c:pt>
                      <c:pt idx="3225">
                        <c:v>1.781471077</c:v>
                      </c:pt>
                      <c:pt idx="3226">
                        <c:v>1.7436970000000001</c:v>
                      </c:pt>
                      <c:pt idx="3227">
                        <c:v>1.7625010000000001</c:v>
                      </c:pt>
                      <c:pt idx="3228">
                        <c:v>1.604069</c:v>
                      </c:pt>
                      <c:pt idx="3229">
                        <c:v>1.0208349999999999</c:v>
                      </c:pt>
                      <c:pt idx="3230">
                        <c:v>0.94248676819999999</c:v>
                      </c:pt>
                      <c:pt idx="3231">
                        <c:v>0.87167060000000007</c:v>
                      </c:pt>
                      <c:pt idx="3232">
                        <c:v>0.40939560000000003</c:v>
                      </c:pt>
                      <c:pt idx="3233">
                        <c:v>0.38892058969999999</c:v>
                      </c:pt>
                      <c:pt idx="3234">
                        <c:v>0.37067800000000001</c:v>
                      </c:pt>
                      <c:pt idx="3235">
                        <c:v>0.47737139999999995</c:v>
                      </c:pt>
                      <c:pt idx="3236">
                        <c:v>0.3756717</c:v>
                      </c:pt>
                      <c:pt idx="3237">
                        <c:v>0.45701310000000001</c:v>
                      </c:pt>
                      <c:pt idx="3238">
                        <c:v>1.2491729999999999</c:v>
                      </c:pt>
                      <c:pt idx="3239">
                        <c:v>1.2548830369999999</c:v>
                      </c:pt>
                      <c:pt idx="3240">
                        <c:v>1.4880230000000001</c:v>
                      </c:pt>
                      <c:pt idx="3241">
                        <c:v>1.7681610000000001</c:v>
                      </c:pt>
                      <c:pt idx="3242">
                        <c:v>1.8498849999999998</c:v>
                      </c:pt>
                      <c:pt idx="3243">
                        <c:v>1.697006</c:v>
                      </c:pt>
                      <c:pt idx="3244">
                        <c:v>1.6103800000000001</c:v>
                      </c:pt>
                      <c:pt idx="3245">
                        <c:v>1.612883531</c:v>
                      </c:pt>
                      <c:pt idx="3246">
                        <c:v>1.9350559999999999</c:v>
                      </c:pt>
                      <c:pt idx="3247">
                        <c:v>1.937105125</c:v>
                      </c:pt>
                      <c:pt idx="3248">
                        <c:v>2</c:v>
                      </c:pt>
                      <c:pt idx="3249">
                        <c:v>1.994469147</c:v>
                      </c:pt>
                      <c:pt idx="3250">
                        <c:v>1.9386192470000001</c:v>
                      </c:pt>
                      <c:pt idx="3251">
                        <c:v>1.9219457610000001</c:v>
                      </c:pt>
                      <c:pt idx="3252">
                        <c:v>1.8773249999999999</c:v>
                      </c:pt>
                      <c:pt idx="3253">
                        <c:v>1.5843499999999999</c:v>
                      </c:pt>
                      <c:pt idx="3254">
                        <c:v>1.4371389999999999</c:v>
                      </c:pt>
                      <c:pt idx="3255">
                        <c:v>1.323475</c:v>
                      </c:pt>
                      <c:pt idx="3256">
                        <c:v>0.91676800000000003</c:v>
                      </c:pt>
                      <c:pt idx="3257">
                        <c:v>0.24110589999999998</c:v>
                      </c:pt>
                      <c:pt idx="3258">
                        <c:v>0</c:v>
                      </c:pt>
                      <c:pt idx="3259">
                        <c:v>0</c:v>
                      </c:pt>
                      <c:pt idx="3260">
                        <c:v>0</c:v>
                      </c:pt>
                      <c:pt idx="3261">
                        <c:v>0</c:v>
                      </c:pt>
                      <c:pt idx="3262">
                        <c:v>0</c:v>
                      </c:pt>
                      <c:pt idx="3263">
                        <c:v>0</c:v>
                      </c:pt>
                      <c:pt idx="3264">
                        <c:v>0.1255126</c:v>
                      </c:pt>
                      <c:pt idx="3265">
                        <c:v>0.29466740000000002</c:v>
                      </c:pt>
                      <c:pt idx="3266">
                        <c:v>0.47339680000000001</c:v>
                      </c:pt>
                      <c:pt idx="3267">
                        <c:v>0.77038830000000003</c:v>
                      </c:pt>
                      <c:pt idx="3268">
                        <c:v>0.84066180000000001</c:v>
                      </c:pt>
                      <c:pt idx="3269">
                        <c:v>0.7648353</c:v>
                      </c:pt>
                      <c:pt idx="3270">
                        <c:v>0.97546499999999992</c:v>
                      </c:pt>
                      <c:pt idx="3271">
                        <c:v>1.3770789999999999</c:v>
                      </c:pt>
                      <c:pt idx="3272">
                        <c:v>2</c:v>
                      </c:pt>
                      <c:pt idx="3273">
                        <c:v>1.9645973989999999</c:v>
                      </c:pt>
                      <c:pt idx="3274">
                        <c:v>1.9288640000000001</c:v>
                      </c:pt>
                      <c:pt idx="3275">
                        <c:v>1.4591589999999999</c:v>
                      </c:pt>
                      <c:pt idx="3276">
                        <c:v>0.69565659999999996</c:v>
                      </c:pt>
                      <c:pt idx="3277">
                        <c:v>8.3080070000000006E-2</c:v>
                      </c:pt>
                      <c:pt idx="3278">
                        <c:v>7.9783919499999995E-2</c:v>
                      </c:pt>
                      <c:pt idx="3279">
                        <c:v>0</c:v>
                      </c:pt>
                      <c:pt idx="3280">
                        <c:v>5.1950280199999999E-3</c:v>
                      </c:pt>
                      <c:pt idx="3281">
                        <c:v>1.9587229180000002E-2</c:v>
                      </c:pt>
                      <c:pt idx="3282">
                        <c:v>2.0565280000000002E-2</c:v>
                      </c:pt>
                      <c:pt idx="3283">
                        <c:v>0.23268830000000001</c:v>
                      </c:pt>
                      <c:pt idx="3284">
                        <c:v>1.573956E-2</c:v>
                      </c:pt>
                      <c:pt idx="3285">
                        <c:v>0</c:v>
                      </c:pt>
                      <c:pt idx="3286">
                        <c:v>0.18889105310000001</c:v>
                      </c:pt>
                      <c:pt idx="3287">
                        <c:v>0.2791767</c:v>
                      </c:pt>
                      <c:pt idx="3288">
                        <c:v>0.71832980000000002</c:v>
                      </c:pt>
                      <c:pt idx="3289">
                        <c:v>0.85677099999999995</c:v>
                      </c:pt>
                      <c:pt idx="3290">
                        <c:v>0.8766467</c:v>
                      </c:pt>
                      <c:pt idx="3291">
                        <c:v>0.80076150000000001</c:v>
                      </c:pt>
                      <c:pt idx="3292">
                        <c:v>0.63424880000000006</c:v>
                      </c:pt>
                      <c:pt idx="3293">
                        <c:v>0</c:v>
                      </c:pt>
                      <c:pt idx="3294">
                        <c:v>0.20211858429999999</c:v>
                      </c:pt>
                      <c:pt idx="3295">
                        <c:v>0.29586259999999998</c:v>
                      </c:pt>
                      <c:pt idx="3296">
                        <c:v>0.70467609999999992</c:v>
                      </c:pt>
                      <c:pt idx="3297">
                        <c:v>0.88964699999999997</c:v>
                      </c:pt>
                      <c:pt idx="3298">
                        <c:v>0.89087887700000001</c:v>
                      </c:pt>
                      <c:pt idx="3299">
                        <c:v>0.92870940000000002</c:v>
                      </c:pt>
                      <c:pt idx="3300">
                        <c:v>0.77267459999999999</c:v>
                      </c:pt>
                      <c:pt idx="3301">
                        <c:v>0.58276320000000004</c:v>
                      </c:pt>
                      <c:pt idx="3302">
                        <c:v>0.5781829624</c:v>
                      </c:pt>
                      <c:pt idx="3303">
                        <c:v>0.46737620000000002</c:v>
                      </c:pt>
                      <c:pt idx="3304">
                        <c:v>0.61945090000000003</c:v>
                      </c:pt>
                      <c:pt idx="3305">
                        <c:v>0.95852649999999995</c:v>
                      </c:pt>
                      <c:pt idx="3306">
                        <c:v>1.204618</c:v>
                      </c:pt>
                      <c:pt idx="3307">
                        <c:v>1.315831</c:v>
                      </c:pt>
                      <c:pt idx="3308">
                        <c:v>1.869634</c:v>
                      </c:pt>
                      <c:pt idx="3309">
                        <c:v>2</c:v>
                      </c:pt>
                      <c:pt idx="3310">
                        <c:v>1.7507400000000002</c:v>
                      </c:pt>
                      <c:pt idx="3311">
                        <c:v>1.3654789999999999</c:v>
                      </c:pt>
                      <c:pt idx="3312">
                        <c:v>0.71426500000000004</c:v>
                      </c:pt>
                      <c:pt idx="3313">
                        <c:v>0.49758429999999998</c:v>
                      </c:pt>
                      <c:pt idx="3314">
                        <c:v>0.46766360000000001</c:v>
                      </c:pt>
                      <c:pt idx="3315">
                        <c:v>0.46412855069999998</c:v>
                      </c:pt>
                      <c:pt idx="3316">
                        <c:v>0.28384120000000002</c:v>
                      </c:pt>
                      <c:pt idx="3317">
                        <c:v>0.46348754079999999</c:v>
                      </c:pt>
                      <c:pt idx="3318">
                        <c:v>0.80612660000000003</c:v>
                      </c:pt>
                      <c:pt idx="3319">
                        <c:v>0.86077520000000007</c:v>
                      </c:pt>
                      <c:pt idx="3320">
                        <c:v>1.057005</c:v>
                      </c:pt>
                      <c:pt idx="3321">
                        <c:v>1.2362709999999999</c:v>
                      </c:pt>
                      <c:pt idx="3322">
                        <c:v>1.1388450000000001</c:v>
                      </c:pt>
                      <c:pt idx="3323">
                        <c:v>0.87774039999999998</c:v>
                      </c:pt>
                      <c:pt idx="3324">
                        <c:v>0.81926180000000004</c:v>
                      </c:pt>
                      <c:pt idx="3325">
                        <c:v>0.82094007410000003</c:v>
                      </c:pt>
                      <c:pt idx="3326">
                        <c:v>0.90450969999999997</c:v>
                      </c:pt>
                      <c:pt idx="3327">
                        <c:v>0.86637789999999992</c:v>
                      </c:pt>
                      <c:pt idx="3328">
                        <c:v>0.89584320000000006</c:v>
                      </c:pt>
                      <c:pt idx="3329">
                        <c:v>1.04359</c:v>
                      </c:pt>
                      <c:pt idx="3330">
                        <c:v>1.2759720000000001</c:v>
                      </c:pt>
                      <c:pt idx="3331">
                        <c:v>1.3821299999999999</c:v>
                      </c:pt>
                      <c:pt idx="3332">
                        <c:v>1.1448069999999999</c:v>
                      </c:pt>
                      <c:pt idx="3333">
                        <c:v>1.1455275330000001</c:v>
                      </c:pt>
                      <c:pt idx="3334">
                        <c:v>1.238251</c:v>
                      </c:pt>
                      <c:pt idx="3335">
                        <c:v>1.2496028109999999</c:v>
                      </c:pt>
                      <c:pt idx="3336">
                        <c:v>1.9579920000000002</c:v>
                      </c:pt>
                      <c:pt idx="3337">
                        <c:v>2</c:v>
                      </c:pt>
                      <c:pt idx="3338">
                        <c:v>1.983599235</c:v>
                      </c:pt>
                      <c:pt idx="3339">
                        <c:v>1.968688</c:v>
                      </c:pt>
                      <c:pt idx="3340">
                        <c:v>1.8595439999999999</c:v>
                      </c:pt>
                      <c:pt idx="3341">
                        <c:v>0.75438810000000001</c:v>
                      </c:pt>
                      <c:pt idx="3342">
                        <c:v>0.52794180000000002</c:v>
                      </c:pt>
                      <c:pt idx="3343">
                        <c:v>0.4224736</c:v>
                      </c:pt>
                      <c:pt idx="3344">
                        <c:v>0.22291149999999998</c:v>
                      </c:pt>
                      <c:pt idx="3345">
                        <c:v>3.4187099999999998E-2</c:v>
                      </c:pt>
                      <c:pt idx="3346">
                        <c:v>0</c:v>
                      </c:pt>
                      <c:pt idx="3347">
                        <c:v>5.4326530000000005E-2</c:v>
                      </c:pt>
                      <c:pt idx="3348">
                        <c:v>0.2158987</c:v>
                      </c:pt>
                      <c:pt idx="3349">
                        <c:v>0.2506916092</c:v>
                      </c:pt>
                      <c:pt idx="3350">
                        <c:v>0.26148290000000002</c:v>
                      </c:pt>
                      <c:pt idx="3351">
                        <c:v>0.12520896880000001</c:v>
                      </c:pt>
                      <c:pt idx="3352">
                        <c:v>0</c:v>
                      </c:pt>
                      <c:pt idx="3353">
                        <c:v>0</c:v>
                      </c:pt>
                      <c:pt idx="3354">
                        <c:v>0</c:v>
                      </c:pt>
                      <c:pt idx="3355">
                        <c:v>0</c:v>
                      </c:pt>
                      <c:pt idx="3356">
                        <c:v>0.13050819999999999</c:v>
                      </c:pt>
                      <c:pt idx="3357">
                        <c:v>0.77564820000000001</c:v>
                      </c:pt>
                      <c:pt idx="3358">
                        <c:v>0.97555510000000001</c:v>
                      </c:pt>
                      <c:pt idx="3359">
                        <c:v>1.256114</c:v>
                      </c:pt>
                      <c:pt idx="3360">
                        <c:v>1.4029419999999999</c:v>
                      </c:pt>
                      <c:pt idx="3361">
                        <c:v>1.6447450000000001</c:v>
                      </c:pt>
                      <c:pt idx="3362">
                        <c:v>1.9501580000000001</c:v>
                      </c:pt>
                      <c:pt idx="3363">
                        <c:v>2</c:v>
                      </c:pt>
                      <c:pt idx="3364">
                        <c:v>1.90727212</c:v>
                      </c:pt>
                      <c:pt idx="3365">
                        <c:v>1.875482791</c:v>
                      </c:pt>
                      <c:pt idx="3366">
                        <c:v>1.8448900000000001</c:v>
                      </c:pt>
                      <c:pt idx="3367">
                        <c:v>1.7279550000000001</c:v>
                      </c:pt>
                      <c:pt idx="3368">
                        <c:v>1.5405709999999999</c:v>
                      </c:pt>
                      <c:pt idx="3369">
                        <c:v>1.444218</c:v>
                      </c:pt>
                      <c:pt idx="3370">
                        <c:v>0.81138440000000001</c:v>
                      </c:pt>
                      <c:pt idx="3371">
                        <c:v>0.36749160000000003</c:v>
                      </c:pt>
                      <c:pt idx="3372">
                        <c:v>0.33302490000000001</c:v>
                      </c:pt>
                      <c:pt idx="3373">
                        <c:v>3.1824249999999998E-2</c:v>
                      </c:pt>
                      <c:pt idx="3374">
                        <c:v>0</c:v>
                      </c:pt>
                      <c:pt idx="3375">
                        <c:v>1.705753942E-2</c:v>
                      </c:pt>
                      <c:pt idx="3376">
                        <c:v>3.2475239999999995E-2</c:v>
                      </c:pt>
                      <c:pt idx="3377">
                        <c:v>0.4463821</c:v>
                      </c:pt>
                      <c:pt idx="3378">
                        <c:v>0.60734139999999992</c:v>
                      </c:pt>
                      <c:pt idx="3379">
                        <c:v>0.51732210000000001</c:v>
                      </c:pt>
                      <c:pt idx="3380">
                        <c:v>0.62887949999999992</c:v>
                      </c:pt>
                      <c:pt idx="3381">
                        <c:v>0.72216920000000007</c:v>
                      </c:pt>
                      <c:pt idx="3382">
                        <c:v>0.96282330000000005</c:v>
                      </c:pt>
                      <c:pt idx="3383">
                        <c:v>1.2903340000000001</c:v>
                      </c:pt>
                      <c:pt idx="3384">
                        <c:v>1.478675</c:v>
                      </c:pt>
                      <c:pt idx="3385">
                        <c:v>1.6295630000000001</c:v>
                      </c:pt>
                      <c:pt idx="3386">
                        <c:v>1.774246</c:v>
                      </c:pt>
                      <c:pt idx="3387">
                        <c:v>2</c:v>
                      </c:pt>
                      <c:pt idx="3388">
                        <c:v>2</c:v>
                      </c:pt>
                      <c:pt idx="3389">
                        <c:v>2</c:v>
                      </c:pt>
                      <c:pt idx="3390">
                        <c:v>2</c:v>
                      </c:pt>
                      <c:pt idx="3391">
                        <c:v>1.7519960000000001</c:v>
                      </c:pt>
                      <c:pt idx="3392">
                        <c:v>1.340133486</c:v>
                      </c:pt>
                      <c:pt idx="3393">
                        <c:v>0.96749600000000002</c:v>
                      </c:pt>
                      <c:pt idx="3394">
                        <c:v>0.71355310000000005</c:v>
                      </c:pt>
                      <c:pt idx="3395">
                        <c:v>5.4090119999999998E-2</c:v>
                      </c:pt>
                      <c:pt idx="3396">
                        <c:v>0</c:v>
                      </c:pt>
                      <c:pt idx="3397">
                        <c:v>9.8654734029999996E-2</c:v>
                      </c:pt>
                      <c:pt idx="3398">
                        <c:v>0.17210339999999999</c:v>
                      </c:pt>
                      <c:pt idx="3399">
                        <c:v>0.1807116369</c:v>
                      </c:pt>
                      <c:pt idx="3400">
                        <c:v>0.72211560000000008</c:v>
                      </c:pt>
                      <c:pt idx="3401">
                        <c:v>1.361434</c:v>
                      </c:pt>
                      <c:pt idx="3402">
                        <c:v>1.367155823</c:v>
                      </c:pt>
                      <c:pt idx="3403">
                        <c:v>1.84012</c:v>
                      </c:pt>
                      <c:pt idx="3404">
                        <c:v>2</c:v>
                      </c:pt>
                      <c:pt idx="3405">
                        <c:v>1.9891220000000001</c:v>
                      </c:pt>
                      <c:pt idx="3406">
                        <c:v>1.879518</c:v>
                      </c:pt>
                      <c:pt idx="3407">
                        <c:v>1.495214</c:v>
                      </c:pt>
                      <c:pt idx="3408">
                        <c:v>1.4119190000000001</c:v>
                      </c:pt>
                      <c:pt idx="3409">
                        <c:v>1.3956819999999999</c:v>
                      </c:pt>
                      <c:pt idx="3410">
                        <c:v>0.98395779999999999</c:v>
                      </c:pt>
                      <c:pt idx="3411">
                        <c:v>0.89495720000000001</c:v>
                      </c:pt>
                      <c:pt idx="3412">
                        <c:v>1.1579380000000001</c:v>
                      </c:pt>
                      <c:pt idx="3413">
                        <c:v>1.1744049999999999</c:v>
                      </c:pt>
                      <c:pt idx="3414">
                        <c:v>1.138294444</c:v>
                      </c:pt>
                      <c:pt idx="3415">
                        <c:v>1.1049359999999999</c:v>
                      </c:pt>
                      <c:pt idx="3416">
                        <c:v>0.99667209999999995</c:v>
                      </c:pt>
                      <c:pt idx="3417">
                        <c:v>1.024489854</c:v>
                      </c:pt>
                      <c:pt idx="3418">
                        <c:v>1.0505929999999999</c:v>
                      </c:pt>
                      <c:pt idx="3419">
                        <c:v>1.0002719999999998</c:v>
                      </c:pt>
                      <c:pt idx="3420">
                        <c:v>1.093148</c:v>
                      </c:pt>
                      <c:pt idx="3421">
                        <c:v>1.2523839999999999</c:v>
                      </c:pt>
                      <c:pt idx="3422">
                        <c:v>1.3597640000000002</c:v>
                      </c:pt>
                      <c:pt idx="3423">
                        <c:v>1.1339109999999999</c:v>
                      </c:pt>
                      <c:pt idx="3424">
                        <c:v>1.132531746</c:v>
                      </c:pt>
                      <c:pt idx="3425">
                        <c:v>1.076217</c:v>
                      </c:pt>
                      <c:pt idx="3426">
                        <c:v>0.9598145266</c:v>
                      </c:pt>
                      <c:pt idx="3427">
                        <c:v>0.83607029999999993</c:v>
                      </c:pt>
                      <c:pt idx="3428">
                        <c:v>0.94077259999999996</c:v>
                      </c:pt>
                      <c:pt idx="3429">
                        <c:v>1.2598399999999998</c:v>
                      </c:pt>
                      <c:pt idx="3430">
                        <c:v>1.492375</c:v>
                      </c:pt>
                      <c:pt idx="3431">
                        <c:v>1.6367099999999999</c:v>
                      </c:pt>
                      <c:pt idx="3432">
                        <c:v>1.5704570000000002</c:v>
                      </c:pt>
                      <c:pt idx="3433">
                        <c:v>1.6653169999999999</c:v>
                      </c:pt>
                      <c:pt idx="3434">
                        <c:v>1.738923</c:v>
                      </c:pt>
                      <c:pt idx="3435">
                        <c:v>1.7189320000000001</c:v>
                      </c:pt>
                      <c:pt idx="3436">
                        <c:v>1.4171950000000002</c:v>
                      </c:pt>
                      <c:pt idx="3437">
                        <c:v>1.337577</c:v>
                      </c:pt>
                      <c:pt idx="3438">
                        <c:v>1.4219440000000001</c:v>
                      </c:pt>
                      <c:pt idx="3439">
                        <c:v>1.0930169999999999</c:v>
                      </c:pt>
                      <c:pt idx="3440">
                        <c:v>0.95694979999999996</c:v>
                      </c:pt>
                      <c:pt idx="3441">
                        <c:v>0.65685689999999997</c:v>
                      </c:pt>
                      <c:pt idx="3442">
                        <c:v>0.65000559999999996</c:v>
                      </c:pt>
                      <c:pt idx="3443">
                        <c:v>0.29892389999999996</c:v>
                      </c:pt>
                      <c:pt idx="3444">
                        <c:v>0</c:v>
                      </c:pt>
                      <c:pt idx="3445">
                        <c:v>0.137408</c:v>
                      </c:pt>
                      <c:pt idx="3446">
                        <c:v>0.57942399999999994</c:v>
                      </c:pt>
                      <c:pt idx="3447">
                        <c:v>0.66164630000000002</c:v>
                      </c:pt>
                      <c:pt idx="3448">
                        <c:v>0.80326580000000003</c:v>
                      </c:pt>
                      <c:pt idx="3449">
                        <c:v>1.0342310000000001</c:v>
                      </c:pt>
                      <c:pt idx="3450">
                        <c:v>1.2524059999999999</c:v>
                      </c:pt>
                      <c:pt idx="3451">
                        <c:v>1.5410069999999998</c:v>
                      </c:pt>
                      <c:pt idx="3452">
                        <c:v>1.5780730000000001</c:v>
                      </c:pt>
                      <c:pt idx="3453">
                        <c:v>1.430747</c:v>
                      </c:pt>
                      <c:pt idx="3454">
                        <c:v>1.344082</c:v>
                      </c:pt>
                      <c:pt idx="3455">
                        <c:v>1.4501249999999999</c:v>
                      </c:pt>
                      <c:pt idx="3456">
                        <c:v>1.428223</c:v>
                      </c:pt>
                      <c:pt idx="3457">
                        <c:v>1.3600559999999999</c:v>
                      </c:pt>
                      <c:pt idx="3458">
                        <c:v>1.1010389999999999</c:v>
                      </c:pt>
                      <c:pt idx="3459">
                        <c:v>1.1353520000000001</c:v>
                      </c:pt>
                      <c:pt idx="3460">
                        <c:v>1.0224550000000001</c:v>
                      </c:pt>
                      <c:pt idx="3461">
                        <c:v>1.239595</c:v>
                      </c:pt>
                      <c:pt idx="3462">
                        <c:v>1.3359479999999999</c:v>
                      </c:pt>
                      <c:pt idx="3463">
                        <c:v>1.5002019999999998</c:v>
                      </c:pt>
                      <c:pt idx="3464">
                        <c:v>1.5712409999999999</c:v>
                      </c:pt>
                      <c:pt idx="3465">
                        <c:v>1.215033</c:v>
                      </c:pt>
                      <c:pt idx="3466">
                        <c:v>1.089728</c:v>
                      </c:pt>
                      <c:pt idx="3467">
                        <c:v>1.13751</c:v>
                      </c:pt>
                      <c:pt idx="3468">
                        <c:v>1.57585</c:v>
                      </c:pt>
                      <c:pt idx="3469">
                        <c:v>1.5787231019999999</c:v>
                      </c:pt>
                      <c:pt idx="3470">
                        <c:v>1.6482300000000001</c:v>
                      </c:pt>
                      <c:pt idx="3471">
                        <c:v>1.5402340000000001</c:v>
                      </c:pt>
                      <c:pt idx="3472">
                        <c:v>1.5395098270000001</c:v>
                      </c:pt>
                      <c:pt idx="3473">
                        <c:v>1.4469640000000001</c:v>
                      </c:pt>
                      <c:pt idx="3474">
                        <c:v>1.3808639999999999</c:v>
                      </c:pt>
                      <c:pt idx="3475">
                        <c:v>1.3762710460000001</c:v>
                      </c:pt>
                      <c:pt idx="3476">
                        <c:v>1.235223</c:v>
                      </c:pt>
                      <c:pt idx="3477">
                        <c:v>0.86313609999999996</c:v>
                      </c:pt>
                      <c:pt idx="3478">
                        <c:v>0.33625509999999997</c:v>
                      </c:pt>
                      <c:pt idx="3479">
                        <c:v>0.1527008</c:v>
                      </c:pt>
                      <c:pt idx="3480">
                        <c:v>0</c:v>
                      </c:pt>
                      <c:pt idx="3481">
                        <c:v>4.6207087399999999E-3</c:v>
                      </c:pt>
                      <c:pt idx="3482">
                        <c:v>1.1400850000000001E-2</c:v>
                      </c:pt>
                      <c:pt idx="3483">
                        <c:v>0.48478160000000003</c:v>
                      </c:pt>
                      <c:pt idx="3484">
                        <c:v>0.50358265300000005</c:v>
                      </c:pt>
                      <c:pt idx="3485">
                        <c:v>1.0762690000000001</c:v>
                      </c:pt>
                      <c:pt idx="3486">
                        <c:v>1.474359</c:v>
                      </c:pt>
                      <c:pt idx="3487">
                        <c:v>1.7576750000000001</c:v>
                      </c:pt>
                      <c:pt idx="3488">
                        <c:v>1.760559032</c:v>
                      </c:pt>
                      <c:pt idx="3489">
                        <c:v>1.9405789999999998</c:v>
                      </c:pt>
                      <c:pt idx="3490">
                        <c:v>1.942453862</c:v>
                      </c:pt>
                      <c:pt idx="3491">
                        <c:v>2</c:v>
                      </c:pt>
                      <c:pt idx="3492">
                        <c:v>1.8474919999999999</c:v>
                      </c:pt>
                      <c:pt idx="3493">
                        <c:v>1.6144970000000001</c:v>
                      </c:pt>
                      <c:pt idx="3494">
                        <c:v>1.4893829999999999</c:v>
                      </c:pt>
                      <c:pt idx="3495">
                        <c:v>1.7108889999999999</c:v>
                      </c:pt>
                      <c:pt idx="3496">
                        <c:v>2</c:v>
                      </c:pt>
                      <c:pt idx="3497">
                        <c:v>1.996334104</c:v>
                      </c:pt>
                      <c:pt idx="3498">
                        <c:v>1.9943954389999998</c:v>
                      </c:pt>
                      <c:pt idx="3499">
                        <c:v>1.9924282090000001</c:v>
                      </c:pt>
                      <c:pt idx="3500">
                        <c:v>1.988520361</c:v>
                      </c:pt>
                      <c:pt idx="3501">
                        <c:v>1.9882785319999998</c:v>
                      </c:pt>
                      <c:pt idx="3502">
                        <c:v>1.9870712150000001</c:v>
                      </c:pt>
                      <c:pt idx="3503">
                        <c:v>1.9821750520000001</c:v>
                      </c:pt>
                      <c:pt idx="3504">
                        <c:v>1.9811980900000001</c:v>
                      </c:pt>
                      <c:pt idx="3505">
                        <c:v>1.9809524769999998</c:v>
                      </c:pt>
                      <c:pt idx="3506">
                        <c:v>1.9807220000000001</c:v>
                      </c:pt>
                      <c:pt idx="3507">
                        <c:v>1.3096709999999998</c:v>
                      </c:pt>
                      <c:pt idx="3508">
                        <c:v>1.219867</c:v>
                      </c:pt>
                      <c:pt idx="3509">
                        <c:v>1.2754730000000001</c:v>
                      </c:pt>
                      <c:pt idx="3510">
                        <c:v>1.527922</c:v>
                      </c:pt>
                      <c:pt idx="3511">
                        <c:v>1.5482579999999999</c:v>
                      </c:pt>
                      <c:pt idx="3512">
                        <c:v>1.4222489999999999</c:v>
                      </c:pt>
                      <c:pt idx="3513">
                        <c:v>1.094854</c:v>
                      </c:pt>
                      <c:pt idx="3514">
                        <c:v>1.0275669999999999</c:v>
                      </c:pt>
                      <c:pt idx="3515">
                        <c:v>0.76592669999999996</c:v>
                      </c:pt>
                      <c:pt idx="3516">
                        <c:v>0.45162860000000005</c:v>
                      </c:pt>
                      <c:pt idx="3517">
                        <c:v>0.35539000000000004</c:v>
                      </c:pt>
                      <c:pt idx="3518">
                        <c:v>0.4675532</c:v>
                      </c:pt>
                      <c:pt idx="3519">
                        <c:v>0.25202140000000001</c:v>
                      </c:pt>
                      <c:pt idx="3520">
                        <c:v>0.26374009999999998</c:v>
                      </c:pt>
                      <c:pt idx="3521">
                        <c:v>0.43032910000000002</c:v>
                      </c:pt>
                      <c:pt idx="3522">
                        <c:v>0.2955643</c:v>
                      </c:pt>
                      <c:pt idx="3523">
                        <c:v>0.32677970000000001</c:v>
                      </c:pt>
                      <c:pt idx="3524">
                        <c:v>0.1941977</c:v>
                      </c:pt>
                      <c:pt idx="3525">
                        <c:v>0.1065374</c:v>
                      </c:pt>
                      <c:pt idx="3526">
                        <c:v>0.25813469999999999</c:v>
                      </c:pt>
                      <c:pt idx="3527">
                        <c:v>0.12550303839999999</c:v>
                      </c:pt>
                      <c:pt idx="3528">
                        <c:v>0</c:v>
                      </c:pt>
                      <c:pt idx="3529">
                        <c:v>0</c:v>
                      </c:pt>
                      <c:pt idx="3530">
                        <c:v>0</c:v>
                      </c:pt>
                      <c:pt idx="3531">
                        <c:v>0</c:v>
                      </c:pt>
                      <c:pt idx="3532">
                        <c:v>3.542080047E-2</c:v>
                      </c:pt>
                      <c:pt idx="3533">
                        <c:v>5.8187514069999995E-2</c:v>
                      </c:pt>
                      <c:pt idx="3534">
                        <c:v>9.6778690000000001E-2</c:v>
                      </c:pt>
                      <c:pt idx="3535">
                        <c:v>0.26601019999999997</c:v>
                      </c:pt>
                      <c:pt idx="3536">
                        <c:v>0.57992510000000008</c:v>
                      </c:pt>
                      <c:pt idx="3537">
                        <c:v>0.93420460000000005</c:v>
                      </c:pt>
                      <c:pt idx="3538">
                        <c:v>0.97510509999999995</c:v>
                      </c:pt>
                      <c:pt idx="3539">
                        <c:v>0.84128467009999996</c:v>
                      </c:pt>
                      <c:pt idx="3540">
                        <c:v>0.75378670000000003</c:v>
                      </c:pt>
                      <c:pt idx="3541">
                        <c:v>0.65080789999999988</c:v>
                      </c:pt>
                      <c:pt idx="3542">
                        <c:v>0.44986710000000002</c:v>
                      </c:pt>
                      <c:pt idx="3543">
                        <c:v>0</c:v>
                      </c:pt>
                      <c:pt idx="3544">
                        <c:v>0</c:v>
                      </c:pt>
                      <c:pt idx="3545">
                        <c:v>0</c:v>
                      </c:pt>
                      <c:pt idx="3546">
                        <c:v>0</c:v>
                      </c:pt>
                      <c:pt idx="3547">
                        <c:v>0</c:v>
                      </c:pt>
                      <c:pt idx="3548">
                        <c:v>0</c:v>
                      </c:pt>
                      <c:pt idx="3549">
                        <c:v>0.1965886</c:v>
                      </c:pt>
                      <c:pt idx="3550">
                        <c:v>0.43961719999999999</c:v>
                      </c:pt>
                      <c:pt idx="3551">
                        <c:v>0.59824049999999995</c:v>
                      </c:pt>
                      <c:pt idx="3552">
                        <c:v>0.65472759999999997</c:v>
                      </c:pt>
                      <c:pt idx="3553">
                        <c:v>0.59701500000000007</c:v>
                      </c:pt>
                      <c:pt idx="3554">
                        <c:v>0.71596349999999997</c:v>
                      </c:pt>
                      <c:pt idx="3555">
                        <c:v>0.6589994213999999</c:v>
                      </c:pt>
                      <c:pt idx="3556">
                        <c:v>0.55351039999999996</c:v>
                      </c:pt>
                      <c:pt idx="3557">
                        <c:v>0.62248219999999999</c:v>
                      </c:pt>
                      <c:pt idx="3558">
                        <c:v>0.52593699999999999</c:v>
                      </c:pt>
                      <c:pt idx="3559">
                        <c:v>0.25113610000000003</c:v>
                      </c:pt>
                      <c:pt idx="3560">
                        <c:v>0.16952660000000003</c:v>
                      </c:pt>
                      <c:pt idx="3561">
                        <c:v>0.23593240000000001</c:v>
                      </c:pt>
                      <c:pt idx="3562">
                        <c:v>0.11874570000000001</c:v>
                      </c:pt>
                      <c:pt idx="3563">
                        <c:v>0</c:v>
                      </c:pt>
                      <c:pt idx="3564">
                        <c:v>0</c:v>
                      </c:pt>
                      <c:pt idx="3565">
                        <c:v>0</c:v>
                      </c:pt>
                      <c:pt idx="3566">
                        <c:v>0</c:v>
                      </c:pt>
                      <c:pt idx="3567">
                        <c:v>2.5489767819999998E-2</c:v>
                      </c:pt>
                      <c:pt idx="3568">
                        <c:v>7.7266669999999996E-2</c:v>
                      </c:pt>
                      <c:pt idx="3569">
                        <c:v>0.413968</c:v>
                      </c:pt>
                      <c:pt idx="3570">
                        <c:v>0.60793900000000001</c:v>
                      </c:pt>
                      <c:pt idx="3571">
                        <c:v>0.58296990000000004</c:v>
                      </c:pt>
                      <c:pt idx="3572">
                        <c:v>0.98370250000000004</c:v>
                      </c:pt>
                      <c:pt idx="3573">
                        <c:v>0.98868565110000006</c:v>
                      </c:pt>
                      <c:pt idx="3574">
                        <c:v>1.299571</c:v>
                      </c:pt>
                      <c:pt idx="3575">
                        <c:v>1.3064545839999999</c:v>
                      </c:pt>
                      <c:pt idx="3576">
                        <c:v>1.741104</c:v>
                      </c:pt>
                      <c:pt idx="3577">
                        <c:v>1.9961959999999999</c:v>
                      </c:pt>
                      <c:pt idx="3578">
                        <c:v>1.9956943620000001</c:v>
                      </c:pt>
                      <c:pt idx="3579">
                        <c:v>1.777585</c:v>
                      </c:pt>
                      <c:pt idx="3580">
                        <c:v>1.5061410000000002</c:v>
                      </c:pt>
                      <c:pt idx="3581">
                        <c:v>1.3158459999999998</c:v>
                      </c:pt>
                      <c:pt idx="3582">
                        <c:v>0.96057100000000006</c:v>
                      </c:pt>
                      <c:pt idx="3583">
                        <c:v>0.90588390000000008</c:v>
                      </c:pt>
                      <c:pt idx="3584">
                        <c:v>0.42955399999999999</c:v>
                      </c:pt>
                      <c:pt idx="3585">
                        <c:v>6.1909249999999999E-2</c:v>
                      </c:pt>
                      <c:pt idx="3586">
                        <c:v>5.9925376599999997E-2</c:v>
                      </c:pt>
                      <c:pt idx="3587">
                        <c:v>0</c:v>
                      </c:pt>
                      <c:pt idx="3588">
                        <c:v>0</c:v>
                      </c:pt>
                      <c:pt idx="3589">
                        <c:v>0</c:v>
                      </c:pt>
                      <c:pt idx="3590">
                        <c:v>0</c:v>
                      </c:pt>
                      <c:pt idx="3591">
                        <c:v>0</c:v>
                      </c:pt>
                      <c:pt idx="3592">
                        <c:v>0</c:v>
                      </c:pt>
                      <c:pt idx="3593">
                        <c:v>0.12427784629999999</c:v>
                      </c:pt>
                      <c:pt idx="3594">
                        <c:v>0.16230236749999999</c:v>
                      </c:pt>
                      <c:pt idx="3595">
                        <c:v>0.26158999999999999</c:v>
                      </c:pt>
                      <c:pt idx="3596">
                        <c:v>0.57171379999999994</c:v>
                      </c:pt>
                      <c:pt idx="3597">
                        <c:v>0.57129865530000001</c:v>
                      </c:pt>
                      <c:pt idx="3598">
                        <c:v>0.52070300000000003</c:v>
                      </c:pt>
                      <c:pt idx="3599">
                        <c:v>0.2700919</c:v>
                      </c:pt>
                      <c:pt idx="3600">
                        <c:v>0.26594693880000003</c:v>
                      </c:pt>
                      <c:pt idx="3601">
                        <c:v>0</c:v>
                      </c:pt>
                      <c:pt idx="3602">
                        <c:v>3.3685221040000005E-2</c:v>
                      </c:pt>
                      <c:pt idx="3603">
                        <c:v>6.3938965769999995E-2</c:v>
                      </c:pt>
                      <c:pt idx="3604">
                        <c:v>7.138448E-2</c:v>
                      </c:pt>
                      <c:pt idx="3605">
                        <c:v>0</c:v>
                      </c:pt>
                      <c:pt idx="3606">
                        <c:v>0</c:v>
                      </c:pt>
                      <c:pt idx="3607">
                        <c:v>0</c:v>
                      </c:pt>
                      <c:pt idx="3608">
                        <c:v>0</c:v>
                      </c:pt>
                      <c:pt idx="3609">
                        <c:v>0</c:v>
                      </c:pt>
                      <c:pt idx="3610">
                        <c:v>0</c:v>
                      </c:pt>
                      <c:pt idx="3611">
                        <c:v>0</c:v>
                      </c:pt>
                      <c:pt idx="3612">
                        <c:v>0</c:v>
                      </c:pt>
                      <c:pt idx="3613">
                        <c:v>0</c:v>
                      </c:pt>
                      <c:pt idx="3614">
                        <c:v>0</c:v>
                      </c:pt>
                      <c:pt idx="3615">
                        <c:v>0</c:v>
                      </c:pt>
                      <c:pt idx="3616">
                        <c:v>0</c:v>
                      </c:pt>
                      <c:pt idx="3617">
                        <c:v>0</c:v>
                      </c:pt>
                      <c:pt idx="3618">
                        <c:v>0.53673990000000005</c:v>
                      </c:pt>
                      <c:pt idx="3619">
                        <c:v>0.71573710000000001</c:v>
                      </c:pt>
                      <c:pt idx="3620">
                        <c:v>0.89707009999999998</c:v>
                      </c:pt>
                      <c:pt idx="3621">
                        <c:v>1.1655660000000001</c:v>
                      </c:pt>
                      <c:pt idx="3622">
                        <c:v>1.5279640000000001</c:v>
                      </c:pt>
                      <c:pt idx="3623">
                        <c:v>1.7784599999999999</c:v>
                      </c:pt>
                      <c:pt idx="3624">
                        <c:v>1.7802131639999998</c:v>
                      </c:pt>
                      <c:pt idx="3625">
                        <c:v>1.929195</c:v>
                      </c:pt>
                      <c:pt idx="3626">
                        <c:v>1.7666360000000001</c:v>
                      </c:pt>
                      <c:pt idx="3627">
                        <c:v>1.7248929999999998</c:v>
                      </c:pt>
                      <c:pt idx="3628">
                        <c:v>1.454067</c:v>
                      </c:pt>
                      <c:pt idx="3629">
                        <c:v>1.2118800000000001</c:v>
                      </c:pt>
                      <c:pt idx="3630">
                        <c:v>1.3591300000000002</c:v>
                      </c:pt>
                      <c:pt idx="3631">
                        <c:v>1.495852</c:v>
                      </c:pt>
                      <c:pt idx="3632">
                        <c:v>1.9999090000000002</c:v>
                      </c:pt>
                      <c:pt idx="3633">
                        <c:v>1.8156919999999999</c:v>
                      </c:pt>
                      <c:pt idx="3634">
                        <c:v>1.65343</c:v>
                      </c:pt>
                      <c:pt idx="3635">
                        <c:v>1.6246309999999999</c:v>
                      </c:pt>
                      <c:pt idx="3636">
                        <c:v>1.313836936</c:v>
                      </c:pt>
                      <c:pt idx="3637">
                        <c:v>1.003196</c:v>
                      </c:pt>
                      <c:pt idx="3638">
                        <c:v>0.58534930000000007</c:v>
                      </c:pt>
                      <c:pt idx="3639">
                        <c:v>0.64279390000000003</c:v>
                      </c:pt>
                      <c:pt idx="3640">
                        <c:v>0.77884789999999993</c:v>
                      </c:pt>
                      <c:pt idx="3641">
                        <c:v>0.87513372570000003</c:v>
                      </c:pt>
                      <c:pt idx="3642">
                        <c:v>0.92575269999999998</c:v>
                      </c:pt>
                      <c:pt idx="3643">
                        <c:v>1.38127</c:v>
                      </c:pt>
                      <c:pt idx="3644">
                        <c:v>1.859445</c:v>
                      </c:pt>
                      <c:pt idx="3645">
                        <c:v>2</c:v>
                      </c:pt>
                      <c:pt idx="3646">
                        <c:v>1.9124860000000001</c:v>
                      </c:pt>
                      <c:pt idx="3647">
                        <c:v>1.7774529999999999</c:v>
                      </c:pt>
                      <c:pt idx="3648">
                        <c:v>1.695112</c:v>
                      </c:pt>
                      <c:pt idx="3649">
                        <c:v>1.706026</c:v>
                      </c:pt>
                      <c:pt idx="3650">
                        <c:v>1.8715039999999998</c:v>
                      </c:pt>
                      <c:pt idx="3651">
                        <c:v>1.8715890669999999</c:v>
                      </c:pt>
                      <c:pt idx="3652">
                        <c:v>1.882549</c:v>
                      </c:pt>
                      <c:pt idx="3653">
                        <c:v>1.996864</c:v>
                      </c:pt>
                      <c:pt idx="3654">
                        <c:v>1.9882820280000002</c:v>
                      </c:pt>
                      <c:pt idx="3655">
                        <c:v>1.9180067569999999</c:v>
                      </c:pt>
                      <c:pt idx="3656">
                        <c:v>1.909289464</c:v>
                      </c:pt>
                      <c:pt idx="3657">
                        <c:v>1.8394900000000001</c:v>
                      </c:pt>
                      <c:pt idx="3658">
                        <c:v>1.838313106</c:v>
                      </c:pt>
                      <c:pt idx="3659">
                        <c:v>1.5273750000000001</c:v>
                      </c:pt>
                      <c:pt idx="3660">
                        <c:v>1.4337249999999999</c:v>
                      </c:pt>
                      <c:pt idx="3661">
                        <c:v>1.3537999999999999</c:v>
                      </c:pt>
                      <c:pt idx="3662">
                        <c:v>1.1638549999999999</c:v>
                      </c:pt>
                      <c:pt idx="3663">
                        <c:v>0.99123251150000002</c:v>
                      </c:pt>
                      <c:pt idx="3664">
                        <c:v>0.80903940000000008</c:v>
                      </c:pt>
                      <c:pt idx="3665">
                        <c:v>0.81071914820000002</c:v>
                      </c:pt>
                      <c:pt idx="3666">
                        <c:v>1.022043</c:v>
                      </c:pt>
                      <c:pt idx="3667">
                        <c:v>1.077305</c:v>
                      </c:pt>
                      <c:pt idx="3668">
                        <c:v>0.88264480000000001</c:v>
                      </c:pt>
                      <c:pt idx="3669">
                        <c:v>0.97524956759999992</c:v>
                      </c:pt>
                      <c:pt idx="3670">
                        <c:v>1.005968</c:v>
                      </c:pt>
                      <c:pt idx="3671">
                        <c:v>1.1732750000000001</c:v>
                      </c:pt>
                      <c:pt idx="3672">
                        <c:v>1.7349299999999999</c:v>
                      </c:pt>
                      <c:pt idx="3673">
                        <c:v>1.90374</c:v>
                      </c:pt>
                      <c:pt idx="3674">
                        <c:v>2</c:v>
                      </c:pt>
                      <c:pt idx="3675">
                        <c:v>1.9751560000000001</c:v>
                      </c:pt>
                      <c:pt idx="3676">
                        <c:v>1.788416</c:v>
                      </c:pt>
                      <c:pt idx="3677">
                        <c:v>1.7056370000000001</c:v>
                      </c:pt>
                      <c:pt idx="3678">
                        <c:v>1.822786</c:v>
                      </c:pt>
                      <c:pt idx="3679">
                        <c:v>1.947594</c:v>
                      </c:pt>
                      <c:pt idx="3680">
                        <c:v>2</c:v>
                      </c:pt>
                      <c:pt idx="3681">
                        <c:v>1.979841467</c:v>
                      </c:pt>
                      <c:pt idx="3682">
                        <c:v>1.959838191</c:v>
                      </c:pt>
                      <c:pt idx="3683">
                        <c:v>1.8997582470000001</c:v>
                      </c:pt>
                      <c:pt idx="3684">
                        <c:v>1.8899920000000001</c:v>
                      </c:pt>
                      <c:pt idx="3685">
                        <c:v>1.77962</c:v>
                      </c:pt>
                      <c:pt idx="3686">
                        <c:v>1.778964175</c:v>
                      </c:pt>
                      <c:pt idx="3687">
                        <c:v>1.7651429999999999</c:v>
                      </c:pt>
                      <c:pt idx="3688">
                        <c:v>1.6865209999999999</c:v>
                      </c:pt>
                      <c:pt idx="3689">
                        <c:v>1.72072</c:v>
                      </c:pt>
                      <c:pt idx="3690">
                        <c:v>1.836681</c:v>
                      </c:pt>
                      <c:pt idx="3691">
                        <c:v>1.7480250000000002</c:v>
                      </c:pt>
                      <c:pt idx="3692">
                        <c:v>1.7844450000000001</c:v>
                      </c:pt>
                      <c:pt idx="3693">
                        <c:v>1.9647600000000001</c:v>
                      </c:pt>
                      <c:pt idx="3694">
                        <c:v>1.9887239999999999</c:v>
                      </c:pt>
                      <c:pt idx="3695">
                        <c:v>1.9275849999999999</c:v>
                      </c:pt>
                      <c:pt idx="3696">
                        <c:v>1.76793</c:v>
                      </c:pt>
                      <c:pt idx="3697">
                        <c:v>1.7706926340000002</c:v>
                      </c:pt>
                      <c:pt idx="3698">
                        <c:v>1.9376589999999998</c:v>
                      </c:pt>
                      <c:pt idx="3699">
                        <c:v>1.939508351</c:v>
                      </c:pt>
                      <c:pt idx="3700">
                        <c:v>2</c:v>
                      </c:pt>
                      <c:pt idx="3701">
                        <c:v>1.9744619999999999</c:v>
                      </c:pt>
                      <c:pt idx="3702">
                        <c:v>1.7241569999999999</c:v>
                      </c:pt>
                      <c:pt idx="3703">
                        <c:v>1.413268</c:v>
                      </c:pt>
                      <c:pt idx="3704">
                        <c:v>1.3305099999999999</c:v>
                      </c:pt>
                      <c:pt idx="3705">
                        <c:v>1.4445671379999998</c:v>
                      </c:pt>
                      <c:pt idx="3706">
                        <c:v>1.4987079999999999</c:v>
                      </c:pt>
                      <c:pt idx="3707">
                        <c:v>1.7826750000000002</c:v>
                      </c:pt>
                      <c:pt idx="3708">
                        <c:v>1.7849546319999998</c:v>
                      </c:pt>
                      <c:pt idx="3709">
                        <c:v>2</c:v>
                      </c:pt>
                      <c:pt idx="3710">
                        <c:v>1.9599959999999998</c:v>
                      </c:pt>
                      <c:pt idx="3711">
                        <c:v>1.495844</c:v>
                      </c:pt>
                      <c:pt idx="3712">
                        <c:v>1.3249649999999999</c:v>
                      </c:pt>
                      <c:pt idx="3713">
                        <c:v>1.3141659999999999</c:v>
                      </c:pt>
                      <c:pt idx="3714">
                        <c:v>1.169138</c:v>
                      </c:pt>
                      <c:pt idx="3715">
                        <c:v>0.84890370000000004</c:v>
                      </c:pt>
                      <c:pt idx="3716">
                        <c:v>0.57824089999999995</c:v>
                      </c:pt>
                      <c:pt idx="3717">
                        <c:v>0.5404468</c:v>
                      </c:pt>
                      <c:pt idx="3718">
                        <c:v>0.27022341589999999</c:v>
                      </c:pt>
                      <c:pt idx="3719">
                        <c:v>0</c:v>
                      </c:pt>
                      <c:pt idx="3720">
                        <c:v>1.2318098539999999E-2</c:v>
                      </c:pt>
                      <c:pt idx="3721">
                        <c:v>2.9873460000000001E-2</c:v>
                      </c:pt>
                      <c:pt idx="3722">
                        <c:v>2.4703339999999997E-2</c:v>
                      </c:pt>
                      <c:pt idx="3723">
                        <c:v>2.4510052039999997E-2</c:v>
                      </c:pt>
                      <c:pt idx="3724">
                        <c:v>1.2058621490000001E-2</c:v>
                      </c:pt>
                      <c:pt idx="3725">
                        <c:v>0</c:v>
                      </c:pt>
                      <c:pt idx="3726">
                        <c:v>9.5842179999999999E-2</c:v>
                      </c:pt>
                      <c:pt idx="3727">
                        <c:v>0.37896030000000003</c:v>
                      </c:pt>
                      <c:pt idx="3728">
                        <c:v>0.26615509999999998</c:v>
                      </c:pt>
                      <c:pt idx="3729">
                        <c:v>0</c:v>
                      </c:pt>
                      <c:pt idx="3730">
                        <c:v>5.7548458240000003E-2</c:v>
                      </c:pt>
                      <c:pt idx="3731">
                        <c:v>7.9805130000000002E-2</c:v>
                      </c:pt>
                      <c:pt idx="3732">
                        <c:v>9.3633045070000004E-2</c:v>
                      </c:pt>
                      <c:pt idx="3733">
                        <c:v>0.45032200000000006</c:v>
                      </c:pt>
                      <c:pt idx="3734">
                        <c:v>0.63586779999999998</c:v>
                      </c:pt>
                      <c:pt idx="3735">
                        <c:v>0.61610432110000002</c:v>
                      </c:pt>
                      <c:pt idx="3736">
                        <c:v>0.57733750000000006</c:v>
                      </c:pt>
                      <c:pt idx="3737">
                        <c:v>0.4614528</c:v>
                      </c:pt>
                      <c:pt idx="3738">
                        <c:v>0.51525532929999995</c:v>
                      </c:pt>
                      <c:pt idx="3739">
                        <c:v>0.56623159999999995</c:v>
                      </c:pt>
                      <c:pt idx="3740">
                        <c:v>0.32543089999999997</c:v>
                      </c:pt>
                      <c:pt idx="3741">
                        <c:v>0</c:v>
                      </c:pt>
                      <c:pt idx="3742">
                        <c:v>2.4579314550000002E-2</c:v>
                      </c:pt>
                      <c:pt idx="3743">
                        <c:v>3.2731596459999998E-2</c:v>
                      </c:pt>
                      <c:pt idx="3744">
                        <c:v>0.18786580759999999</c:v>
                      </c:pt>
                      <c:pt idx="3745">
                        <c:v>0.20423160580000002</c:v>
                      </c:pt>
                      <c:pt idx="3746">
                        <c:v>0.2449277</c:v>
                      </c:pt>
                      <c:pt idx="3747">
                        <c:v>0.25215712600000001</c:v>
                      </c:pt>
                      <c:pt idx="3748">
                        <c:v>0.70318150000000001</c:v>
                      </c:pt>
                      <c:pt idx="3749">
                        <c:v>0.71087602239999992</c:v>
                      </c:pt>
                      <c:pt idx="3750">
                        <c:v>0.94329960000000002</c:v>
                      </c:pt>
                      <c:pt idx="3751">
                        <c:v>1.086911</c:v>
                      </c:pt>
                      <c:pt idx="3752">
                        <c:v>1.0547420000000001</c:v>
                      </c:pt>
                      <c:pt idx="3753">
                        <c:v>1.3361050000000001</c:v>
                      </c:pt>
                      <c:pt idx="3754">
                        <c:v>1.3553639999999998</c:v>
                      </c:pt>
                      <c:pt idx="3755">
                        <c:v>1.1880470000000001</c:v>
                      </c:pt>
                      <c:pt idx="3756">
                        <c:v>1.324803</c:v>
                      </c:pt>
                      <c:pt idx="3757">
                        <c:v>1.3265376119999999</c:v>
                      </c:pt>
                      <c:pt idx="3758">
                        <c:v>1.431373</c:v>
                      </c:pt>
                      <c:pt idx="3759">
                        <c:v>1.759827</c:v>
                      </c:pt>
                      <c:pt idx="3760">
                        <c:v>2</c:v>
                      </c:pt>
                      <c:pt idx="3761">
                        <c:v>1.9915379450000001</c:v>
                      </c:pt>
                      <c:pt idx="3762">
                        <c:v>1.974872535</c:v>
                      </c:pt>
                      <c:pt idx="3763">
                        <c:v>1.9584700000000002</c:v>
                      </c:pt>
                      <c:pt idx="3764">
                        <c:v>0.97475200000000006</c:v>
                      </c:pt>
                      <c:pt idx="3765">
                        <c:v>0.62039599999999995</c:v>
                      </c:pt>
                      <c:pt idx="3766">
                        <c:v>0.1503379</c:v>
                      </c:pt>
                      <c:pt idx="3767">
                        <c:v>0</c:v>
                      </c:pt>
                      <c:pt idx="3768">
                        <c:v>0</c:v>
                      </c:pt>
                      <c:pt idx="3769">
                        <c:v>0</c:v>
                      </c:pt>
                      <c:pt idx="3770">
                        <c:v>0</c:v>
                      </c:pt>
                      <c:pt idx="3771">
                        <c:v>0</c:v>
                      </c:pt>
                      <c:pt idx="3772">
                        <c:v>0</c:v>
                      </c:pt>
                      <c:pt idx="3773">
                        <c:v>0.119257</c:v>
                      </c:pt>
                      <c:pt idx="3774">
                        <c:v>0.34191180000000004</c:v>
                      </c:pt>
                      <c:pt idx="3775">
                        <c:v>0.64323869999999994</c:v>
                      </c:pt>
                      <c:pt idx="3776">
                        <c:v>0.85612799999999989</c:v>
                      </c:pt>
                      <c:pt idx="3777">
                        <c:v>1.2496989999999999</c:v>
                      </c:pt>
                      <c:pt idx="3778">
                        <c:v>1.147559</c:v>
                      </c:pt>
                      <c:pt idx="3779">
                        <c:v>0</c:v>
                      </c:pt>
                      <c:pt idx="3780">
                        <c:v>0</c:v>
                      </c:pt>
                      <c:pt idx="3781">
                        <c:v>0</c:v>
                      </c:pt>
                      <c:pt idx="3782">
                        <c:v>9.6411603319999997E-2</c:v>
                      </c:pt>
                      <c:pt idx="3783">
                        <c:v>0.1158212</c:v>
                      </c:pt>
                      <c:pt idx="3784">
                        <c:v>0.28244849999999999</c:v>
                      </c:pt>
                      <c:pt idx="3785">
                        <c:v>0.58805320000000005</c:v>
                      </c:pt>
                      <c:pt idx="3786">
                        <c:v>0.81817640000000003</c:v>
                      </c:pt>
                      <c:pt idx="3787">
                        <c:v>1.015155714</c:v>
                      </c:pt>
                      <c:pt idx="3788">
                        <c:v>1.204730498</c:v>
                      </c:pt>
                      <c:pt idx="3789">
                        <c:v>1.5853039999999998</c:v>
                      </c:pt>
                      <c:pt idx="3790">
                        <c:v>2</c:v>
                      </c:pt>
                      <c:pt idx="3791">
                        <c:v>2</c:v>
                      </c:pt>
                      <c:pt idx="3792">
                        <c:v>2</c:v>
                      </c:pt>
                      <c:pt idx="3793">
                        <c:v>1.7423029999999999</c:v>
                      </c:pt>
                      <c:pt idx="3794">
                        <c:v>1.7385813289999998</c:v>
                      </c:pt>
                      <c:pt idx="3795">
                        <c:v>1.026905</c:v>
                      </c:pt>
                      <c:pt idx="3796">
                        <c:v>0.38471369999999999</c:v>
                      </c:pt>
                      <c:pt idx="3797">
                        <c:v>0</c:v>
                      </c:pt>
                      <c:pt idx="3798">
                        <c:v>0</c:v>
                      </c:pt>
                      <c:pt idx="3799">
                        <c:v>0</c:v>
                      </c:pt>
                      <c:pt idx="3800">
                        <c:v>0</c:v>
                      </c:pt>
                      <c:pt idx="3801">
                        <c:v>0</c:v>
                      </c:pt>
                      <c:pt idx="3802">
                        <c:v>0</c:v>
                      </c:pt>
                      <c:pt idx="3803">
                        <c:v>0</c:v>
                      </c:pt>
                      <c:pt idx="3804">
                        <c:v>0</c:v>
                      </c:pt>
                      <c:pt idx="3805">
                        <c:v>0</c:v>
                      </c:pt>
                      <c:pt idx="3806">
                        <c:v>2.5755788540000001E-2</c:v>
                      </c:pt>
                      <c:pt idx="3807">
                        <c:v>0.1535774</c:v>
                      </c:pt>
                      <c:pt idx="3808">
                        <c:v>0.2026733</c:v>
                      </c:pt>
                      <c:pt idx="3809">
                        <c:v>0.20387171859999997</c:v>
                      </c:pt>
                      <c:pt idx="3810">
                        <c:v>0.52169514569999997</c:v>
                      </c:pt>
                      <c:pt idx="3811">
                        <c:v>0.8357635000000001</c:v>
                      </c:pt>
                      <c:pt idx="3812">
                        <c:v>0.8351554967</c:v>
                      </c:pt>
                      <c:pt idx="3813">
                        <c:v>0.7778006999999999</c:v>
                      </c:pt>
                      <c:pt idx="3814">
                        <c:v>0.65063680000000002</c:v>
                      </c:pt>
                      <c:pt idx="3815">
                        <c:v>0.44274849999999999</c:v>
                      </c:pt>
                      <c:pt idx="3816">
                        <c:v>0.26884479999999999</c:v>
                      </c:pt>
                      <c:pt idx="3817">
                        <c:v>0.3427635</c:v>
                      </c:pt>
                      <c:pt idx="3818">
                        <c:v>0.50820724279999996</c:v>
                      </c:pt>
                      <c:pt idx="3819">
                        <c:v>0.67242729999999995</c:v>
                      </c:pt>
                      <c:pt idx="3820">
                        <c:v>0.72327580000000002</c:v>
                      </c:pt>
                      <c:pt idx="3821">
                        <c:v>0.5842986</c:v>
                      </c:pt>
                      <c:pt idx="3822">
                        <c:v>0.65188624100000003</c:v>
                      </c:pt>
                      <c:pt idx="3823">
                        <c:v>0.68438029999999994</c:v>
                      </c:pt>
                      <c:pt idx="3824">
                        <c:v>0.93116180000000004</c:v>
                      </c:pt>
                      <c:pt idx="3825">
                        <c:v>0.90887320000000005</c:v>
                      </c:pt>
                      <c:pt idx="3826">
                        <c:v>0.79989999999999994</c:v>
                      </c:pt>
                      <c:pt idx="3827">
                        <c:v>0.68347899999999995</c:v>
                      </c:pt>
                      <c:pt idx="3828">
                        <c:v>0.66417550000000003</c:v>
                      </c:pt>
                      <c:pt idx="3829">
                        <c:v>0.85049200000000003</c:v>
                      </c:pt>
                      <c:pt idx="3830">
                        <c:v>1.1355310000000001</c:v>
                      </c:pt>
                      <c:pt idx="3831">
                        <c:v>1.2936570000000001</c:v>
                      </c:pt>
                      <c:pt idx="3832">
                        <c:v>1.2954288249999999</c:v>
                      </c:pt>
                      <c:pt idx="3833">
                        <c:v>1.4073070000000001</c:v>
                      </c:pt>
                      <c:pt idx="3834">
                        <c:v>1.3668279999999999</c:v>
                      </c:pt>
                      <c:pt idx="3835">
                        <c:v>1.5072989999999999</c:v>
                      </c:pt>
                      <c:pt idx="3836">
                        <c:v>1.6220079999999999</c:v>
                      </c:pt>
                      <c:pt idx="3837">
                        <c:v>1.8460409999999998</c:v>
                      </c:pt>
                      <c:pt idx="3838">
                        <c:v>1.9563120000000001</c:v>
                      </c:pt>
                      <c:pt idx="3839">
                        <c:v>2</c:v>
                      </c:pt>
                      <c:pt idx="3840">
                        <c:v>1.9383889999999999</c:v>
                      </c:pt>
                      <c:pt idx="3841">
                        <c:v>1.443179</c:v>
                      </c:pt>
                      <c:pt idx="3842">
                        <c:v>1.337003932</c:v>
                      </c:pt>
                      <c:pt idx="3843">
                        <c:v>1.2678610000000001</c:v>
                      </c:pt>
                      <c:pt idx="3844">
                        <c:v>1.148415</c:v>
                      </c:pt>
                      <c:pt idx="3845">
                        <c:v>1.264453</c:v>
                      </c:pt>
                      <c:pt idx="3846">
                        <c:v>1.4583470000000001</c:v>
                      </c:pt>
                      <c:pt idx="3847">
                        <c:v>1.5463900000000002</c:v>
                      </c:pt>
                      <c:pt idx="3848">
                        <c:v>1.611877</c:v>
                      </c:pt>
                      <c:pt idx="3849">
                        <c:v>1.5944139999999998</c:v>
                      </c:pt>
                      <c:pt idx="3850">
                        <c:v>0.96527699999999994</c:v>
                      </c:pt>
                      <c:pt idx="3851">
                        <c:v>0.59177290000000005</c:v>
                      </c:pt>
                      <c:pt idx="3852">
                        <c:v>0.49400250000000001</c:v>
                      </c:pt>
                      <c:pt idx="3853">
                        <c:v>0.58292670000000002</c:v>
                      </c:pt>
                      <c:pt idx="3854">
                        <c:v>0.78811819999999999</c:v>
                      </c:pt>
                      <c:pt idx="3855">
                        <c:v>0.91168679999999991</c:v>
                      </c:pt>
                      <c:pt idx="3856">
                        <c:v>0.85209789999999996</c:v>
                      </c:pt>
                      <c:pt idx="3857">
                        <c:v>0.85220155590000002</c:v>
                      </c:pt>
                      <c:pt idx="3858">
                        <c:v>0.87756479999999992</c:v>
                      </c:pt>
                      <c:pt idx="3859">
                        <c:v>0.62952869999999994</c:v>
                      </c:pt>
                      <c:pt idx="3860">
                        <c:v>0.42587550000000002</c:v>
                      </c:pt>
                      <c:pt idx="3861">
                        <c:v>0.29999549999999997</c:v>
                      </c:pt>
                      <c:pt idx="3862">
                        <c:v>0.29912584720000002</c:v>
                      </c:pt>
                      <c:pt idx="3863">
                        <c:v>0.27089020000000003</c:v>
                      </c:pt>
                      <c:pt idx="3864">
                        <c:v>0.2688223213</c:v>
                      </c:pt>
                      <c:pt idx="3865">
                        <c:v>0</c:v>
                      </c:pt>
                      <c:pt idx="3866">
                        <c:v>5.7655872599999998E-3</c:v>
                      </c:pt>
                      <c:pt idx="3867">
                        <c:v>7.0487487999999999E-3</c:v>
                      </c:pt>
                      <c:pt idx="3868">
                        <c:v>1.0887353779999999E-2</c:v>
                      </c:pt>
                      <c:pt idx="3869">
                        <c:v>1.2809216199999999E-2</c:v>
                      </c:pt>
                      <c:pt idx="3870">
                        <c:v>1.409717756E-2</c:v>
                      </c:pt>
                      <c:pt idx="3871">
                        <c:v>1.5349939999999999E-2</c:v>
                      </c:pt>
                      <c:pt idx="3872">
                        <c:v>0.38716900000000004</c:v>
                      </c:pt>
                      <c:pt idx="3873">
                        <c:v>0.39910173770000001</c:v>
                      </c:pt>
                      <c:pt idx="3874">
                        <c:v>1.3059889999999998</c:v>
                      </c:pt>
                      <c:pt idx="3875">
                        <c:v>1.5788489999999999</c:v>
                      </c:pt>
                      <c:pt idx="3876">
                        <c:v>2</c:v>
                      </c:pt>
                      <c:pt idx="3877">
                        <c:v>1.982191842</c:v>
                      </c:pt>
                      <c:pt idx="3878">
                        <c:v>1.964404</c:v>
                      </c:pt>
                      <c:pt idx="3879">
                        <c:v>1.7214130000000001</c:v>
                      </c:pt>
                      <c:pt idx="3880">
                        <c:v>1.285563</c:v>
                      </c:pt>
                      <c:pt idx="3881">
                        <c:v>1.166984</c:v>
                      </c:pt>
                      <c:pt idx="3882">
                        <c:v>1.1243129999999999</c:v>
                      </c:pt>
                      <c:pt idx="3883">
                        <c:v>1.237249</c:v>
                      </c:pt>
                      <c:pt idx="3884">
                        <c:v>0.55733549999999998</c:v>
                      </c:pt>
                      <c:pt idx="3885">
                        <c:v>0.26413880000000001</c:v>
                      </c:pt>
                      <c:pt idx="3886">
                        <c:v>7.6027159999999996E-2</c:v>
                      </c:pt>
                      <c:pt idx="3887">
                        <c:v>0</c:v>
                      </c:pt>
                      <c:pt idx="3888">
                        <c:v>0.14295559999999999</c:v>
                      </c:pt>
                      <c:pt idx="3889">
                        <c:v>0.22318639999999998</c:v>
                      </c:pt>
                      <c:pt idx="3890">
                        <c:v>0.16724900000000001</c:v>
                      </c:pt>
                      <c:pt idx="3891">
                        <c:v>0.21523209999999998</c:v>
                      </c:pt>
                      <c:pt idx="3892">
                        <c:v>0.29163329999999998</c:v>
                      </c:pt>
                      <c:pt idx="3893">
                        <c:v>0.12707389999999999</c:v>
                      </c:pt>
                      <c:pt idx="3894">
                        <c:v>0.16563839999999999</c:v>
                      </c:pt>
                      <c:pt idx="3895">
                        <c:v>0.34900120000000001</c:v>
                      </c:pt>
                      <c:pt idx="3896">
                        <c:v>0.46807580000000004</c:v>
                      </c:pt>
                      <c:pt idx="3897">
                        <c:v>0.2917302</c:v>
                      </c:pt>
                      <c:pt idx="3898">
                        <c:v>0.28793039449999996</c:v>
                      </c:pt>
                      <c:pt idx="3899">
                        <c:v>0.1665778</c:v>
                      </c:pt>
                      <c:pt idx="3900">
                        <c:v>0.1475062</c:v>
                      </c:pt>
                      <c:pt idx="3901">
                        <c:v>0.34756629999999999</c:v>
                      </c:pt>
                      <c:pt idx="3902">
                        <c:v>0.7986588</c:v>
                      </c:pt>
                      <c:pt idx="3903">
                        <c:v>0.81112140600000004</c:v>
                      </c:pt>
                      <c:pt idx="3904">
                        <c:v>1.130037</c:v>
                      </c:pt>
                      <c:pt idx="3905">
                        <c:v>1.382293</c:v>
                      </c:pt>
                      <c:pt idx="3906">
                        <c:v>1.383841876</c:v>
                      </c:pt>
                      <c:pt idx="3907">
                        <c:v>1.4805219999999999</c:v>
                      </c:pt>
                      <c:pt idx="3908">
                        <c:v>1.516918</c:v>
                      </c:pt>
                      <c:pt idx="3909">
                        <c:v>1.362554</c:v>
                      </c:pt>
                      <c:pt idx="3910">
                        <c:v>1.5031489999999998</c:v>
                      </c:pt>
                      <c:pt idx="3911">
                        <c:v>1.9288130000000001</c:v>
                      </c:pt>
                      <c:pt idx="3912">
                        <c:v>2</c:v>
                      </c:pt>
                      <c:pt idx="3913">
                        <c:v>1.8977789999999999</c:v>
                      </c:pt>
                      <c:pt idx="3914">
                        <c:v>1.8968037799999999</c:v>
                      </c:pt>
                      <c:pt idx="3915">
                        <c:v>1.835931</c:v>
                      </c:pt>
                      <c:pt idx="3916">
                        <c:v>2</c:v>
                      </c:pt>
                      <c:pt idx="3917">
                        <c:v>2</c:v>
                      </c:pt>
                      <c:pt idx="3918">
                        <c:v>2</c:v>
                      </c:pt>
                      <c:pt idx="3919">
                        <c:v>2</c:v>
                      </c:pt>
                      <c:pt idx="3920">
                        <c:v>2</c:v>
                      </c:pt>
                      <c:pt idx="3921">
                        <c:v>2</c:v>
                      </c:pt>
                      <c:pt idx="3922">
                        <c:v>2</c:v>
                      </c:pt>
                      <c:pt idx="3923">
                        <c:v>2</c:v>
                      </c:pt>
                      <c:pt idx="3924">
                        <c:v>1.5694779999999999</c:v>
                      </c:pt>
                      <c:pt idx="3925">
                        <c:v>0.96700050000000004</c:v>
                      </c:pt>
                      <c:pt idx="3926">
                        <c:v>0.51854359999999999</c:v>
                      </c:pt>
                      <c:pt idx="3927">
                        <c:v>0</c:v>
                      </c:pt>
                      <c:pt idx="3928">
                        <c:v>0</c:v>
                      </c:pt>
                      <c:pt idx="3929">
                        <c:v>0</c:v>
                      </c:pt>
                      <c:pt idx="3930">
                        <c:v>8.1903750000000003E-5</c:v>
                      </c:pt>
                      <c:pt idx="3931">
                        <c:v>7.4065010000000001E-2</c:v>
                      </c:pt>
                      <c:pt idx="3932">
                        <c:v>0.72705580000000003</c:v>
                      </c:pt>
                      <c:pt idx="3933">
                        <c:v>0.82297449999999994</c:v>
                      </c:pt>
                      <c:pt idx="3934">
                        <c:v>0.82256468760000001</c:v>
                      </c:pt>
                      <c:pt idx="3935">
                        <c:v>0.79595343760000004</c:v>
                      </c:pt>
                      <c:pt idx="3936">
                        <c:v>0.74357699999999993</c:v>
                      </c:pt>
                      <c:pt idx="3937">
                        <c:v>0.8813358</c:v>
                      </c:pt>
                      <c:pt idx="3938">
                        <c:v>1.0981289999999999</c:v>
                      </c:pt>
                      <c:pt idx="3939">
                        <c:v>1.1861729999999999</c:v>
                      </c:pt>
                      <c:pt idx="3940">
                        <c:v>0.95153109999999996</c:v>
                      </c:pt>
                      <c:pt idx="3941">
                        <c:v>0.89634609999999992</c:v>
                      </c:pt>
                      <c:pt idx="3942">
                        <c:v>0.94364210000000004</c:v>
                      </c:pt>
                      <c:pt idx="3943">
                        <c:v>1.3768790000000002</c:v>
                      </c:pt>
                      <c:pt idx="3944">
                        <c:v>2</c:v>
                      </c:pt>
                      <c:pt idx="3945">
                        <c:v>1.997408302</c:v>
                      </c:pt>
                      <c:pt idx="3946">
                        <c:v>1.9818386430000001</c:v>
                      </c:pt>
                      <c:pt idx="3947">
                        <c:v>1.9636578199999999</c:v>
                      </c:pt>
                      <c:pt idx="3948">
                        <c:v>1.9584757210000001</c:v>
                      </c:pt>
                      <c:pt idx="3949">
                        <c:v>1.9532520919999998</c:v>
                      </c:pt>
                      <c:pt idx="3950">
                        <c:v>1.9248070000000002</c:v>
                      </c:pt>
                      <c:pt idx="3951">
                        <c:v>1.9092131480000001</c:v>
                      </c:pt>
                      <c:pt idx="3952">
                        <c:v>1.41516</c:v>
                      </c:pt>
                      <c:pt idx="3953">
                        <c:v>1.0135080000000001</c:v>
                      </c:pt>
                      <c:pt idx="3954">
                        <c:v>0.49500968849999999</c:v>
                      </c:pt>
                      <c:pt idx="3955">
                        <c:v>0</c:v>
                      </c:pt>
                      <c:pt idx="3956">
                        <c:v>6.7219468100000006E-3</c:v>
                      </c:pt>
                      <c:pt idx="3957">
                        <c:v>1.4092899999999998E-2</c:v>
                      </c:pt>
                      <c:pt idx="3958">
                        <c:v>8.0307259999999991E-2</c:v>
                      </c:pt>
                      <c:pt idx="3959">
                        <c:v>0.27849070000000004</c:v>
                      </c:pt>
                      <c:pt idx="3960">
                        <c:v>0.59745470000000001</c:v>
                      </c:pt>
                      <c:pt idx="3961">
                        <c:v>0.54433770000000004</c:v>
                      </c:pt>
                      <c:pt idx="3962">
                        <c:v>0.77208609999999989</c:v>
                      </c:pt>
                      <c:pt idx="3963">
                        <c:v>1.2092000000000001</c:v>
                      </c:pt>
                      <c:pt idx="3964">
                        <c:v>1.4945459999999999</c:v>
                      </c:pt>
                      <c:pt idx="3965">
                        <c:v>1.5971986229999999</c:v>
                      </c:pt>
                      <c:pt idx="3966">
                        <c:v>1.6929750000000001</c:v>
                      </c:pt>
                      <c:pt idx="3967">
                        <c:v>1.6482480000000002</c:v>
                      </c:pt>
                      <c:pt idx="3968">
                        <c:v>1.641456872</c:v>
                      </c:pt>
                      <c:pt idx="3969">
                        <c:v>0.78042719999999999</c:v>
                      </c:pt>
                      <c:pt idx="3970">
                        <c:v>0.73025000000000007</c:v>
                      </c:pt>
                      <c:pt idx="3971">
                        <c:v>0.75148650000000006</c:v>
                      </c:pt>
                      <c:pt idx="3972">
                        <c:v>0.84633520000000007</c:v>
                      </c:pt>
                      <c:pt idx="3973">
                        <c:v>0.8443516605000001</c:v>
                      </c:pt>
                      <c:pt idx="3974">
                        <c:v>0.5888601</c:v>
                      </c:pt>
                      <c:pt idx="3975">
                        <c:v>0.44639329999999999</c:v>
                      </c:pt>
                      <c:pt idx="3976">
                        <c:v>0.56179129999999999</c:v>
                      </c:pt>
                      <c:pt idx="3977">
                        <c:v>0.46168480000000001</c:v>
                      </c:pt>
                      <c:pt idx="3978">
                        <c:v>0.31810739999999998</c:v>
                      </c:pt>
                      <c:pt idx="3979">
                        <c:v>0.10464359999999999</c:v>
                      </c:pt>
                      <c:pt idx="3980">
                        <c:v>0</c:v>
                      </c:pt>
                      <c:pt idx="3981">
                        <c:v>3.4408139819999996E-2</c:v>
                      </c:pt>
                      <c:pt idx="3982">
                        <c:v>0.20643160000000002</c:v>
                      </c:pt>
                      <c:pt idx="3983">
                        <c:v>0.44681989999999999</c:v>
                      </c:pt>
                      <c:pt idx="3984">
                        <c:v>0.5172852</c:v>
                      </c:pt>
                      <c:pt idx="3985">
                        <c:v>0.48059730000000001</c:v>
                      </c:pt>
                      <c:pt idx="3986">
                        <c:v>0.54805289999999995</c:v>
                      </c:pt>
                      <c:pt idx="3987">
                        <c:v>0.66721530000000007</c:v>
                      </c:pt>
                      <c:pt idx="3988">
                        <c:v>0.65484570000000009</c:v>
                      </c:pt>
                      <c:pt idx="3989">
                        <c:v>0.8131602</c:v>
                      </c:pt>
                      <c:pt idx="3990">
                        <c:v>0.72999629999999993</c:v>
                      </c:pt>
                      <c:pt idx="3991">
                        <c:v>0.94553929999999997</c:v>
                      </c:pt>
                      <c:pt idx="3992">
                        <c:v>1.168604</c:v>
                      </c:pt>
                      <c:pt idx="3993">
                        <c:v>1.3015569999999999</c:v>
                      </c:pt>
                      <c:pt idx="3994">
                        <c:v>1.281911</c:v>
                      </c:pt>
                      <c:pt idx="3995">
                        <c:v>1.152393</c:v>
                      </c:pt>
                      <c:pt idx="3996">
                        <c:v>1.1784910000000002</c:v>
                      </c:pt>
                      <c:pt idx="3997">
                        <c:v>1.342978</c:v>
                      </c:pt>
                      <c:pt idx="3998">
                        <c:v>1.3458256560000001</c:v>
                      </c:pt>
                      <c:pt idx="3999">
                        <c:v>1.6928829999999999</c:v>
                      </c:pt>
                      <c:pt idx="4000">
                        <c:v>2</c:v>
                      </c:pt>
                      <c:pt idx="4001">
                        <c:v>2</c:v>
                      </c:pt>
                      <c:pt idx="4002">
                        <c:v>2</c:v>
                      </c:pt>
                      <c:pt idx="4003">
                        <c:v>1.961849</c:v>
                      </c:pt>
                      <c:pt idx="4004">
                        <c:v>1.807871</c:v>
                      </c:pt>
                      <c:pt idx="4005">
                        <c:v>2</c:v>
                      </c:pt>
                      <c:pt idx="4006">
                        <c:v>1.9791377720000001</c:v>
                      </c:pt>
                      <c:pt idx="4007">
                        <c:v>1.968711882</c:v>
                      </c:pt>
                      <c:pt idx="4008">
                        <c:v>1.86424404</c:v>
                      </c:pt>
                      <c:pt idx="4009">
                        <c:v>1.854142</c:v>
                      </c:pt>
                      <c:pt idx="4010">
                        <c:v>1.8911230000000001</c:v>
                      </c:pt>
                      <c:pt idx="4011">
                        <c:v>2</c:v>
                      </c:pt>
                      <c:pt idx="4012">
                        <c:v>1.698976</c:v>
                      </c:pt>
                      <c:pt idx="4013">
                        <c:v>1.5990770000000001</c:v>
                      </c:pt>
                      <c:pt idx="4014">
                        <c:v>1.6039598369999999</c:v>
                      </c:pt>
                      <c:pt idx="4015">
                        <c:v>1.9172499999999999</c:v>
                      </c:pt>
                      <c:pt idx="4016">
                        <c:v>2</c:v>
                      </c:pt>
                      <c:pt idx="4017">
                        <c:v>1.9727269999999999</c:v>
                      </c:pt>
                      <c:pt idx="4018">
                        <c:v>1.6834610000000001</c:v>
                      </c:pt>
                      <c:pt idx="4019">
                        <c:v>1.6167769999999999</c:v>
                      </c:pt>
                      <c:pt idx="4020">
                        <c:v>1.1229720000000001</c:v>
                      </c:pt>
                      <c:pt idx="4021">
                        <c:v>0.96036829999999995</c:v>
                      </c:pt>
                      <c:pt idx="4022">
                        <c:v>0.8449433999999999</c:v>
                      </c:pt>
                      <c:pt idx="4023">
                        <c:v>1.1095869999999999</c:v>
                      </c:pt>
                      <c:pt idx="4024">
                        <c:v>1.154657</c:v>
                      </c:pt>
                      <c:pt idx="4025">
                        <c:v>1.1079219999999999</c:v>
                      </c:pt>
                      <c:pt idx="4026">
                        <c:v>1.111774</c:v>
                      </c:pt>
                      <c:pt idx="4027">
                        <c:v>1.063965</c:v>
                      </c:pt>
                      <c:pt idx="4028">
                        <c:v>1.165662</c:v>
                      </c:pt>
                      <c:pt idx="4029">
                        <c:v>1.173083171</c:v>
                      </c:pt>
                      <c:pt idx="4030">
                        <c:v>1.4139120000000001</c:v>
                      </c:pt>
                      <c:pt idx="4031">
                        <c:v>1.4314609999999999</c:v>
                      </c:pt>
                      <c:pt idx="4032">
                        <c:v>1.4275934880000001</c:v>
                      </c:pt>
                      <c:pt idx="4033">
                        <c:v>0.95624140000000002</c:v>
                      </c:pt>
                      <c:pt idx="4034">
                        <c:v>0.2690341</c:v>
                      </c:pt>
                      <c:pt idx="4035">
                        <c:v>5.3617070000000003E-2</c:v>
                      </c:pt>
                      <c:pt idx="4036">
                        <c:v>0</c:v>
                      </c:pt>
                      <c:pt idx="4037">
                        <c:v>1.9359671950000001E-2</c:v>
                      </c:pt>
                      <c:pt idx="4038">
                        <c:v>2.6984635259999997E-2</c:v>
                      </c:pt>
                      <c:pt idx="4039">
                        <c:v>3.469810433E-2</c:v>
                      </c:pt>
                      <c:pt idx="4040">
                        <c:v>4.238271263E-2</c:v>
                      </c:pt>
                      <c:pt idx="4041">
                        <c:v>5.7840434980000001E-2</c:v>
                      </c:pt>
                      <c:pt idx="4042">
                        <c:v>8.0861551759999997E-2</c:v>
                      </c:pt>
                      <c:pt idx="4043">
                        <c:v>8.470385591E-2</c:v>
                      </c:pt>
                      <c:pt idx="4044">
                        <c:v>8.8575020369999993E-2</c:v>
                      </c:pt>
                      <c:pt idx="4045">
                        <c:v>0.1154980863</c:v>
                      </c:pt>
                      <c:pt idx="4046">
                        <c:v>0.1192211</c:v>
                      </c:pt>
                      <c:pt idx="4047">
                        <c:v>0.13360929999999999</c:v>
                      </c:pt>
                      <c:pt idx="4048">
                        <c:v>6.1573740000000002E-2</c:v>
                      </c:pt>
                      <c:pt idx="4049">
                        <c:v>9.1981129999999994E-2</c:v>
                      </c:pt>
                      <c:pt idx="4050">
                        <c:v>5.1362209999999998E-2</c:v>
                      </c:pt>
                      <c:pt idx="4051">
                        <c:v>9.4762979999999997E-2</c:v>
                      </c:pt>
                      <c:pt idx="4052">
                        <c:v>0.63198169999999998</c:v>
                      </c:pt>
                      <c:pt idx="4053">
                        <c:v>0.91931039999999997</c:v>
                      </c:pt>
                      <c:pt idx="4054">
                        <c:v>1.4153399999999998</c:v>
                      </c:pt>
                      <c:pt idx="4055">
                        <c:v>1.6256250000000001</c:v>
                      </c:pt>
                      <c:pt idx="4056">
                        <c:v>1.626924563</c:v>
                      </c:pt>
                      <c:pt idx="4057">
                        <c:v>1.7949879999999998</c:v>
                      </c:pt>
                      <c:pt idx="4058">
                        <c:v>1.7514580000000002</c:v>
                      </c:pt>
                      <c:pt idx="4059">
                        <c:v>1.4484190000000001</c:v>
                      </c:pt>
                      <c:pt idx="4060">
                        <c:v>1.2118960000000001</c:v>
                      </c:pt>
                      <c:pt idx="4061">
                        <c:v>1.0997129999999999</c:v>
                      </c:pt>
                      <c:pt idx="4062">
                        <c:v>1.0985721990000001</c:v>
                      </c:pt>
                      <c:pt idx="4063">
                        <c:v>1.0615330000000001</c:v>
                      </c:pt>
                      <c:pt idx="4064">
                        <c:v>1.1361750000000002</c:v>
                      </c:pt>
                      <c:pt idx="4065">
                        <c:v>0.95139529999999994</c:v>
                      </c:pt>
                      <c:pt idx="4066">
                        <c:v>0.57666580000000001</c:v>
                      </c:pt>
                      <c:pt idx="4067">
                        <c:v>8.8725450000000011E-2</c:v>
                      </c:pt>
                      <c:pt idx="4068">
                        <c:v>0</c:v>
                      </c:pt>
                      <c:pt idx="4069">
                        <c:v>8.7076759999999989E-2</c:v>
                      </c:pt>
                      <c:pt idx="4070">
                        <c:v>8.9753771730000001E-2</c:v>
                      </c:pt>
                      <c:pt idx="4071">
                        <c:v>0.60572389999999998</c:v>
                      </c:pt>
                      <c:pt idx="4072">
                        <c:v>0.69537549999999992</c:v>
                      </c:pt>
                      <c:pt idx="4073">
                        <c:v>0.70847300000000002</c:v>
                      </c:pt>
                      <c:pt idx="4074">
                        <c:v>0.84278520000000001</c:v>
                      </c:pt>
                      <c:pt idx="4075">
                        <c:v>1.0439000000000001</c:v>
                      </c:pt>
                      <c:pt idx="4076">
                        <c:v>1.1763710000000001</c:v>
                      </c:pt>
                      <c:pt idx="4077">
                        <c:v>1.0536179999999999</c:v>
                      </c:pt>
                      <c:pt idx="4078">
                        <c:v>0.68179900000000004</c:v>
                      </c:pt>
                      <c:pt idx="4079">
                        <c:v>0.67431134290000005</c:v>
                      </c:pt>
                      <c:pt idx="4080">
                        <c:v>0.1937731</c:v>
                      </c:pt>
                      <c:pt idx="4081">
                        <c:v>2.293303E-2</c:v>
                      </c:pt>
                      <c:pt idx="4082">
                        <c:v>0</c:v>
                      </c:pt>
                      <c:pt idx="4083">
                        <c:v>5.8864496700000005E-2</c:v>
                      </c:pt>
                      <c:pt idx="4084">
                        <c:v>0.1159009</c:v>
                      </c:pt>
                      <c:pt idx="4085">
                        <c:v>0.20848120000000001</c:v>
                      </c:pt>
                      <c:pt idx="4086">
                        <c:v>5.5150580000000006E-3</c:v>
                      </c:pt>
                      <c:pt idx="4087">
                        <c:v>0.1794182349</c:v>
                      </c:pt>
                      <c:pt idx="4088">
                        <c:v>0.21110019999999999</c:v>
                      </c:pt>
                      <c:pt idx="4089">
                        <c:v>0.28852879999999997</c:v>
                      </c:pt>
                      <c:pt idx="4090">
                        <c:v>0.137742</c:v>
                      </c:pt>
                      <c:pt idx="4091">
                        <c:v>3.3132229999999999E-2</c:v>
                      </c:pt>
                      <c:pt idx="4092">
                        <c:v>0</c:v>
                      </c:pt>
                      <c:pt idx="4093">
                        <c:v>0.23533860000000001</c:v>
                      </c:pt>
                      <c:pt idx="4094">
                        <c:v>0.30240449999999996</c:v>
                      </c:pt>
                      <c:pt idx="4095">
                        <c:v>0.2588765529</c:v>
                      </c:pt>
                      <c:pt idx="4096">
                        <c:v>0.2167</c:v>
                      </c:pt>
                      <c:pt idx="4097">
                        <c:v>0.29143180000000002</c:v>
                      </c:pt>
                      <c:pt idx="4098">
                        <c:v>0.44500469999999998</c:v>
                      </c:pt>
                      <c:pt idx="4099">
                        <c:v>0.44674668930000005</c:v>
                      </c:pt>
                      <c:pt idx="4100">
                        <c:v>0.91417720000000002</c:v>
                      </c:pt>
                      <c:pt idx="4101">
                        <c:v>1.2024900000000001</c:v>
                      </c:pt>
                      <c:pt idx="4102">
                        <c:v>1.4659909999999998</c:v>
                      </c:pt>
                      <c:pt idx="4103">
                        <c:v>1.558584</c:v>
                      </c:pt>
                      <c:pt idx="4104">
                        <c:v>1.857351</c:v>
                      </c:pt>
                      <c:pt idx="4105">
                        <c:v>1.924574</c:v>
                      </c:pt>
                      <c:pt idx="4106">
                        <c:v>1.56016</c:v>
                      </c:pt>
                      <c:pt idx="4107">
                        <c:v>1.1439550000000001</c:v>
                      </c:pt>
                      <c:pt idx="4108">
                        <c:v>0.7951815000000001</c:v>
                      </c:pt>
                      <c:pt idx="4109">
                        <c:v>0.60950740000000003</c:v>
                      </c:pt>
                      <c:pt idx="4110">
                        <c:v>0.57707030000000004</c:v>
                      </c:pt>
                      <c:pt idx="4111">
                        <c:v>0.57770495529999999</c:v>
                      </c:pt>
                      <c:pt idx="4112">
                        <c:v>0.74669399999999997</c:v>
                      </c:pt>
                      <c:pt idx="4113">
                        <c:v>0.55540210000000001</c:v>
                      </c:pt>
                      <c:pt idx="4114">
                        <c:v>0.43795409999999996</c:v>
                      </c:pt>
                      <c:pt idx="4115">
                        <c:v>0.54487740000000007</c:v>
                      </c:pt>
                      <c:pt idx="4116">
                        <c:v>0.8648342</c:v>
                      </c:pt>
                      <c:pt idx="4117">
                        <c:v>1.1208119999999999</c:v>
                      </c:pt>
                      <c:pt idx="4118">
                        <c:v>1.4655549999999999</c:v>
                      </c:pt>
                      <c:pt idx="4119">
                        <c:v>1.729471</c:v>
                      </c:pt>
                      <c:pt idx="4120">
                        <c:v>1.7973969999999999</c:v>
                      </c:pt>
                      <c:pt idx="4121">
                        <c:v>1.6751549999999999</c:v>
                      </c:pt>
                      <c:pt idx="4122">
                        <c:v>0.83418750000000008</c:v>
                      </c:pt>
                      <c:pt idx="4123">
                        <c:v>0.83162958290000011</c:v>
                      </c:pt>
                      <c:pt idx="4124">
                        <c:v>0.50166060000000001</c:v>
                      </c:pt>
                      <c:pt idx="4125">
                        <c:v>9.1686989999999996E-2</c:v>
                      </c:pt>
                      <c:pt idx="4126">
                        <c:v>0</c:v>
                      </c:pt>
                      <c:pt idx="4127">
                        <c:v>0</c:v>
                      </c:pt>
                      <c:pt idx="4128">
                        <c:v>0</c:v>
                      </c:pt>
                      <c:pt idx="4129">
                        <c:v>0</c:v>
                      </c:pt>
                      <c:pt idx="4130">
                        <c:v>0</c:v>
                      </c:pt>
                      <c:pt idx="4131">
                        <c:v>1.9686708719999998E-2</c:v>
                      </c:pt>
                      <c:pt idx="4132">
                        <c:v>6.882982E-2</c:v>
                      </c:pt>
                      <c:pt idx="4133">
                        <c:v>0.38476999999999995</c:v>
                      </c:pt>
                      <c:pt idx="4134">
                        <c:v>0.52798290000000003</c:v>
                      </c:pt>
                      <c:pt idx="4135">
                        <c:v>0.52869388240000004</c:v>
                      </c:pt>
                      <c:pt idx="4136">
                        <c:v>0.90509130000000004</c:v>
                      </c:pt>
                      <c:pt idx="4137">
                        <c:v>0.91512846059999997</c:v>
                      </c:pt>
                      <c:pt idx="4138">
                        <c:v>1.241012212</c:v>
                      </c:pt>
                      <c:pt idx="4139">
                        <c:v>1.8850089999999999</c:v>
                      </c:pt>
                      <c:pt idx="4140">
                        <c:v>2</c:v>
                      </c:pt>
                      <c:pt idx="4141">
                        <c:v>2</c:v>
                      </c:pt>
                      <c:pt idx="4142">
                        <c:v>2</c:v>
                      </c:pt>
                      <c:pt idx="4143">
                        <c:v>2</c:v>
                      </c:pt>
                      <c:pt idx="4144">
                        <c:v>2</c:v>
                      </c:pt>
                      <c:pt idx="4145">
                        <c:v>2</c:v>
                      </c:pt>
                      <c:pt idx="4146">
                        <c:v>2</c:v>
                      </c:pt>
                      <c:pt idx="4147">
                        <c:v>2</c:v>
                      </c:pt>
                      <c:pt idx="4148">
                        <c:v>1.880969154</c:v>
                      </c:pt>
                      <c:pt idx="4149">
                        <c:v>1.6450260000000001</c:v>
                      </c:pt>
                      <c:pt idx="4150">
                        <c:v>0.93467679999999997</c:v>
                      </c:pt>
                      <c:pt idx="4151">
                        <c:v>0.27407419999999999</c:v>
                      </c:pt>
                      <c:pt idx="4152">
                        <c:v>0</c:v>
                      </c:pt>
                      <c:pt idx="4153">
                        <c:v>0.1812256538</c:v>
                      </c:pt>
                      <c:pt idx="4154">
                        <c:v>0.20165849999999999</c:v>
                      </c:pt>
                      <c:pt idx="4155">
                        <c:v>0.55746969999999996</c:v>
                      </c:pt>
                      <c:pt idx="4156">
                        <c:v>0.81044629999999995</c:v>
                      </c:pt>
                      <c:pt idx="4157">
                        <c:v>0.82051799999999997</c:v>
                      </c:pt>
                      <c:pt idx="4158">
                        <c:v>0.61992626110000004</c:v>
                      </c:pt>
                      <c:pt idx="4159">
                        <c:v>0.42085340000000004</c:v>
                      </c:pt>
                      <c:pt idx="4160">
                        <c:v>0.2616735</c:v>
                      </c:pt>
                      <c:pt idx="4161">
                        <c:v>0.17247460000000001</c:v>
                      </c:pt>
                      <c:pt idx="4162">
                        <c:v>0</c:v>
                      </c:pt>
                      <c:pt idx="4163">
                        <c:v>8.1230280000000002E-2</c:v>
                      </c:pt>
                      <c:pt idx="4164">
                        <c:v>4.6303950000000003E-2</c:v>
                      </c:pt>
                      <c:pt idx="4165">
                        <c:v>9.1556130000000013E-2</c:v>
                      </c:pt>
                      <c:pt idx="4166">
                        <c:v>0.22934640000000001</c:v>
                      </c:pt>
                      <c:pt idx="4167">
                        <c:v>0.42071309999999995</c:v>
                      </c:pt>
                      <c:pt idx="4168">
                        <c:v>0.52497830000000001</c:v>
                      </c:pt>
                      <c:pt idx="4169">
                        <c:v>0.47322639999999999</c:v>
                      </c:pt>
                      <c:pt idx="4170">
                        <c:v>0.27894910000000001</c:v>
                      </c:pt>
                      <c:pt idx="4171">
                        <c:v>0</c:v>
                      </c:pt>
                      <c:pt idx="4172">
                        <c:v>4.5796884000000001E-4</c:v>
                      </c:pt>
                      <c:pt idx="4173">
                        <c:v>2.9960010229999997E-2</c:v>
                      </c:pt>
                      <c:pt idx="4174">
                        <c:v>0.16293340000000001</c:v>
                      </c:pt>
                      <c:pt idx="4175">
                        <c:v>0.68073359999999994</c:v>
                      </c:pt>
                      <c:pt idx="4176">
                        <c:v>0.93150959999999994</c:v>
                      </c:pt>
                      <c:pt idx="4177">
                        <c:v>1.188142</c:v>
                      </c:pt>
                      <c:pt idx="4178">
                        <c:v>1.2599590000000001</c:v>
                      </c:pt>
                      <c:pt idx="4179">
                        <c:v>1.326173</c:v>
                      </c:pt>
                      <c:pt idx="4180">
                        <c:v>1.6594820000000001</c:v>
                      </c:pt>
                      <c:pt idx="4181">
                        <c:v>1.6281939999999999</c:v>
                      </c:pt>
                      <c:pt idx="4182">
                        <c:v>1.6287700359999999</c:v>
                      </c:pt>
                      <c:pt idx="4183">
                        <c:v>1.678785</c:v>
                      </c:pt>
                      <c:pt idx="4184">
                        <c:v>1.9005300000000001</c:v>
                      </c:pt>
                      <c:pt idx="4185">
                        <c:v>2</c:v>
                      </c:pt>
                      <c:pt idx="4186">
                        <c:v>1.9013730000000002</c:v>
                      </c:pt>
                      <c:pt idx="4187">
                        <c:v>1.6951879999999999</c:v>
                      </c:pt>
                      <c:pt idx="4188">
                        <c:v>1.6190010000000001</c:v>
                      </c:pt>
                      <c:pt idx="4189">
                        <c:v>1.69737</c:v>
                      </c:pt>
                      <c:pt idx="4190">
                        <c:v>1.6671100000000001</c:v>
                      </c:pt>
                      <c:pt idx="4191">
                        <c:v>1.526292</c:v>
                      </c:pt>
                      <c:pt idx="4192">
                        <c:v>0.9130777000000001</c:v>
                      </c:pt>
                      <c:pt idx="4193">
                        <c:v>0.52045029999999992</c:v>
                      </c:pt>
                      <c:pt idx="4194">
                        <c:v>0.12352460000000001</c:v>
                      </c:pt>
                      <c:pt idx="4195">
                        <c:v>0</c:v>
                      </c:pt>
                      <c:pt idx="4196">
                        <c:v>0</c:v>
                      </c:pt>
                      <c:pt idx="4197">
                        <c:v>0</c:v>
                      </c:pt>
                      <c:pt idx="4198">
                        <c:v>0</c:v>
                      </c:pt>
                      <c:pt idx="4199">
                        <c:v>0</c:v>
                      </c:pt>
                      <c:pt idx="4200">
                        <c:v>0</c:v>
                      </c:pt>
                      <c:pt idx="4201">
                        <c:v>0</c:v>
                      </c:pt>
                      <c:pt idx="4202">
                        <c:v>0.23639623180000002</c:v>
                      </c:pt>
                      <c:pt idx="4203">
                        <c:v>0.26559751510000001</c:v>
                      </c:pt>
                      <c:pt idx="4204">
                        <c:v>0.32492873690000001</c:v>
                      </c:pt>
                      <c:pt idx="4205">
                        <c:v>0.38333129999999999</c:v>
                      </c:pt>
                      <c:pt idx="4206">
                        <c:v>0</c:v>
                      </c:pt>
                      <c:pt idx="4207">
                        <c:v>0</c:v>
                      </c:pt>
                      <c:pt idx="4208">
                        <c:v>0</c:v>
                      </c:pt>
                      <c:pt idx="4209">
                        <c:v>0</c:v>
                      </c:pt>
                      <c:pt idx="4210">
                        <c:v>0</c:v>
                      </c:pt>
                      <c:pt idx="4211">
                        <c:v>0</c:v>
                      </c:pt>
                      <c:pt idx="4212">
                        <c:v>0</c:v>
                      </c:pt>
                      <c:pt idx="4213">
                        <c:v>0</c:v>
                      </c:pt>
                      <c:pt idx="4214">
                        <c:v>0</c:v>
                      </c:pt>
                      <c:pt idx="4215">
                        <c:v>0</c:v>
                      </c:pt>
                      <c:pt idx="4216">
                        <c:v>0</c:v>
                      </c:pt>
                      <c:pt idx="4217">
                        <c:v>0</c:v>
                      </c:pt>
                      <c:pt idx="4218">
                        <c:v>0</c:v>
                      </c:pt>
                      <c:pt idx="4219">
                        <c:v>0</c:v>
                      </c:pt>
                      <c:pt idx="4220">
                        <c:v>0</c:v>
                      </c:pt>
                      <c:pt idx="4221">
                        <c:v>0</c:v>
                      </c:pt>
                      <c:pt idx="4222">
                        <c:v>0</c:v>
                      </c:pt>
                      <c:pt idx="4223">
                        <c:v>0</c:v>
                      </c:pt>
                      <c:pt idx="4224">
                        <c:v>0</c:v>
                      </c:pt>
                      <c:pt idx="4225">
                        <c:v>0</c:v>
                      </c:pt>
                      <c:pt idx="4226">
                        <c:v>0</c:v>
                      </c:pt>
                      <c:pt idx="4227">
                        <c:v>0</c:v>
                      </c:pt>
                      <c:pt idx="4228">
                        <c:v>0</c:v>
                      </c:pt>
                      <c:pt idx="4229">
                        <c:v>0</c:v>
                      </c:pt>
                      <c:pt idx="4230">
                        <c:v>0</c:v>
                      </c:pt>
                      <c:pt idx="4231">
                        <c:v>0</c:v>
                      </c:pt>
                      <c:pt idx="4232">
                        <c:v>0</c:v>
                      </c:pt>
                      <c:pt idx="4233">
                        <c:v>0</c:v>
                      </c:pt>
                      <c:pt idx="4234">
                        <c:v>0</c:v>
                      </c:pt>
                      <c:pt idx="4235">
                        <c:v>0</c:v>
                      </c:pt>
                      <c:pt idx="4236">
                        <c:v>0</c:v>
                      </c:pt>
                      <c:pt idx="4237">
                        <c:v>0</c:v>
                      </c:pt>
                      <c:pt idx="4238">
                        <c:v>0</c:v>
                      </c:pt>
                      <c:pt idx="4239">
                        <c:v>0</c:v>
                      </c:pt>
                      <c:pt idx="4240">
                        <c:v>0</c:v>
                      </c:pt>
                      <c:pt idx="4241">
                        <c:v>0</c:v>
                      </c:pt>
                      <c:pt idx="4242">
                        <c:v>0</c:v>
                      </c:pt>
                      <c:pt idx="4243">
                        <c:v>0</c:v>
                      </c:pt>
                      <c:pt idx="4244">
                        <c:v>0</c:v>
                      </c:pt>
                      <c:pt idx="4245">
                        <c:v>0</c:v>
                      </c:pt>
                      <c:pt idx="4246">
                        <c:v>0</c:v>
                      </c:pt>
                      <c:pt idx="4247">
                        <c:v>0</c:v>
                      </c:pt>
                      <c:pt idx="4248">
                        <c:v>0</c:v>
                      </c:pt>
                      <c:pt idx="4249">
                        <c:v>0</c:v>
                      </c:pt>
                      <c:pt idx="4250">
                        <c:v>0</c:v>
                      </c:pt>
                      <c:pt idx="4251">
                        <c:v>0</c:v>
                      </c:pt>
                      <c:pt idx="4252">
                        <c:v>0</c:v>
                      </c:pt>
                      <c:pt idx="4253">
                        <c:v>0</c:v>
                      </c:pt>
                      <c:pt idx="4254">
                        <c:v>0</c:v>
                      </c:pt>
                      <c:pt idx="4255">
                        <c:v>0</c:v>
                      </c:pt>
                      <c:pt idx="4256">
                        <c:v>0</c:v>
                      </c:pt>
                      <c:pt idx="4257">
                        <c:v>0</c:v>
                      </c:pt>
                      <c:pt idx="4258">
                        <c:v>0</c:v>
                      </c:pt>
                      <c:pt idx="4259">
                        <c:v>0</c:v>
                      </c:pt>
                      <c:pt idx="4260">
                        <c:v>0</c:v>
                      </c:pt>
                      <c:pt idx="4261">
                        <c:v>0</c:v>
                      </c:pt>
                      <c:pt idx="4262">
                        <c:v>0</c:v>
                      </c:pt>
                      <c:pt idx="4263">
                        <c:v>0</c:v>
                      </c:pt>
                      <c:pt idx="4264">
                        <c:v>0</c:v>
                      </c:pt>
                      <c:pt idx="4265">
                        <c:v>0</c:v>
                      </c:pt>
                      <c:pt idx="4266">
                        <c:v>0</c:v>
                      </c:pt>
                      <c:pt idx="4267">
                        <c:v>0</c:v>
                      </c:pt>
                      <c:pt idx="4268">
                        <c:v>0</c:v>
                      </c:pt>
                      <c:pt idx="4269">
                        <c:v>0</c:v>
                      </c:pt>
                      <c:pt idx="4270">
                        <c:v>0</c:v>
                      </c:pt>
                      <c:pt idx="4271">
                        <c:v>0</c:v>
                      </c:pt>
                      <c:pt idx="4272">
                        <c:v>0</c:v>
                      </c:pt>
                      <c:pt idx="4273">
                        <c:v>0</c:v>
                      </c:pt>
                      <c:pt idx="4274">
                        <c:v>0</c:v>
                      </c:pt>
                      <c:pt idx="4275">
                        <c:v>0</c:v>
                      </c:pt>
                      <c:pt idx="4276">
                        <c:v>0</c:v>
                      </c:pt>
                      <c:pt idx="4277">
                        <c:v>0</c:v>
                      </c:pt>
                      <c:pt idx="4278">
                        <c:v>0</c:v>
                      </c:pt>
                      <c:pt idx="4279">
                        <c:v>0</c:v>
                      </c:pt>
                      <c:pt idx="4280">
                        <c:v>0</c:v>
                      </c:pt>
                      <c:pt idx="4281">
                        <c:v>0</c:v>
                      </c:pt>
                      <c:pt idx="4282">
                        <c:v>0</c:v>
                      </c:pt>
                      <c:pt idx="4283">
                        <c:v>0</c:v>
                      </c:pt>
                      <c:pt idx="4284">
                        <c:v>0</c:v>
                      </c:pt>
                      <c:pt idx="4285">
                        <c:v>0</c:v>
                      </c:pt>
                      <c:pt idx="4286">
                        <c:v>0</c:v>
                      </c:pt>
                      <c:pt idx="4287">
                        <c:v>0</c:v>
                      </c:pt>
                      <c:pt idx="4288">
                        <c:v>0</c:v>
                      </c:pt>
                      <c:pt idx="4289">
                        <c:v>0</c:v>
                      </c:pt>
                      <c:pt idx="4290">
                        <c:v>0</c:v>
                      </c:pt>
                      <c:pt idx="4291">
                        <c:v>0</c:v>
                      </c:pt>
                      <c:pt idx="4292">
                        <c:v>0</c:v>
                      </c:pt>
                      <c:pt idx="4293">
                        <c:v>0</c:v>
                      </c:pt>
                      <c:pt idx="4294">
                        <c:v>0</c:v>
                      </c:pt>
                      <c:pt idx="4295">
                        <c:v>0</c:v>
                      </c:pt>
                      <c:pt idx="4296">
                        <c:v>0</c:v>
                      </c:pt>
                      <c:pt idx="4297">
                        <c:v>0</c:v>
                      </c:pt>
                      <c:pt idx="4298">
                        <c:v>0</c:v>
                      </c:pt>
                      <c:pt idx="4299">
                        <c:v>0</c:v>
                      </c:pt>
                      <c:pt idx="4300">
                        <c:v>0</c:v>
                      </c:pt>
                      <c:pt idx="4301">
                        <c:v>0</c:v>
                      </c:pt>
                      <c:pt idx="4302">
                        <c:v>0</c:v>
                      </c:pt>
                      <c:pt idx="4303">
                        <c:v>0</c:v>
                      </c:pt>
                      <c:pt idx="4304">
                        <c:v>0</c:v>
                      </c:pt>
                      <c:pt idx="4305">
                        <c:v>0</c:v>
                      </c:pt>
                      <c:pt idx="4306">
                        <c:v>0</c:v>
                      </c:pt>
                      <c:pt idx="4307">
                        <c:v>0</c:v>
                      </c:pt>
                      <c:pt idx="4308">
                        <c:v>0</c:v>
                      </c:pt>
                      <c:pt idx="4309">
                        <c:v>0</c:v>
                      </c:pt>
                      <c:pt idx="4310">
                        <c:v>0</c:v>
                      </c:pt>
                      <c:pt idx="4311">
                        <c:v>0</c:v>
                      </c:pt>
                      <c:pt idx="4312">
                        <c:v>0</c:v>
                      </c:pt>
                      <c:pt idx="4313">
                        <c:v>0</c:v>
                      </c:pt>
                      <c:pt idx="4314">
                        <c:v>0</c:v>
                      </c:pt>
                      <c:pt idx="4315">
                        <c:v>0</c:v>
                      </c:pt>
                      <c:pt idx="4316">
                        <c:v>0</c:v>
                      </c:pt>
                      <c:pt idx="4317">
                        <c:v>0</c:v>
                      </c:pt>
                      <c:pt idx="4318">
                        <c:v>0</c:v>
                      </c:pt>
                      <c:pt idx="4319">
                        <c:v>0</c:v>
                      </c:pt>
                      <c:pt idx="4320">
                        <c:v>0</c:v>
                      </c:pt>
                      <c:pt idx="4321">
                        <c:v>0</c:v>
                      </c:pt>
                      <c:pt idx="4322">
                        <c:v>0</c:v>
                      </c:pt>
                      <c:pt idx="4323">
                        <c:v>0</c:v>
                      </c:pt>
                      <c:pt idx="4324">
                        <c:v>0</c:v>
                      </c:pt>
                      <c:pt idx="4325">
                        <c:v>0</c:v>
                      </c:pt>
                      <c:pt idx="4326">
                        <c:v>0</c:v>
                      </c:pt>
                      <c:pt idx="4327">
                        <c:v>0</c:v>
                      </c:pt>
                      <c:pt idx="4328">
                        <c:v>0</c:v>
                      </c:pt>
                      <c:pt idx="4329">
                        <c:v>0</c:v>
                      </c:pt>
                      <c:pt idx="4330">
                        <c:v>0</c:v>
                      </c:pt>
                      <c:pt idx="4331">
                        <c:v>0</c:v>
                      </c:pt>
                      <c:pt idx="4332">
                        <c:v>0</c:v>
                      </c:pt>
                      <c:pt idx="4333">
                        <c:v>0</c:v>
                      </c:pt>
                      <c:pt idx="4334">
                        <c:v>0</c:v>
                      </c:pt>
                      <c:pt idx="4335">
                        <c:v>0</c:v>
                      </c:pt>
                      <c:pt idx="4336">
                        <c:v>0</c:v>
                      </c:pt>
                      <c:pt idx="4337">
                        <c:v>0</c:v>
                      </c:pt>
                      <c:pt idx="4338">
                        <c:v>0</c:v>
                      </c:pt>
                      <c:pt idx="4339">
                        <c:v>0</c:v>
                      </c:pt>
                      <c:pt idx="4340">
                        <c:v>0</c:v>
                      </c:pt>
                      <c:pt idx="4341">
                        <c:v>0</c:v>
                      </c:pt>
                      <c:pt idx="4342">
                        <c:v>0</c:v>
                      </c:pt>
                      <c:pt idx="4343">
                        <c:v>0</c:v>
                      </c:pt>
                      <c:pt idx="4344">
                        <c:v>0</c:v>
                      </c:pt>
                      <c:pt idx="4345">
                        <c:v>0</c:v>
                      </c:pt>
                      <c:pt idx="4346">
                        <c:v>0</c:v>
                      </c:pt>
                      <c:pt idx="4347">
                        <c:v>0</c:v>
                      </c:pt>
                      <c:pt idx="4348">
                        <c:v>0</c:v>
                      </c:pt>
                      <c:pt idx="4349">
                        <c:v>0</c:v>
                      </c:pt>
                      <c:pt idx="4350">
                        <c:v>0</c:v>
                      </c:pt>
                      <c:pt idx="4351">
                        <c:v>0</c:v>
                      </c:pt>
                      <c:pt idx="4352">
                        <c:v>0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0</c:v>
                      </c:pt>
                      <c:pt idx="4356">
                        <c:v>0</c:v>
                      </c:pt>
                      <c:pt idx="4357">
                        <c:v>0</c:v>
                      </c:pt>
                      <c:pt idx="4358">
                        <c:v>0</c:v>
                      </c:pt>
                      <c:pt idx="4359">
                        <c:v>0</c:v>
                      </c:pt>
                      <c:pt idx="4360">
                        <c:v>0</c:v>
                      </c:pt>
                      <c:pt idx="4361">
                        <c:v>0</c:v>
                      </c:pt>
                      <c:pt idx="4362">
                        <c:v>0</c:v>
                      </c:pt>
                      <c:pt idx="4363">
                        <c:v>0</c:v>
                      </c:pt>
                      <c:pt idx="4364">
                        <c:v>0</c:v>
                      </c:pt>
                      <c:pt idx="4365">
                        <c:v>0</c:v>
                      </c:pt>
                      <c:pt idx="4366">
                        <c:v>0</c:v>
                      </c:pt>
                      <c:pt idx="4367">
                        <c:v>0</c:v>
                      </c:pt>
                      <c:pt idx="4368">
                        <c:v>0</c:v>
                      </c:pt>
                      <c:pt idx="4369">
                        <c:v>0</c:v>
                      </c:pt>
                      <c:pt idx="4370">
                        <c:v>0</c:v>
                      </c:pt>
                      <c:pt idx="4371">
                        <c:v>0</c:v>
                      </c:pt>
                      <c:pt idx="4372">
                        <c:v>0</c:v>
                      </c:pt>
                      <c:pt idx="4373">
                        <c:v>0</c:v>
                      </c:pt>
                      <c:pt idx="4374">
                        <c:v>0</c:v>
                      </c:pt>
                      <c:pt idx="4375">
                        <c:v>0</c:v>
                      </c:pt>
                      <c:pt idx="4376">
                        <c:v>0</c:v>
                      </c:pt>
                      <c:pt idx="4377">
                        <c:v>0</c:v>
                      </c:pt>
                      <c:pt idx="4378">
                        <c:v>0</c:v>
                      </c:pt>
                      <c:pt idx="4379">
                        <c:v>0</c:v>
                      </c:pt>
                      <c:pt idx="4380">
                        <c:v>0</c:v>
                      </c:pt>
                      <c:pt idx="4381">
                        <c:v>0</c:v>
                      </c:pt>
                      <c:pt idx="4382">
                        <c:v>0</c:v>
                      </c:pt>
                      <c:pt idx="4383">
                        <c:v>0</c:v>
                      </c:pt>
                      <c:pt idx="4384">
                        <c:v>0</c:v>
                      </c:pt>
                      <c:pt idx="4385">
                        <c:v>0</c:v>
                      </c:pt>
                      <c:pt idx="4386">
                        <c:v>0</c:v>
                      </c:pt>
                      <c:pt idx="4387">
                        <c:v>0</c:v>
                      </c:pt>
                      <c:pt idx="4388">
                        <c:v>0</c:v>
                      </c:pt>
                      <c:pt idx="4389">
                        <c:v>0</c:v>
                      </c:pt>
                      <c:pt idx="4390">
                        <c:v>0</c:v>
                      </c:pt>
                      <c:pt idx="4391">
                        <c:v>0</c:v>
                      </c:pt>
                      <c:pt idx="4392">
                        <c:v>0</c:v>
                      </c:pt>
                      <c:pt idx="4393">
                        <c:v>0</c:v>
                      </c:pt>
                      <c:pt idx="4394">
                        <c:v>0</c:v>
                      </c:pt>
                      <c:pt idx="4395">
                        <c:v>0</c:v>
                      </c:pt>
                      <c:pt idx="4396">
                        <c:v>0</c:v>
                      </c:pt>
                      <c:pt idx="4397">
                        <c:v>0</c:v>
                      </c:pt>
                      <c:pt idx="4398">
                        <c:v>0</c:v>
                      </c:pt>
                      <c:pt idx="4399">
                        <c:v>0</c:v>
                      </c:pt>
                      <c:pt idx="4400">
                        <c:v>0</c:v>
                      </c:pt>
                      <c:pt idx="4401">
                        <c:v>0</c:v>
                      </c:pt>
                      <c:pt idx="4402">
                        <c:v>0</c:v>
                      </c:pt>
                      <c:pt idx="4403">
                        <c:v>0</c:v>
                      </c:pt>
                      <c:pt idx="4404">
                        <c:v>0</c:v>
                      </c:pt>
                      <c:pt idx="4405">
                        <c:v>0</c:v>
                      </c:pt>
                      <c:pt idx="4406">
                        <c:v>0</c:v>
                      </c:pt>
                      <c:pt idx="4407">
                        <c:v>0</c:v>
                      </c:pt>
                      <c:pt idx="4408">
                        <c:v>0</c:v>
                      </c:pt>
                      <c:pt idx="4409">
                        <c:v>0</c:v>
                      </c:pt>
                      <c:pt idx="4410">
                        <c:v>0</c:v>
                      </c:pt>
                      <c:pt idx="4411">
                        <c:v>0</c:v>
                      </c:pt>
                      <c:pt idx="4412">
                        <c:v>0</c:v>
                      </c:pt>
                      <c:pt idx="4413">
                        <c:v>0</c:v>
                      </c:pt>
                      <c:pt idx="4414">
                        <c:v>0</c:v>
                      </c:pt>
                      <c:pt idx="4415">
                        <c:v>0</c:v>
                      </c:pt>
                      <c:pt idx="4416">
                        <c:v>0</c:v>
                      </c:pt>
                      <c:pt idx="4417">
                        <c:v>0</c:v>
                      </c:pt>
                      <c:pt idx="4418">
                        <c:v>0</c:v>
                      </c:pt>
                      <c:pt idx="4419">
                        <c:v>0</c:v>
                      </c:pt>
                      <c:pt idx="4420">
                        <c:v>0</c:v>
                      </c:pt>
                      <c:pt idx="4421">
                        <c:v>0</c:v>
                      </c:pt>
                      <c:pt idx="4422">
                        <c:v>0</c:v>
                      </c:pt>
                      <c:pt idx="4423">
                        <c:v>0</c:v>
                      </c:pt>
                      <c:pt idx="4424">
                        <c:v>0</c:v>
                      </c:pt>
                      <c:pt idx="4425">
                        <c:v>0</c:v>
                      </c:pt>
                      <c:pt idx="4426">
                        <c:v>0</c:v>
                      </c:pt>
                      <c:pt idx="4427">
                        <c:v>0</c:v>
                      </c:pt>
                      <c:pt idx="4428">
                        <c:v>0</c:v>
                      </c:pt>
                      <c:pt idx="4429">
                        <c:v>0</c:v>
                      </c:pt>
                      <c:pt idx="4430">
                        <c:v>0</c:v>
                      </c:pt>
                      <c:pt idx="4431">
                        <c:v>0</c:v>
                      </c:pt>
                      <c:pt idx="4432">
                        <c:v>0</c:v>
                      </c:pt>
                      <c:pt idx="4433">
                        <c:v>0</c:v>
                      </c:pt>
                      <c:pt idx="4434">
                        <c:v>0</c:v>
                      </c:pt>
                      <c:pt idx="4435">
                        <c:v>0</c:v>
                      </c:pt>
                      <c:pt idx="4436">
                        <c:v>0</c:v>
                      </c:pt>
                      <c:pt idx="4437">
                        <c:v>0</c:v>
                      </c:pt>
                      <c:pt idx="4438">
                        <c:v>0</c:v>
                      </c:pt>
                      <c:pt idx="4439">
                        <c:v>0</c:v>
                      </c:pt>
                      <c:pt idx="4440">
                        <c:v>0</c:v>
                      </c:pt>
                      <c:pt idx="4441">
                        <c:v>0</c:v>
                      </c:pt>
                      <c:pt idx="4442">
                        <c:v>0</c:v>
                      </c:pt>
                      <c:pt idx="4443">
                        <c:v>0</c:v>
                      </c:pt>
                      <c:pt idx="4444">
                        <c:v>0</c:v>
                      </c:pt>
                      <c:pt idx="4445">
                        <c:v>0</c:v>
                      </c:pt>
                      <c:pt idx="4446">
                        <c:v>0</c:v>
                      </c:pt>
                      <c:pt idx="4447">
                        <c:v>0</c:v>
                      </c:pt>
                      <c:pt idx="4448">
                        <c:v>0</c:v>
                      </c:pt>
                      <c:pt idx="4449">
                        <c:v>0</c:v>
                      </c:pt>
                      <c:pt idx="4450">
                        <c:v>0</c:v>
                      </c:pt>
                      <c:pt idx="4451">
                        <c:v>0</c:v>
                      </c:pt>
                      <c:pt idx="4452">
                        <c:v>0</c:v>
                      </c:pt>
                      <c:pt idx="4453">
                        <c:v>0</c:v>
                      </c:pt>
                      <c:pt idx="4454">
                        <c:v>0</c:v>
                      </c:pt>
                      <c:pt idx="4455">
                        <c:v>0</c:v>
                      </c:pt>
                      <c:pt idx="4456">
                        <c:v>0</c:v>
                      </c:pt>
                      <c:pt idx="4457">
                        <c:v>0</c:v>
                      </c:pt>
                      <c:pt idx="4458">
                        <c:v>0</c:v>
                      </c:pt>
                      <c:pt idx="4459">
                        <c:v>0</c:v>
                      </c:pt>
                      <c:pt idx="4460">
                        <c:v>0</c:v>
                      </c:pt>
                      <c:pt idx="4461">
                        <c:v>0</c:v>
                      </c:pt>
                      <c:pt idx="4462">
                        <c:v>0</c:v>
                      </c:pt>
                      <c:pt idx="4463">
                        <c:v>0</c:v>
                      </c:pt>
                      <c:pt idx="4464">
                        <c:v>0</c:v>
                      </c:pt>
                      <c:pt idx="4465">
                        <c:v>0</c:v>
                      </c:pt>
                      <c:pt idx="4466">
                        <c:v>0</c:v>
                      </c:pt>
                      <c:pt idx="4467">
                        <c:v>0</c:v>
                      </c:pt>
                      <c:pt idx="4468">
                        <c:v>0</c:v>
                      </c:pt>
                      <c:pt idx="4469">
                        <c:v>0</c:v>
                      </c:pt>
                      <c:pt idx="4470">
                        <c:v>0</c:v>
                      </c:pt>
                      <c:pt idx="4471">
                        <c:v>0</c:v>
                      </c:pt>
                      <c:pt idx="4472">
                        <c:v>0</c:v>
                      </c:pt>
                      <c:pt idx="4473">
                        <c:v>0</c:v>
                      </c:pt>
                      <c:pt idx="4474">
                        <c:v>0</c:v>
                      </c:pt>
                      <c:pt idx="4475">
                        <c:v>0</c:v>
                      </c:pt>
                      <c:pt idx="4476">
                        <c:v>0</c:v>
                      </c:pt>
                      <c:pt idx="4477">
                        <c:v>0</c:v>
                      </c:pt>
                      <c:pt idx="4478">
                        <c:v>0</c:v>
                      </c:pt>
                      <c:pt idx="4479">
                        <c:v>0</c:v>
                      </c:pt>
                      <c:pt idx="4480">
                        <c:v>0</c:v>
                      </c:pt>
                      <c:pt idx="4481">
                        <c:v>0</c:v>
                      </c:pt>
                      <c:pt idx="4482">
                        <c:v>0</c:v>
                      </c:pt>
                      <c:pt idx="4483">
                        <c:v>0</c:v>
                      </c:pt>
                      <c:pt idx="4484">
                        <c:v>0</c:v>
                      </c:pt>
                      <c:pt idx="4485">
                        <c:v>0</c:v>
                      </c:pt>
                      <c:pt idx="4486">
                        <c:v>0</c:v>
                      </c:pt>
                      <c:pt idx="4487">
                        <c:v>0</c:v>
                      </c:pt>
                      <c:pt idx="4488">
                        <c:v>0</c:v>
                      </c:pt>
                      <c:pt idx="4489">
                        <c:v>0</c:v>
                      </c:pt>
                      <c:pt idx="4490">
                        <c:v>0</c:v>
                      </c:pt>
                      <c:pt idx="4491">
                        <c:v>0</c:v>
                      </c:pt>
                      <c:pt idx="4492">
                        <c:v>0</c:v>
                      </c:pt>
                      <c:pt idx="4493">
                        <c:v>0</c:v>
                      </c:pt>
                      <c:pt idx="4494">
                        <c:v>0</c:v>
                      </c:pt>
                      <c:pt idx="4495">
                        <c:v>0</c:v>
                      </c:pt>
                      <c:pt idx="4496">
                        <c:v>0</c:v>
                      </c:pt>
                      <c:pt idx="4497">
                        <c:v>0</c:v>
                      </c:pt>
                      <c:pt idx="4498">
                        <c:v>0</c:v>
                      </c:pt>
                      <c:pt idx="4499">
                        <c:v>0</c:v>
                      </c:pt>
                      <c:pt idx="4500">
                        <c:v>0</c:v>
                      </c:pt>
                      <c:pt idx="4501">
                        <c:v>0</c:v>
                      </c:pt>
                      <c:pt idx="4502">
                        <c:v>0</c:v>
                      </c:pt>
                      <c:pt idx="4503">
                        <c:v>0</c:v>
                      </c:pt>
                      <c:pt idx="4504">
                        <c:v>0</c:v>
                      </c:pt>
                      <c:pt idx="4505">
                        <c:v>0</c:v>
                      </c:pt>
                      <c:pt idx="4506">
                        <c:v>0</c:v>
                      </c:pt>
                      <c:pt idx="4507">
                        <c:v>0</c:v>
                      </c:pt>
                      <c:pt idx="4508">
                        <c:v>0</c:v>
                      </c:pt>
                      <c:pt idx="4509">
                        <c:v>0</c:v>
                      </c:pt>
                      <c:pt idx="4510">
                        <c:v>0</c:v>
                      </c:pt>
                      <c:pt idx="4511">
                        <c:v>0</c:v>
                      </c:pt>
                      <c:pt idx="4512">
                        <c:v>0</c:v>
                      </c:pt>
                      <c:pt idx="4513">
                        <c:v>0</c:v>
                      </c:pt>
                      <c:pt idx="4514">
                        <c:v>0</c:v>
                      </c:pt>
                      <c:pt idx="4515">
                        <c:v>0</c:v>
                      </c:pt>
                      <c:pt idx="4516">
                        <c:v>0</c:v>
                      </c:pt>
                      <c:pt idx="4517">
                        <c:v>0</c:v>
                      </c:pt>
                      <c:pt idx="4518">
                        <c:v>0</c:v>
                      </c:pt>
                      <c:pt idx="4519">
                        <c:v>0</c:v>
                      </c:pt>
                      <c:pt idx="4520">
                        <c:v>0</c:v>
                      </c:pt>
                      <c:pt idx="4521">
                        <c:v>0</c:v>
                      </c:pt>
                      <c:pt idx="4522">
                        <c:v>0</c:v>
                      </c:pt>
                      <c:pt idx="4523">
                        <c:v>0</c:v>
                      </c:pt>
                      <c:pt idx="4524">
                        <c:v>0</c:v>
                      </c:pt>
                      <c:pt idx="4525">
                        <c:v>0</c:v>
                      </c:pt>
                      <c:pt idx="4526">
                        <c:v>0</c:v>
                      </c:pt>
                      <c:pt idx="4527">
                        <c:v>0</c:v>
                      </c:pt>
                      <c:pt idx="4528">
                        <c:v>0</c:v>
                      </c:pt>
                      <c:pt idx="4529">
                        <c:v>0</c:v>
                      </c:pt>
                      <c:pt idx="4530">
                        <c:v>0</c:v>
                      </c:pt>
                      <c:pt idx="4531">
                        <c:v>0</c:v>
                      </c:pt>
                      <c:pt idx="4532">
                        <c:v>0</c:v>
                      </c:pt>
                      <c:pt idx="4533">
                        <c:v>0</c:v>
                      </c:pt>
                      <c:pt idx="4534">
                        <c:v>0</c:v>
                      </c:pt>
                      <c:pt idx="4535">
                        <c:v>0</c:v>
                      </c:pt>
                      <c:pt idx="4536">
                        <c:v>0</c:v>
                      </c:pt>
                      <c:pt idx="4537">
                        <c:v>0</c:v>
                      </c:pt>
                      <c:pt idx="4538">
                        <c:v>0</c:v>
                      </c:pt>
                      <c:pt idx="4539">
                        <c:v>0</c:v>
                      </c:pt>
                      <c:pt idx="4540">
                        <c:v>0</c:v>
                      </c:pt>
                      <c:pt idx="4541">
                        <c:v>0</c:v>
                      </c:pt>
                      <c:pt idx="4542">
                        <c:v>0</c:v>
                      </c:pt>
                      <c:pt idx="4543">
                        <c:v>0</c:v>
                      </c:pt>
                      <c:pt idx="4544">
                        <c:v>0</c:v>
                      </c:pt>
                      <c:pt idx="4545">
                        <c:v>0</c:v>
                      </c:pt>
                      <c:pt idx="4546">
                        <c:v>0</c:v>
                      </c:pt>
                      <c:pt idx="4547">
                        <c:v>0</c:v>
                      </c:pt>
                      <c:pt idx="4548">
                        <c:v>0</c:v>
                      </c:pt>
                      <c:pt idx="4549">
                        <c:v>0</c:v>
                      </c:pt>
                      <c:pt idx="4550">
                        <c:v>0</c:v>
                      </c:pt>
                      <c:pt idx="4551">
                        <c:v>0</c:v>
                      </c:pt>
                      <c:pt idx="4552">
                        <c:v>0</c:v>
                      </c:pt>
                      <c:pt idx="4553">
                        <c:v>0</c:v>
                      </c:pt>
                      <c:pt idx="4554">
                        <c:v>0</c:v>
                      </c:pt>
                      <c:pt idx="4555">
                        <c:v>0</c:v>
                      </c:pt>
                      <c:pt idx="4556">
                        <c:v>0</c:v>
                      </c:pt>
                      <c:pt idx="4557">
                        <c:v>0</c:v>
                      </c:pt>
                      <c:pt idx="4558">
                        <c:v>0</c:v>
                      </c:pt>
                      <c:pt idx="4559">
                        <c:v>0</c:v>
                      </c:pt>
                      <c:pt idx="4560">
                        <c:v>0</c:v>
                      </c:pt>
                      <c:pt idx="4561">
                        <c:v>0</c:v>
                      </c:pt>
                      <c:pt idx="4562">
                        <c:v>0</c:v>
                      </c:pt>
                      <c:pt idx="4563">
                        <c:v>0</c:v>
                      </c:pt>
                      <c:pt idx="4564">
                        <c:v>0</c:v>
                      </c:pt>
                      <c:pt idx="4565">
                        <c:v>0</c:v>
                      </c:pt>
                      <c:pt idx="4566">
                        <c:v>0</c:v>
                      </c:pt>
                      <c:pt idx="4567">
                        <c:v>0</c:v>
                      </c:pt>
                      <c:pt idx="4568">
                        <c:v>0</c:v>
                      </c:pt>
                      <c:pt idx="4569">
                        <c:v>0</c:v>
                      </c:pt>
                      <c:pt idx="4570">
                        <c:v>0</c:v>
                      </c:pt>
                      <c:pt idx="4571">
                        <c:v>0</c:v>
                      </c:pt>
                      <c:pt idx="4572">
                        <c:v>0</c:v>
                      </c:pt>
                      <c:pt idx="4573">
                        <c:v>0</c:v>
                      </c:pt>
                      <c:pt idx="4574">
                        <c:v>0</c:v>
                      </c:pt>
                      <c:pt idx="4575">
                        <c:v>0</c:v>
                      </c:pt>
                      <c:pt idx="4576">
                        <c:v>0</c:v>
                      </c:pt>
                      <c:pt idx="4577">
                        <c:v>0</c:v>
                      </c:pt>
                      <c:pt idx="4578">
                        <c:v>0</c:v>
                      </c:pt>
                      <c:pt idx="4579">
                        <c:v>0</c:v>
                      </c:pt>
                      <c:pt idx="4580">
                        <c:v>0</c:v>
                      </c:pt>
                      <c:pt idx="4581">
                        <c:v>0</c:v>
                      </c:pt>
                      <c:pt idx="4582">
                        <c:v>0</c:v>
                      </c:pt>
                      <c:pt idx="4583">
                        <c:v>0</c:v>
                      </c:pt>
                      <c:pt idx="4584">
                        <c:v>0</c:v>
                      </c:pt>
                      <c:pt idx="4585">
                        <c:v>0</c:v>
                      </c:pt>
                      <c:pt idx="4586">
                        <c:v>0</c:v>
                      </c:pt>
                      <c:pt idx="4587">
                        <c:v>0</c:v>
                      </c:pt>
                      <c:pt idx="4588">
                        <c:v>0</c:v>
                      </c:pt>
                      <c:pt idx="4589">
                        <c:v>0</c:v>
                      </c:pt>
                      <c:pt idx="4590">
                        <c:v>0</c:v>
                      </c:pt>
                      <c:pt idx="4591">
                        <c:v>0</c:v>
                      </c:pt>
                      <c:pt idx="4592">
                        <c:v>0</c:v>
                      </c:pt>
                      <c:pt idx="4593">
                        <c:v>0</c:v>
                      </c:pt>
                      <c:pt idx="4594">
                        <c:v>0</c:v>
                      </c:pt>
                      <c:pt idx="4595">
                        <c:v>0</c:v>
                      </c:pt>
                      <c:pt idx="4596">
                        <c:v>0</c:v>
                      </c:pt>
                      <c:pt idx="4597">
                        <c:v>0</c:v>
                      </c:pt>
                      <c:pt idx="4598">
                        <c:v>0</c:v>
                      </c:pt>
                      <c:pt idx="4599">
                        <c:v>0</c:v>
                      </c:pt>
                      <c:pt idx="4600">
                        <c:v>0</c:v>
                      </c:pt>
                      <c:pt idx="4601">
                        <c:v>0</c:v>
                      </c:pt>
                      <c:pt idx="4602">
                        <c:v>0</c:v>
                      </c:pt>
                      <c:pt idx="4603">
                        <c:v>0</c:v>
                      </c:pt>
                      <c:pt idx="4604">
                        <c:v>0</c:v>
                      </c:pt>
                      <c:pt idx="4605">
                        <c:v>0</c:v>
                      </c:pt>
                      <c:pt idx="4606">
                        <c:v>0</c:v>
                      </c:pt>
                      <c:pt idx="4607">
                        <c:v>0</c:v>
                      </c:pt>
                      <c:pt idx="4608">
                        <c:v>0</c:v>
                      </c:pt>
                      <c:pt idx="4609">
                        <c:v>0</c:v>
                      </c:pt>
                      <c:pt idx="4610">
                        <c:v>0</c:v>
                      </c:pt>
                      <c:pt idx="4611">
                        <c:v>0</c:v>
                      </c:pt>
                      <c:pt idx="4612">
                        <c:v>0</c:v>
                      </c:pt>
                      <c:pt idx="4613">
                        <c:v>0</c:v>
                      </c:pt>
                      <c:pt idx="4614">
                        <c:v>0</c:v>
                      </c:pt>
                      <c:pt idx="4615">
                        <c:v>0</c:v>
                      </c:pt>
                      <c:pt idx="4616">
                        <c:v>0</c:v>
                      </c:pt>
                      <c:pt idx="4617">
                        <c:v>0</c:v>
                      </c:pt>
                      <c:pt idx="4618">
                        <c:v>0</c:v>
                      </c:pt>
                      <c:pt idx="4619">
                        <c:v>0</c:v>
                      </c:pt>
                      <c:pt idx="4620">
                        <c:v>0</c:v>
                      </c:pt>
                      <c:pt idx="4621">
                        <c:v>0</c:v>
                      </c:pt>
                      <c:pt idx="4622">
                        <c:v>0</c:v>
                      </c:pt>
                      <c:pt idx="4623">
                        <c:v>0</c:v>
                      </c:pt>
                      <c:pt idx="4624">
                        <c:v>0</c:v>
                      </c:pt>
                      <c:pt idx="4625">
                        <c:v>0</c:v>
                      </c:pt>
                      <c:pt idx="4626">
                        <c:v>0</c:v>
                      </c:pt>
                      <c:pt idx="4627">
                        <c:v>0</c:v>
                      </c:pt>
                      <c:pt idx="4628">
                        <c:v>0</c:v>
                      </c:pt>
                      <c:pt idx="4629">
                        <c:v>0</c:v>
                      </c:pt>
                      <c:pt idx="4630">
                        <c:v>0</c:v>
                      </c:pt>
                      <c:pt idx="4631">
                        <c:v>0</c:v>
                      </c:pt>
                      <c:pt idx="4632">
                        <c:v>0</c:v>
                      </c:pt>
                      <c:pt idx="4633">
                        <c:v>0</c:v>
                      </c:pt>
                      <c:pt idx="4634">
                        <c:v>0</c:v>
                      </c:pt>
                      <c:pt idx="4635">
                        <c:v>0</c:v>
                      </c:pt>
                      <c:pt idx="4636">
                        <c:v>0</c:v>
                      </c:pt>
                      <c:pt idx="4637">
                        <c:v>0</c:v>
                      </c:pt>
                      <c:pt idx="4638">
                        <c:v>0</c:v>
                      </c:pt>
                      <c:pt idx="4639">
                        <c:v>0</c:v>
                      </c:pt>
                      <c:pt idx="4640">
                        <c:v>0</c:v>
                      </c:pt>
                      <c:pt idx="4641">
                        <c:v>0</c:v>
                      </c:pt>
                      <c:pt idx="4642">
                        <c:v>0</c:v>
                      </c:pt>
                      <c:pt idx="4643">
                        <c:v>0</c:v>
                      </c:pt>
                      <c:pt idx="4644">
                        <c:v>0</c:v>
                      </c:pt>
                      <c:pt idx="4645">
                        <c:v>0</c:v>
                      </c:pt>
                      <c:pt idx="4646">
                        <c:v>0</c:v>
                      </c:pt>
                      <c:pt idx="4647">
                        <c:v>0</c:v>
                      </c:pt>
                      <c:pt idx="4648">
                        <c:v>0</c:v>
                      </c:pt>
                      <c:pt idx="4649">
                        <c:v>0</c:v>
                      </c:pt>
                      <c:pt idx="4650">
                        <c:v>0</c:v>
                      </c:pt>
                      <c:pt idx="4651">
                        <c:v>0</c:v>
                      </c:pt>
                      <c:pt idx="4652">
                        <c:v>0</c:v>
                      </c:pt>
                      <c:pt idx="4653">
                        <c:v>0</c:v>
                      </c:pt>
                      <c:pt idx="4654">
                        <c:v>0</c:v>
                      </c:pt>
                      <c:pt idx="4655">
                        <c:v>0</c:v>
                      </c:pt>
                      <c:pt idx="4656">
                        <c:v>0</c:v>
                      </c:pt>
                      <c:pt idx="4657">
                        <c:v>0</c:v>
                      </c:pt>
                      <c:pt idx="4658">
                        <c:v>0</c:v>
                      </c:pt>
                      <c:pt idx="4659">
                        <c:v>0</c:v>
                      </c:pt>
                      <c:pt idx="4660">
                        <c:v>0</c:v>
                      </c:pt>
                      <c:pt idx="4661">
                        <c:v>0</c:v>
                      </c:pt>
                      <c:pt idx="4662">
                        <c:v>0</c:v>
                      </c:pt>
                      <c:pt idx="4663">
                        <c:v>0</c:v>
                      </c:pt>
                      <c:pt idx="4664">
                        <c:v>0</c:v>
                      </c:pt>
                      <c:pt idx="4665">
                        <c:v>0</c:v>
                      </c:pt>
                      <c:pt idx="4666">
                        <c:v>0</c:v>
                      </c:pt>
                      <c:pt idx="4667">
                        <c:v>0</c:v>
                      </c:pt>
                      <c:pt idx="4668">
                        <c:v>0</c:v>
                      </c:pt>
                      <c:pt idx="4669">
                        <c:v>0</c:v>
                      </c:pt>
                      <c:pt idx="4670">
                        <c:v>0</c:v>
                      </c:pt>
                      <c:pt idx="4671">
                        <c:v>0</c:v>
                      </c:pt>
                      <c:pt idx="4672">
                        <c:v>0</c:v>
                      </c:pt>
                      <c:pt idx="4673">
                        <c:v>0</c:v>
                      </c:pt>
                      <c:pt idx="4674">
                        <c:v>0</c:v>
                      </c:pt>
                      <c:pt idx="4675">
                        <c:v>0</c:v>
                      </c:pt>
                      <c:pt idx="4676">
                        <c:v>0</c:v>
                      </c:pt>
                      <c:pt idx="4677">
                        <c:v>0</c:v>
                      </c:pt>
                      <c:pt idx="4678">
                        <c:v>0</c:v>
                      </c:pt>
                      <c:pt idx="4679">
                        <c:v>0</c:v>
                      </c:pt>
                      <c:pt idx="4680">
                        <c:v>0</c:v>
                      </c:pt>
                      <c:pt idx="4681">
                        <c:v>0</c:v>
                      </c:pt>
                      <c:pt idx="4682">
                        <c:v>0</c:v>
                      </c:pt>
                      <c:pt idx="4683">
                        <c:v>0</c:v>
                      </c:pt>
                      <c:pt idx="4684">
                        <c:v>0</c:v>
                      </c:pt>
                      <c:pt idx="4685">
                        <c:v>0</c:v>
                      </c:pt>
                      <c:pt idx="4686">
                        <c:v>0</c:v>
                      </c:pt>
                      <c:pt idx="4687">
                        <c:v>0</c:v>
                      </c:pt>
                      <c:pt idx="4688">
                        <c:v>0</c:v>
                      </c:pt>
                      <c:pt idx="4689">
                        <c:v>0</c:v>
                      </c:pt>
                      <c:pt idx="4690">
                        <c:v>0</c:v>
                      </c:pt>
                      <c:pt idx="4691">
                        <c:v>0</c:v>
                      </c:pt>
                      <c:pt idx="4692">
                        <c:v>0</c:v>
                      </c:pt>
                      <c:pt idx="4693">
                        <c:v>0</c:v>
                      </c:pt>
                      <c:pt idx="4694">
                        <c:v>0</c:v>
                      </c:pt>
                      <c:pt idx="4695">
                        <c:v>0</c:v>
                      </c:pt>
                      <c:pt idx="4696">
                        <c:v>0</c:v>
                      </c:pt>
                      <c:pt idx="4697">
                        <c:v>0</c:v>
                      </c:pt>
                      <c:pt idx="4698">
                        <c:v>0</c:v>
                      </c:pt>
                      <c:pt idx="4699">
                        <c:v>0</c:v>
                      </c:pt>
                      <c:pt idx="4700">
                        <c:v>0</c:v>
                      </c:pt>
                      <c:pt idx="4701">
                        <c:v>0</c:v>
                      </c:pt>
                      <c:pt idx="4702">
                        <c:v>0</c:v>
                      </c:pt>
                      <c:pt idx="4703">
                        <c:v>0</c:v>
                      </c:pt>
                      <c:pt idx="4704">
                        <c:v>0</c:v>
                      </c:pt>
                      <c:pt idx="4705">
                        <c:v>0</c:v>
                      </c:pt>
                      <c:pt idx="4706">
                        <c:v>0</c:v>
                      </c:pt>
                      <c:pt idx="4707">
                        <c:v>0</c:v>
                      </c:pt>
                      <c:pt idx="4708">
                        <c:v>0</c:v>
                      </c:pt>
                      <c:pt idx="4709">
                        <c:v>0</c:v>
                      </c:pt>
                      <c:pt idx="4710">
                        <c:v>0</c:v>
                      </c:pt>
                      <c:pt idx="4711">
                        <c:v>0</c:v>
                      </c:pt>
                      <c:pt idx="4712">
                        <c:v>0</c:v>
                      </c:pt>
                      <c:pt idx="4713">
                        <c:v>0</c:v>
                      </c:pt>
                      <c:pt idx="4714">
                        <c:v>0</c:v>
                      </c:pt>
                      <c:pt idx="4715">
                        <c:v>0</c:v>
                      </c:pt>
                      <c:pt idx="4716">
                        <c:v>0</c:v>
                      </c:pt>
                      <c:pt idx="4717">
                        <c:v>0</c:v>
                      </c:pt>
                      <c:pt idx="4718">
                        <c:v>0</c:v>
                      </c:pt>
                      <c:pt idx="4719">
                        <c:v>0</c:v>
                      </c:pt>
                      <c:pt idx="4720">
                        <c:v>0</c:v>
                      </c:pt>
                      <c:pt idx="4721">
                        <c:v>0</c:v>
                      </c:pt>
                      <c:pt idx="4722">
                        <c:v>0</c:v>
                      </c:pt>
                      <c:pt idx="4723">
                        <c:v>0</c:v>
                      </c:pt>
                      <c:pt idx="4724">
                        <c:v>0</c:v>
                      </c:pt>
                      <c:pt idx="4725">
                        <c:v>0</c:v>
                      </c:pt>
                      <c:pt idx="4726">
                        <c:v>0</c:v>
                      </c:pt>
                      <c:pt idx="4727">
                        <c:v>0</c:v>
                      </c:pt>
                      <c:pt idx="4728">
                        <c:v>0</c:v>
                      </c:pt>
                      <c:pt idx="4729">
                        <c:v>0</c:v>
                      </c:pt>
                      <c:pt idx="4730">
                        <c:v>0</c:v>
                      </c:pt>
                      <c:pt idx="4731">
                        <c:v>0</c:v>
                      </c:pt>
                      <c:pt idx="4732">
                        <c:v>0</c:v>
                      </c:pt>
                      <c:pt idx="4733">
                        <c:v>0</c:v>
                      </c:pt>
                      <c:pt idx="4734">
                        <c:v>0</c:v>
                      </c:pt>
                      <c:pt idx="4735">
                        <c:v>0</c:v>
                      </c:pt>
                      <c:pt idx="4736">
                        <c:v>0</c:v>
                      </c:pt>
                      <c:pt idx="4737">
                        <c:v>0</c:v>
                      </c:pt>
                      <c:pt idx="4738">
                        <c:v>0</c:v>
                      </c:pt>
                      <c:pt idx="4739">
                        <c:v>0</c:v>
                      </c:pt>
                      <c:pt idx="4740">
                        <c:v>0</c:v>
                      </c:pt>
                      <c:pt idx="4741">
                        <c:v>0</c:v>
                      </c:pt>
                      <c:pt idx="4742">
                        <c:v>0</c:v>
                      </c:pt>
                      <c:pt idx="4743">
                        <c:v>0</c:v>
                      </c:pt>
                      <c:pt idx="4744">
                        <c:v>0</c:v>
                      </c:pt>
                      <c:pt idx="4745">
                        <c:v>0</c:v>
                      </c:pt>
                      <c:pt idx="4746">
                        <c:v>0</c:v>
                      </c:pt>
                      <c:pt idx="4747">
                        <c:v>0</c:v>
                      </c:pt>
                      <c:pt idx="4748">
                        <c:v>0</c:v>
                      </c:pt>
                      <c:pt idx="4749">
                        <c:v>0</c:v>
                      </c:pt>
                      <c:pt idx="4750">
                        <c:v>0</c:v>
                      </c:pt>
                      <c:pt idx="4751">
                        <c:v>0</c:v>
                      </c:pt>
                      <c:pt idx="4752">
                        <c:v>0</c:v>
                      </c:pt>
                      <c:pt idx="4753">
                        <c:v>0</c:v>
                      </c:pt>
                      <c:pt idx="4754">
                        <c:v>0</c:v>
                      </c:pt>
                      <c:pt idx="4755">
                        <c:v>0</c:v>
                      </c:pt>
                      <c:pt idx="4756">
                        <c:v>0</c:v>
                      </c:pt>
                      <c:pt idx="4757">
                        <c:v>0</c:v>
                      </c:pt>
                      <c:pt idx="4758">
                        <c:v>0</c:v>
                      </c:pt>
                      <c:pt idx="4759">
                        <c:v>0</c:v>
                      </c:pt>
                      <c:pt idx="4760">
                        <c:v>0</c:v>
                      </c:pt>
                      <c:pt idx="4761">
                        <c:v>0</c:v>
                      </c:pt>
                      <c:pt idx="4762">
                        <c:v>0</c:v>
                      </c:pt>
                      <c:pt idx="4763">
                        <c:v>0</c:v>
                      </c:pt>
                      <c:pt idx="4764">
                        <c:v>0</c:v>
                      </c:pt>
                      <c:pt idx="4765">
                        <c:v>0</c:v>
                      </c:pt>
                      <c:pt idx="4766">
                        <c:v>0</c:v>
                      </c:pt>
                      <c:pt idx="4767">
                        <c:v>0</c:v>
                      </c:pt>
                      <c:pt idx="4768">
                        <c:v>0</c:v>
                      </c:pt>
                      <c:pt idx="4769">
                        <c:v>0</c:v>
                      </c:pt>
                      <c:pt idx="4770">
                        <c:v>0</c:v>
                      </c:pt>
                      <c:pt idx="4771">
                        <c:v>0</c:v>
                      </c:pt>
                      <c:pt idx="4772">
                        <c:v>0</c:v>
                      </c:pt>
                      <c:pt idx="4773">
                        <c:v>0</c:v>
                      </c:pt>
                      <c:pt idx="4774">
                        <c:v>0</c:v>
                      </c:pt>
                      <c:pt idx="4775">
                        <c:v>0</c:v>
                      </c:pt>
                      <c:pt idx="4776">
                        <c:v>0</c:v>
                      </c:pt>
                      <c:pt idx="4777">
                        <c:v>0</c:v>
                      </c:pt>
                      <c:pt idx="4778">
                        <c:v>0</c:v>
                      </c:pt>
                      <c:pt idx="4779">
                        <c:v>0</c:v>
                      </c:pt>
                      <c:pt idx="4780">
                        <c:v>0</c:v>
                      </c:pt>
                      <c:pt idx="4781">
                        <c:v>0</c:v>
                      </c:pt>
                      <c:pt idx="4782">
                        <c:v>0</c:v>
                      </c:pt>
                      <c:pt idx="4783">
                        <c:v>0</c:v>
                      </c:pt>
                      <c:pt idx="4784">
                        <c:v>0</c:v>
                      </c:pt>
                      <c:pt idx="4785">
                        <c:v>0</c:v>
                      </c:pt>
                      <c:pt idx="4786">
                        <c:v>0</c:v>
                      </c:pt>
                      <c:pt idx="4787">
                        <c:v>0</c:v>
                      </c:pt>
                      <c:pt idx="4788">
                        <c:v>0</c:v>
                      </c:pt>
                      <c:pt idx="4789">
                        <c:v>0</c:v>
                      </c:pt>
                      <c:pt idx="4790">
                        <c:v>0</c:v>
                      </c:pt>
                      <c:pt idx="4791">
                        <c:v>0</c:v>
                      </c:pt>
                      <c:pt idx="4792">
                        <c:v>0</c:v>
                      </c:pt>
                      <c:pt idx="4793">
                        <c:v>0</c:v>
                      </c:pt>
                      <c:pt idx="4794">
                        <c:v>0</c:v>
                      </c:pt>
                      <c:pt idx="4795">
                        <c:v>0</c:v>
                      </c:pt>
                      <c:pt idx="4796">
                        <c:v>0</c:v>
                      </c:pt>
                      <c:pt idx="4797">
                        <c:v>0</c:v>
                      </c:pt>
                      <c:pt idx="4798">
                        <c:v>0</c:v>
                      </c:pt>
                      <c:pt idx="4799">
                        <c:v>0</c:v>
                      </c:pt>
                      <c:pt idx="4800">
                        <c:v>0</c:v>
                      </c:pt>
                      <c:pt idx="4801">
                        <c:v>0</c:v>
                      </c:pt>
                      <c:pt idx="4802">
                        <c:v>0</c:v>
                      </c:pt>
                      <c:pt idx="4803">
                        <c:v>0</c:v>
                      </c:pt>
                      <c:pt idx="4804">
                        <c:v>0</c:v>
                      </c:pt>
                      <c:pt idx="4805">
                        <c:v>0</c:v>
                      </c:pt>
                      <c:pt idx="4806">
                        <c:v>0</c:v>
                      </c:pt>
                      <c:pt idx="4807">
                        <c:v>0</c:v>
                      </c:pt>
                      <c:pt idx="4808">
                        <c:v>0</c:v>
                      </c:pt>
                      <c:pt idx="4809">
                        <c:v>0</c:v>
                      </c:pt>
                      <c:pt idx="4810">
                        <c:v>0</c:v>
                      </c:pt>
                      <c:pt idx="4811">
                        <c:v>0</c:v>
                      </c:pt>
                      <c:pt idx="4812">
                        <c:v>0</c:v>
                      </c:pt>
                      <c:pt idx="4813">
                        <c:v>0</c:v>
                      </c:pt>
                      <c:pt idx="4814">
                        <c:v>0</c:v>
                      </c:pt>
                      <c:pt idx="4815">
                        <c:v>0</c:v>
                      </c:pt>
                      <c:pt idx="4816">
                        <c:v>0</c:v>
                      </c:pt>
                      <c:pt idx="4817">
                        <c:v>0</c:v>
                      </c:pt>
                      <c:pt idx="4818">
                        <c:v>0</c:v>
                      </c:pt>
                      <c:pt idx="4819">
                        <c:v>0</c:v>
                      </c:pt>
                      <c:pt idx="4820">
                        <c:v>0</c:v>
                      </c:pt>
                      <c:pt idx="4821">
                        <c:v>0</c:v>
                      </c:pt>
                      <c:pt idx="4822">
                        <c:v>0</c:v>
                      </c:pt>
                      <c:pt idx="4823">
                        <c:v>0</c:v>
                      </c:pt>
                      <c:pt idx="4824">
                        <c:v>0</c:v>
                      </c:pt>
                      <c:pt idx="4825">
                        <c:v>0</c:v>
                      </c:pt>
                      <c:pt idx="4826">
                        <c:v>0</c:v>
                      </c:pt>
                      <c:pt idx="4827">
                        <c:v>0</c:v>
                      </c:pt>
                      <c:pt idx="4828">
                        <c:v>0</c:v>
                      </c:pt>
                      <c:pt idx="4829">
                        <c:v>0</c:v>
                      </c:pt>
                      <c:pt idx="4830">
                        <c:v>0</c:v>
                      </c:pt>
                      <c:pt idx="4831">
                        <c:v>0</c:v>
                      </c:pt>
                      <c:pt idx="4832">
                        <c:v>0</c:v>
                      </c:pt>
                      <c:pt idx="4833">
                        <c:v>0</c:v>
                      </c:pt>
                      <c:pt idx="4834">
                        <c:v>0</c:v>
                      </c:pt>
                      <c:pt idx="4835">
                        <c:v>0</c:v>
                      </c:pt>
                      <c:pt idx="4836">
                        <c:v>0</c:v>
                      </c:pt>
                      <c:pt idx="4837">
                        <c:v>0</c:v>
                      </c:pt>
                      <c:pt idx="4838">
                        <c:v>0</c:v>
                      </c:pt>
                      <c:pt idx="4839">
                        <c:v>0</c:v>
                      </c:pt>
                      <c:pt idx="4840">
                        <c:v>0</c:v>
                      </c:pt>
                      <c:pt idx="4841">
                        <c:v>0</c:v>
                      </c:pt>
                      <c:pt idx="4842">
                        <c:v>0</c:v>
                      </c:pt>
                      <c:pt idx="4843">
                        <c:v>0</c:v>
                      </c:pt>
                      <c:pt idx="4844">
                        <c:v>0</c:v>
                      </c:pt>
                      <c:pt idx="4845">
                        <c:v>0</c:v>
                      </c:pt>
                      <c:pt idx="4846">
                        <c:v>0</c:v>
                      </c:pt>
                      <c:pt idx="4847">
                        <c:v>0</c:v>
                      </c:pt>
                      <c:pt idx="4848">
                        <c:v>0</c:v>
                      </c:pt>
                      <c:pt idx="4849">
                        <c:v>0</c:v>
                      </c:pt>
                      <c:pt idx="4850">
                        <c:v>0</c:v>
                      </c:pt>
                      <c:pt idx="4851">
                        <c:v>0</c:v>
                      </c:pt>
                      <c:pt idx="4852">
                        <c:v>0</c:v>
                      </c:pt>
                      <c:pt idx="4853">
                        <c:v>0</c:v>
                      </c:pt>
                      <c:pt idx="4854">
                        <c:v>0</c:v>
                      </c:pt>
                      <c:pt idx="4855">
                        <c:v>0</c:v>
                      </c:pt>
                      <c:pt idx="4856">
                        <c:v>0</c:v>
                      </c:pt>
                      <c:pt idx="4857">
                        <c:v>0</c:v>
                      </c:pt>
                      <c:pt idx="4858">
                        <c:v>0</c:v>
                      </c:pt>
                      <c:pt idx="4859">
                        <c:v>0</c:v>
                      </c:pt>
                      <c:pt idx="4860">
                        <c:v>0</c:v>
                      </c:pt>
                      <c:pt idx="4861">
                        <c:v>0</c:v>
                      </c:pt>
                      <c:pt idx="4862">
                        <c:v>0</c:v>
                      </c:pt>
                      <c:pt idx="4863">
                        <c:v>0</c:v>
                      </c:pt>
                      <c:pt idx="4864">
                        <c:v>0</c:v>
                      </c:pt>
                      <c:pt idx="4865">
                        <c:v>0</c:v>
                      </c:pt>
                      <c:pt idx="4866">
                        <c:v>0</c:v>
                      </c:pt>
                      <c:pt idx="4867">
                        <c:v>0</c:v>
                      </c:pt>
                      <c:pt idx="4868">
                        <c:v>0</c:v>
                      </c:pt>
                      <c:pt idx="4869">
                        <c:v>0</c:v>
                      </c:pt>
                      <c:pt idx="4870">
                        <c:v>0</c:v>
                      </c:pt>
                      <c:pt idx="4871">
                        <c:v>0</c:v>
                      </c:pt>
                      <c:pt idx="4872">
                        <c:v>0</c:v>
                      </c:pt>
                      <c:pt idx="4873">
                        <c:v>0</c:v>
                      </c:pt>
                      <c:pt idx="4874">
                        <c:v>0</c:v>
                      </c:pt>
                      <c:pt idx="4875">
                        <c:v>0</c:v>
                      </c:pt>
                      <c:pt idx="4876">
                        <c:v>0</c:v>
                      </c:pt>
                      <c:pt idx="4877">
                        <c:v>0</c:v>
                      </c:pt>
                      <c:pt idx="4878">
                        <c:v>0</c:v>
                      </c:pt>
                      <c:pt idx="4879">
                        <c:v>0</c:v>
                      </c:pt>
                      <c:pt idx="4880">
                        <c:v>0</c:v>
                      </c:pt>
                      <c:pt idx="4881">
                        <c:v>0</c:v>
                      </c:pt>
                      <c:pt idx="4882">
                        <c:v>0</c:v>
                      </c:pt>
                      <c:pt idx="4883">
                        <c:v>0</c:v>
                      </c:pt>
                      <c:pt idx="4884">
                        <c:v>0</c:v>
                      </c:pt>
                      <c:pt idx="4885">
                        <c:v>0</c:v>
                      </c:pt>
                      <c:pt idx="4886">
                        <c:v>0</c:v>
                      </c:pt>
                      <c:pt idx="4887">
                        <c:v>0</c:v>
                      </c:pt>
                      <c:pt idx="4888">
                        <c:v>0</c:v>
                      </c:pt>
                      <c:pt idx="4889">
                        <c:v>0</c:v>
                      </c:pt>
                      <c:pt idx="4890">
                        <c:v>0</c:v>
                      </c:pt>
                      <c:pt idx="4891">
                        <c:v>0</c:v>
                      </c:pt>
                      <c:pt idx="4892">
                        <c:v>0</c:v>
                      </c:pt>
                      <c:pt idx="4893">
                        <c:v>0</c:v>
                      </c:pt>
                      <c:pt idx="4894">
                        <c:v>0</c:v>
                      </c:pt>
                      <c:pt idx="4895">
                        <c:v>0</c:v>
                      </c:pt>
                      <c:pt idx="4896">
                        <c:v>0</c:v>
                      </c:pt>
                      <c:pt idx="4897">
                        <c:v>0</c:v>
                      </c:pt>
                      <c:pt idx="4898">
                        <c:v>0</c:v>
                      </c:pt>
                      <c:pt idx="4899">
                        <c:v>0</c:v>
                      </c:pt>
                      <c:pt idx="4900">
                        <c:v>0</c:v>
                      </c:pt>
                      <c:pt idx="4901">
                        <c:v>0</c:v>
                      </c:pt>
                      <c:pt idx="4902">
                        <c:v>0</c:v>
                      </c:pt>
                      <c:pt idx="4903">
                        <c:v>0</c:v>
                      </c:pt>
                      <c:pt idx="4904">
                        <c:v>0</c:v>
                      </c:pt>
                      <c:pt idx="4905">
                        <c:v>0</c:v>
                      </c:pt>
                      <c:pt idx="4906">
                        <c:v>0</c:v>
                      </c:pt>
                      <c:pt idx="4907">
                        <c:v>0</c:v>
                      </c:pt>
                      <c:pt idx="4908">
                        <c:v>0</c:v>
                      </c:pt>
                      <c:pt idx="4909">
                        <c:v>0</c:v>
                      </c:pt>
                      <c:pt idx="4910">
                        <c:v>0</c:v>
                      </c:pt>
                      <c:pt idx="4911">
                        <c:v>0</c:v>
                      </c:pt>
                      <c:pt idx="4912">
                        <c:v>0</c:v>
                      </c:pt>
                      <c:pt idx="4913">
                        <c:v>0</c:v>
                      </c:pt>
                      <c:pt idx="4914">
                        <c:v>0</c:v>
                      </c:pt>
                      <c:pt idx="4915">
                        <c:v>0</c:v>
                      </c:pt>
                      <c:pt idx="4916">
                        <c:v>0</c:v>
                      </c:pt>
                      <c:pt idx="4917">
                        <c:v>0</c:v>
                      </c:pt>
                      <c:pt idx="4918">
                        <c:v>0</c:v>
                      </c:pt>
                      <c:pt idx="4919">
                        <c:v>0</c:v>
                      </c:pt>
                      <c:pt idx="4920">
                        <c:v>0</c:v>
                      </c:pt>
                      <c:pt idx="4921">
                        <c:v>0</c:v>
                      </c:pt>
                      <c:pt idx="4922">
                        <c:v>0</c:v>
                      </c:pt>
                      <c:pt idx="4923">
                        <c:v>0</c:v>
                      </c:pt>
                      <c:pt idx="4924">
                        <c:v>0</c:v>
                      </c:pt>
                      <c:pt idx="4925">
                        <c:v>0</c:v>
                      </c:pt>
                      <c:pt idx="4926">
                        <c:v>0</c:v>
                      </c:pt>
                      <c:pt idx="4927">
                        <c:v>0</c:v>
                      </c:pt>
                      <c:pt idx="4928">
                        <c:v>0</c:v>
                      </c:pt>
                      <c:pt idx="4929">
                        <c:v>0</c:v>
                      </c:pt>
                      <c:pt idx="4930">
                        <c:v>0</c:v>
                      </c:pt>
                      <c:pt idx="4931">
                        <c:v>0</c:v>
                      </c:pt>
                      <c:pt idx="4932">
                        <c:v>0</c:v>
                      </c:pt>
                      <c:pt idx="4933">
                        <c:v>0</c:v>
                      </c:pt>
                      <c:pt idx="4934">
                        <c:v>0</c:v>
                      </c:pt>
                      <c:pt idx="4935">
                        <c:v>0</c:v>
                      </c:pt>
                      <c:pt idx="4936">
                        <c:v>0</c:v>
                      </c:pt>
                      <c:pt idx="4937">
                        <c:v>0</c:v>
                      </c:pt>
                      <c:pt idx="4938">
                        <c:v>0</c:v>
                      </c:pt>
                      <c:pt idx="4939">
                        <c:v>0</c:v>
                      </c:pt>
                      <c:pt idx="4940">
                        <c:v>0</c:v>
                      </c:pt>
                      <c:pt idx="4941">
                        <c:v>0</c:v>
                      </c:pt>
                      <c:pt idx="4942">
                        <c:v>0</c:v>
                      </c:pt>
                      <c:pt idx="4943">
                        <c:v>0</c:v>
                      </c:pt>
                      <c:pt idx="4944">
                        <c:v>0</c:v>
                      </c:pt>
                      <c:pt idx="4945">
                        <c:v>0</c:v>
                      </c:pt>
                      <c:pt idx="4946">
                        <c:v>0</c:v>
                      </c:pt>
                      <c:pt idx="4947">
                        <c:v>0</c:v>
                      </c:pt>
                      <c:pt idx="4948">
                        <c:v>0</c:v>
                      </c:pt>
                      <c:pt idx="4949">
                        <c:v>0</c:v>
                      </c:pt>
                      <c:pt idx="4950">
                        <c:v>0</c:v>
                      </c:pt>
                      <c:pt idx="4951">
                        <c:v>0</c:v>
                      </c:pt>
                      <c:pt idx="4952">
                        <c:v>0</c:v>
                      </c:pt>
                      <c:pt idx="4953">
                        <c:v>0</c:v>
                      </c:pt>
                      <c:pt idx="4954">
                        <c:v>0</c:v>
                      </c:pt>
                      <c:pt idx="4955">
                        <c:v>0</c:v>
                      </c:pt>
                      <c:pt idx="4956">
                        <c:v>0</c:v>
                      </c:pt>
                      <c:pt idx="4957">
                        <c:v>0</c:v>
                      </c:pt>
                      <c:pt idx="4958">
                        <c:v>0</c:v>
                      </c:pt>
                      <c:pt idx="4959">
                        <c:v>0</c:v>
                      </c:pt>
                      <c:pt idx="4960">
                        <c:v>0</c:v>
                      </c:pt>
                      <c:pt idx="4961">
                        <c:v>0</c:v>
                      </c:pt>
                      <c:pt idx="4962">
                        <c:v>0</c:v>
                      </c:pt>
                      <c:pt idx="4963">
                        <c:v>0</c:v>
                      </c:pt>
                      <c:pt idx="4964">
                        <c:v>0</c:v>
                      </c:pt>
                      <c:pt idx="4965">
                        <c:v>0</c:v>
                      </c:pt>
                      <c:pt idx="4966">
                        <c:v>0</c:v>
                      </c:pt>
                      <c:pt idx="4967">
                        <c:v>0</c:v>
                      </c:pt>
                      <c:pt idx="4968">
                        <c:v>0</c:v>
                      </c:pt>
                      <c:pt idx="4969">
                        <c:v>0</c:v>
                      </c:pt>
                      <c:pt idx="4970">
                        <c:v>0</c:v>
                      </c:pt>
                      <c:pt idx="4971">
                        <c:v>0</c:v>
                      </c:pt>
                      <c:pt idx="4972">
                        <c:v>0</c:v>
                      </c:pt>
                      <c:pt idx="4973">
                        <c:v>0</c:v>
                      </c:pt>
                      <c:pt idx="4974">
                        <c:v>0</c:v>
                      </c:pt>
                      <c:pt idx="4975">
                        <c:v>0</c:v>
                      </c:pt>
                      <c:pt idx="4976">
                        <c:v>0</c:v>
                      </c:pt>
                      <c:pt idx="4977">
                        <c:v>0</c:v>
                      </c:pt>
                      <c:pt idx="4978">
                        <c:v>0</c:v>
                      </c:pt>
                      <c:pt idx="4979">
                        <c:v>0</c:v>
                      </c:pt>
                      <c:pt idx="4980">
                        <c:v>0</c:v>
                      </c:pt>
                      <c:pt idx="4981">
                        <c:v>0</c:v>
                      </c:pt>
                      <c:pt idx="4982">
                        <c:v>0</c:v>
                      </c:pt>
                      <c:pt idx="4983">
                        <c:v>0</c:v>
                      </c:pt>
                      <c:pt idx="4984">
                        <c:v>0</c:v>
                      </c:pt>
                      <c:pt idx="4985">
                        <c:v>0</c:v>
                      </c:pt>
                      <c:pt idx="4986">
                        <c:v>0</c:v>
                      </c:pt>
                      <c:pt idx="4987">
                        <c:v>0</c:v>
                      </c:pt>
                      <c:pt idx="4988">
                        <c:v>0</c:v>
                      </c:pt>
                      <c:pt idx="4989">
                        <c:v>0</c:v>
                      </c:pt>
                      <c:pt idx="4990">
                        <c:v>0</c:v>
                      </c:pt>
                      <c:pt idx="4991">
                        <c:v>0</c:v>
                      </c:pt>
                      <c:pt idx="4992">
                        <c:v>0</c:v>
                      </c:pt>
                      <c:pt idx="4993">
                        <c:v>0</c:v>
                      </c:pt>
                      <c:pt idx="4994">
                        <c:v>0</c:v>
                      </c:pt>
                      <c:pt idx="4995">
                        <c:v>0</c:v>
                      </c:pt>
                      <c:pt idx="4996">
                        <c:v>0</c:v>
                      </c:pt>
                      <c:pt idx="4997">
                        <c:v>0</c:v>
                      </c:pt>
                      <c:pt idx="4998">
                        <c:v>0</c:v>
                      </c:pt>
                      <c:pt idx="4999">
                        <c:v>0</c:v>
                      </c:pt>
                      <c:pt idx="5000">
                        <c:v>0</c:v>
                      </c:pt>
                      <c:pt idx="5001">
                        <c:v>0</c:v>
                      </c:pt>
                      <c:pt idx="5002">
                        <c:v>0</c:v>
                      </c:pt>
                      <c:pt idx="5003">
                        <c:v>0</c:v>
                      </c:pt>
                      <c:pt idx="5004">
                        <c:v>0</c:v>
                      </c:pt>
                      <c:pt idx="5005">
                        <c:v>0</c:v>
                      </c:pt>
                      <c:pt idx="5006">
                        <c:v>0</c:v>
                      </c:pt>
                      <c:pt idx="5007">
                        <c:v>0</c:v>
                      </c:pt>
                      <c:pt idx="5008">
                        <c:v>0</c:v>
                      </c:pt>
                      <c:pt idx="5009">
                        <c:v>0</c:v>
                      </c:pt>
                      <c:pt idx="5010">
                        <c:v>0</c:v>
                      </c:pt>
                      <c:pt idx="5011">
                        <c:v>0</c:v>
                      </c:pt>
                      <c:pt idx="5012">
                        <c:v>0</c:v>
                      </c:pt>
                      <c:pt idx="5013">
                        <c:v>0</c:v>
                      </c:pt>
                      <c:pt idx="5014">
                        <c:v>0</c:v>
                      </c:pt>
                      <c:pt idx="5015">
                        <c:v>0</c:v>
                      </c:pt>
                      <c:pt idx="5016">
                        <c:v>0</c:v>
                      </c:pt>
                      <c:pt idx="5017">
                        <c:v>0</c:v>
                      </c:pt>
                      <c:pt idx="5018">
                        <c:v>0</c:v>
                      </c:pt>
                      <c:pt idx="5019">
                        <c:v>0</c:v>
                      </c:pt>
                      <c:pt idx="5020">
                        <c:v>0</c:v>
                      </c:pt>
                      <c:pt idx="5021">
                        <c:v>0</c:v>
                      </c:pt>
                      <c:pt idx="5022">
                        <c:v>0</c:v>
                      </c:pt>
                      <c:pt idx="5023">
                        <c:v>0</c:v>
                      </c:pt>
                      <c:pt idx="5024">
                        <c:v>0</c:v>
                      </c:pt>
                      <c:pt idx="5025">
                        <c:v>0</c:v>
                      </c:pt>
                      <c:pt idx="5026">
                        <c:v>0</c:v>
                      </c:pt>
                      <c:pt idx="5027">
                        <c:v>0</c:v>
                      </c:pt>
                      <c:pt idx="5028">
                        <c:v>0</c:v>
                      </c:pt>
                      <c:pt idx="5029">
                        <c:v>0</c:v>
                      </c:pt>
                      <c:pt idx="5030">
                        <c:v>0</c:v>
                      </c:pt>
                      <c:pt idx="5031">
                        <c:v>0</c:v>
                      </c:pt>
                      <c:pt idx="5032">
                        <c:v>0</c:v>
                      </c:pt>
                      <c:pt idx="5033">
                        <c:v>0</c:v>
                      </c:pt>
                      <c:pt idx="5034">
                        <c:v>0</c:v>
                      </c:pt>
                      <c:pt idx="5035">
                        <c:v>0</c:v>
                      </c:pt>
                      <c:pt idx="5036">
                        <c:v>0</c:v>
                      </c:pt>
                      <c:pt idx="5037">
                        <c:v>0</c:v>
                      </c:pt>
                      <c:pt idx="5038">
                        <c:v>0</c:v>
                      </c:pt>
                      <c:pt idx="5039">
                        <c:v>0</c:v>
                      </c:pt>
                      <c:pt idx="5040">
                        <c:v>0</c:v>
                      </c:pt>
                      <c:pt idx="5041">
                        <c:v>0</c:v>
                      </c:pt>
                      <c:pt idx="5042">
                        <c:v>0</c:v>
                      </c:pt>
                      <c:pt idx="5043">
                        <c:v>0</c:v>
                      </c:pt>
                      <c:pt idx="5044">
                        <c:v>0</c:v>
                      </c:pt>
                      <c:pt idx="5045">
                        <c:v>0</c:v>
                      </c:pt>
                      <c:pt idx="5046">
                        <c:v>0</c:v>
                      </c:pt>
                      <c:pt idx="5047">
                        <c:v>0</c:v>
                      </c:pt>
                      <c:pt idx="5048">
                        <c:v>0</c:v>
                      </c:pt>
                      <c:pt idx="5049">
                        <c:v>0</c:v>
                      </c:pt>
                      <c:pt idx="5050">
                        <c:v>0</c:v>
                      </c:pt>
                      <c:pt idx="5051">
                        <c:v>0</c:v>
                      </c:pt>
                      <c:pt idx="5052">
                        <c:v>0</c:v>
                      </c:pt>
                      <c:pt idx="5053">
                        <c:v>0</c:v>
                      </c:pt>
                      <c:pt idx="5054">
                        <c:v>0</c:v>
                      </c:pt>
                      <c:pt idx="5055">
                        <c:v>0</c:v>
                      </c:pt>
                      <c:pt idx="5056">
                        <c:v>0</c:v>
                      </c:pt>
                      <c:pt idx="5057">
                        <c:v>0</c:v>
                      </c:pt>
                      <c:pt idx="5058">
                        <c:v>0</c:v>
                      </c:pt>
                      <c:pt idx="5059">
                        <c:v>0</c:v>
                      </c:pt>
                      <c:pt idx="5060">
                        <c:v>0</c:v>
                      </c:pt>
                      <c:pt idx="5061">
                        <c:v>0</c:v>
                      </c:pt>
                      <c:pt idx="5062">
                        <c:v>0</c:v>
                      </c:pt>
                      <c:pt idx="5063">
                        <c:v>0</c:v>
                      </c:pt>
                      <c:pt idx="5064">
                        <c:v>0</c:v>
                      </c:pt>
                      <c:pt idx="5065">
                        <c:v>0</c:v>
                      </c:pt>
                      <c:pt idx="5066">
                        <c:v>0</c:v>
                      </c:pt>
                      <c:pt idx="5067">
                        <c:v>0</c:v>
                      </c:pt>
                      <c:pt idx="5068">
                        <c:v>0</c:v>
                      </c:pt>
                      <c:pt idx="5069">
                        <c:v>0</c:v>
                      </c:pt>
                      <c:pt idx="5070">
                        <c:v>0</c:v>
                      </c:pt>
                      <c:pt idx="5071">
                        <c:v>0</c:v>
                      </c:pt>
                      <c:pt idx="5072">
                        <c:v>0</c:v>
                      </c:pt>
                      <c:pt idx="5073">
                        <c:v>0</c:v>
                      </c:pt>
                      <c:pt idx="5074">
                        <c:v>0</c:v>
                      </c:pt>
                      <c:pt idx="5075">
                        <c:v>0</c:v>
                      </c:pt>
                      <c:pt idx="5076">
                        <c:v>0</c:v>
                      </c:pt>
                      <c:pt idx="5077">
                        <c:v>0</c:v>
                      </c:pt>
                      <c:pt idx="5078">
                        <c:v>0</c:v>
                      </c:pt>
                      <c:pt idx="5079">
                        <c:v>0</c:v>
                      </c:pt>
                      <c:pt idx="5080">
                        <c:v>0</c:v>
                      </c:pt>
                      <c:pt idx="5081">
                        <c:v>0</c:v>
                      </c:pt>
                      <c:pt idx="5082">
                        <c:v>0</c:v>
                      </c:pt>
                      <c:pt idx="5083">
                        <c:v>0</c:v>
                      </c:pt>
                      <c:pt idx="5084">
                        <c:v>0</c:v>
                      </c:pt>
                      <c:pt idx="5085">
                        <c:v>0</c:v>
                      </c:pt>
                      <c:pt idx="5086">
                        <c:v>0</c:v>
                      </c:pt>
                      <c:pt idx="5087">
                        <c:v>0</c:v>
                      </c:pt>
                      <c:pt idx="5088">
                        <c:v>0</c:v>
                      </c:pt>
                      <c:pt idx="5089">
                        <c:v>0</c:v>
                      </c:pt>
                      <c:pt idx="5090">
                        <c:v>0</c:v>
                      </c:pt>
                      <c:pt idx="5091">
                        <c:v>0</c:v>
                      </c:pt>
                      <c:pt idx="5092">
                        <c:v>0</c:v>
                      </c:pt>
                      <c:pt idx="5093">
                        <c:v>0</c:v>
                      </c:pt>
                      <c:pt idx="5094">
                        <c:v>0</c:v>
                      </c:pt>
                      <c:pt idx="5095">
                        <c:v>0</c:v>
                      </c:pt>
                      <c:pt idx="5096">
                        <c:v>0</c:v>
                      </c:pt>
                      <c:pt idx="5097">
                        <c:v>0</c:v>
                      </c:pt>
                      <c:pt idx="5098">
                        <c:v>0</c:v>
                      </c:pt>
                      <c:pt idx="5099">
                        <c:v>0</c:v>
                      </c:pt>
                      <c:pt idx="5100">
                        <c:v>0</c:v>
                      </c:pt>
                      <c:pt idx="5101">
                        <c:v>0</c:v>
                      </c:pt>
                      <c:pt idx="5102">
                        <c:v>0</c:v>
                      </c:pt>
                      <c:pt idx="5103">
                        <c:v>0</c:v>
                      </c:pt>
                      <c:pt idx="5104">
                        <c:v>0</c:v>
                      </c:pt>
                      <c:pt idx="5105">
                        <c:v>0</c:v>
                      </c:pt>
                      <c:pt idx="5106">
                        <c:v>0</c:v>
                      </c:pt>
                      <c:pt idx="5107">
                        <c:v>0</c:v>
                      </c:pt>
                      <c:pt idx="5108">
                        <c:v>0</c:v>
                      </c:pt>
                      <c:pt idx="5109">
                        <c:v>0</c:v>
                      </c:pt>
                      <c:pt idx="5110">
                        <c:v>0</c:v>
                      </c:pt>
                      <c:pt idx="5111">
                        <c:v>0</c:v>
                      </c:pt>
                      <c:pt idx="5112">
                        <c:v>0</c:v>
                      </c:pt>
                      <c:pt idx="5113">
                        <c:v>0</c:v>
                      </c:pt>
                      <c:pt idx="5114">
                        <c:v>0</c:v>
                      </c:pt>
                      <c:pt idx="5115">
                        <c:v>0</c:v>
                      </c:pt>
                      <c:pt idx="5116">
                        <c:v>0</c:v>
                      </c:pt>
                      <c:pt idx="5117">
                        <c:v>0</c:v>
                      </c:pt>
                      <c:pt idx="5118">
                        <c:v>0</c:v>
                      </c:pt>
                      <c:pt idx="5119">
                        <c:v>0</c:v>
                      </c:pt>
                      <c:pt idx="5120">
                        <c:v>0</c:v>
                      </c:pt>
                      <c:pt idx="5121">
                        <c:v>0</c:v>
                      </c:pt>
                      <c:pt idx="5122">
                        <c:v>0</c:v>
                      </c:pt>
                      <c:pt idx="5123">
                        <c:v>0</c:v>
                      </c:pt>
                      <c:pt idx="5124">
                        <c:v>0</c:v>
                      </c:pt>
                      <c:pt idx="5125">
                        <c:v>0</c:v>
                      </c:pt>
                      <c:pt idx="5126">
                        <c:v>0</c:v>
                      </c:pt>
                      <c:pt idx="5127">
                        <c:v>0</c:v>
                      </c:pt>
                      <c:pt idx="5128">
                        <c:v>0</c:v>
                      </c:pt>
                      <c:pt idx="5129">
                        <c:v>0</c:v>
                      </c:pt>
                      <c:pt idx="5130">
                        <c:v>0</c:v>
                      </c:pt>
                      <c:pt idx="5131">
                        <c:v>0</c:v>
                      </c:pt>
                      <c:pt idx="5132">
                        <c:v>0</c:v>
                      </c:pt>
                      <c:pt idx="5133">
                        <c:v>0</c:v>
                      </c:pt>
                      <c:pt idx="5134">
                        <c:v>0</c:v>
                      </c:pt>
                      <c:pt idx="5135">
                        <c:v>0</c:v>
                      </c:pt>
                      <c:pt idx="5136">
                        <c:v>0</c:v>
                      </c:pt>
                      <c:pt idx="5137">
                        <c:v>0</c:v>
                      </c:pt>
                      <c:pt idx="5138">
                        <c:v>0</c:v>
                      </c:pt>
                      <c:pt idx="5139">
                        <c:v>0</c:v>
                      </c:pt>
                      <c:pt idx="5140">
                        <c:v>0</c:v>
                      </c:pt>
                      <c:pt idx="5141">
                        <c:v>0</c:v>
                      </c:pt>
                      <c:pt idx="5142">
                        <c:v>0</c:v>
                      </c:pt>
                      <c:pt idx="5143">
                        <c:v>0</c:v>
                      </c:pt>
                      <c:pt idx="5144">
                        <c:v>0</c:v>
                      </c:pt>
                      <c:pt idx="5145">
                        <c:v>0</c:v>
                      </c:pt>
                      <c:pt idx="5146">
                        <c:v>0</c:v>
                      </c:pt>
                      <c:pt idx="5147">
                        <c:v>0</c:v>
                      </c:pt>
                      <c:pt idx="5148">
                        <c:v>0</c:v>
                      </c:pt>
                      <c:pt idx="5149">
                        <c:v>0</c:v>
                      </c:pt>
                      <c:pt idx="5150">
                        <c:v>0</c:v>
                      </c:pt>
                      <c:pt idx="5151">
                        <c:v>0</c:v>
                      </c:pt>
                      <c:pt idx="5152">
                        <c:v>0</c:v>
                      </c:pt>
                      <c:pt idx="5153">
                        <c:v>0</c:v>
                      </c:pt>
                      <c:pt idx="5154">
                        <c:v>0</c:v>
                      </c:pt>
                      <c:pt idx="5155">
                        <c:v>0</c:v>
                      </c:pt>
                      <c:pt idx="5156">
                        <c:v>0</c:v>
                      </c:pt>
                      <c:pt idx="5157">
                        <c:v>0</c:v>
                      </c:pt>
                      <c:pt idx="5158">
                        <c:v>0</c:v>
                      </c:pt>
                      <c:pt idx="5159">
                        <c:v>0</c:v>
                      </c:pt>
                      <c:pt idx="5160">
                        <c:v>0</c:v>
                      </c:pt>
                      <c:pt idx="5161">
                        <c:v>0</c:v>
                      </c:pt>
                      <c:pt idx="5162">
                        <c:v>0</c:v>
                      </c:pt>
                      <c:pt idx="5163">
                        <c:v>0</c:v>
                      </c:pt>
                      <c:pt idx="5164">
                        <c:v>0</c:v>
                      </c:pt>
                      <c:pt idx="5165">
                        <c:v>0</c:v>
                      </c:pt>
                      <c:pt idx="5166">
                        <c:v>0</c:v>
                      </c:pt>
                      <c:pt idx="5167">
                        <c:v>0</c:v>
                      </c:pt>
                      <c:pt idx="5168">
                        <c:v>0</c:v>
                      </c:pt>
                      <c:pt idx="5169">
                        <c:v>0</c:v>
                      </c:pt>
                      <c:pt idx="5170">
                        <c:v>0</c:v>
                      </c:pt>
                      <c:pt idx="5171">
                        <c:v>0</c:v>
                      </c:pt>
                      <c:pt idx="5172">
                        <c:v>0</c:v>
                      </c:pt>
                      <c:pt idx="5173">
                        <c:v>0</c:v>
                      </c:pt>
                      <c:pt idx="5174">
                        <c:v>0</c:v>
                      </c:pt>
                      <c:pt idx="5175">
                        <c:v>0</c:v>
                      </c:pt>
                      <c:pt idx="5176">
                        <c:v>0</c:v>
                      </c:pt>
                      <c:pt idx="5177">
                        <c:v>0</c:v>
                      </c:pt>
                      <c:pt idx="5178">
                        <c:v>0</c:v>
                      </c:pt>
                      <c:pt idx="5179">
                        <c:v>0</c:v>
                      </c:pt>
                      <c:pt idx="5180">
                        <c:v>0</c:v>
                      </c:pt>
                      <c:pt idx="5181">
                        <c:v>0</c:v>
                      </c:pt>
                      <c:pt idx="5182">
                        <c:v>0</c:v>
                      </c:pt>
                      <c:pt idx="5183">
                        <c:v>0</c:v>
                      </c:pt>
                      <c:pt idx="5184">
                        <c:v>0</c:v>
                      </c:pt>
                      <c:pt idx="5185">
                        <c:v>0</c:v>
                      </c:pt>
                      <c:pt idx="5186">
                        <c:v>0</c:v>
                      </c:pt>
                      <c:pt idx="5187">
                        <c:v>0</c:v>
                      </c:pt>
                      <c:pt idx="5188">
                        <c:v>0</c:v>
                      </c:pt>
                      <c:pt idx="5189">
                        <c:v>0</c:v>
                      </c:pt>
                      <c:pt idx="5190">
                        <c:v>0</c:v>
                      </c:pt>
                      <c:pt idx="5191">
                        <c:v>0</c:v>
                      </c:pt>
                      <c:pt idx="5192">
                        <c:v>5.4341421999999997E-4</c:v>
                      </c:pt>
                      <c:pt idx="5193">
                        <c:v>7.2444365999999993E-4</c:v>
                      </c:pt>
                      <c:pt idx="5194">
                        <c:v>2.6085873999999996E-3</c:v>
                      </c:pt>
                      <c:pt idx="5195">
                        <c:v>5.2510487999999998E-3</c:v>
                      </c:pt>
                      <c:pt idx="5196">
                        <c:v>7.8226300800000002E-3</c:v>
                      </c:pt>
                      <c:pt idx="5197">
                        <c:v>8.9436221900000001E-3</c:v>
                      </c:pt>
                      <c:pt idx="5198">
                        <c:v>1.013860844E-2</c:v>
                      </c:pt>
                      <c:pt idx="5199">
                        <c:v>1.691029371E-2</c:v>
                      </c:pt>
                      <c:pt idx="5200">
                        <c:v>1.730881557E-2</c:v>
                      </c:pt>
                      <c:pt idx="5201">
                        <c:v>1.7961238519999999E-2</c:v>
                      </c:pt>
                      <c:pt idx="5202">
                        <c:v>1.7995981549999998E-2</c:v>
                      </c:pt>
                      <c:pt idx="5203">
                        <c:v>1.8032969560000001E-2</c:v>
                      </c:pt>
                      <c:pt idx="5204">
                        <c:v>1.8068853190000001E-2</c:v>
                      </c:pt>
                      <c:pt idx="5205">
                        <c:v>1.810640245E-2</c:v>
                      </c:pt>
                      <c:pt idx="5206">
                        <c:v>1.8142286069999999E-2</c:v>
                      </c:pt>
                      <c:pt idx="5207">
                        <c:v>1.8177590340000001E-2</c:v>
                      </c:pt>
                      <c:pt idx="5208">
                        <c:v>1.8250733549999999E-2</c:v>
                      </c:pt>
                      <c:pt idx="5209">
                        <c:v>1.8286327499999998E-2</c:v>
                      </c:pt>
                      <c:pt idx="5210">
                        <c:v>1.8359760379999999E-2</c:v>
                      </c:pt>
                      <c:pt idx="5211">
                        <c:v>1.8395064660000002E-2</c:v>
                      </c:pt>
                      <c:pt idx="5212">
                        <c:v>1.8430930179999999E-2</c:v>
                      </c:pt>
                      <c:pt idx="5213">
                        <c:v>1.846849754E-2</c:v>
                      </c:pt>
                      <c:pt idx="5214">
                        <c:v>1.853966734E-2</c:v>
                      </c:pt>
                      <c:pt idx="5215">
                        <c:v>1.861197773E-2</c:v>
                      </c:pt>
                      <c:pt idx="5216">
                        <c:v>1.8649526990000002E-2</c:v>
                      </c:pt>
                      <c:pt idx="5217">
                        <c:v>1.8794147770000002E-2</c:v>
                      </c:pt>
                      <c:pt idx="5218">
                        <c:v>1.8865027879999999E-2</c:v>
                      </c:pt>
                      <c:pt idx="5219">
                        <c:v>1.8902884929999999E-2</c:v>
                      </c:pt>
                      <c:pt idx="5220">
                        <c:v>1.89381892E-2</c:v>
                      </c:pt>
                      <c:pt idx="5221">
                        <c:v>1.919265153E-2</c:v>
                      </c:pt>
                      <c:pt idx="5222">
                        <c:v>1.9228535160000001E-2</c:v>
                      </c:pt>
                      <c:pt idx="5223">
                        <c:v>1.9263839429999999E-2</c:v>
                      </c:pt>
                      <c:pt idx="5224">
                        <c:v>1.9300827439999998E-2</c:v>
                      </c:pt>
                      <c:pt idx="5225">
                        <c:v>1.930732705E-2</c:v>
                      </c:pt>
                      <c:pt idx="5226">
                        <c:v>1.933727231E-2</c:v>
                      </c:pt>
                      <c:pt idx="5227">
                        <c:v>1.9372576589999999E-2</c:v>
                      </c:pt>
                      <c:pt idx="5228">
                        <c:v>1.9408152430000002E-2</c:v>
                      </c:pt>
                      <c:pt idx="5229">
                        <c:v>1.9446009470000001E-2</c:v>
                      </c:pt>
                      <c:pt idx="5230">
                        <c:v>1.948131375E-2</c:v>
                      </c:pt>
                      <c:pt idx="5231">
                        <c:v>1.951717926E-2</c:v>
                      </c:pt>
                      <c:pt idx="5232">
                        <c:v>1.9554746629999998E-2</c:v>
                      </c:pt>
                      <c:pt idx="5233">
                        <c:v>1.9590612149999999E-2</c:v>
                      </c:pt>
                      <c:pt idx="5234">
                        <c:v>1.9626206100000002E-2</c:v>
                      </c:pt>
                      <c:pt idx="5235">
                        <c:v>1.9735776069999999E-2</c:v>
                      </c:pt>
                      <c:pt idx="5236">
                        <c:v>1.9771659699999999E-2</c:v>
                      </c:pt>
                      <c:pt idx="5237">
                        <c:v>1.9806963970000001E-2</c:v>
                      </c:pt>
                      <c:pt idx="5238">
                        <c:v>1.9850451589999998E-2</c:v>
                      </c:pt>
                      <c:pt idx="5239">
                        <c:v>1.9915701130000001E-2</c:v>
                      </c:pt>
                      <c:pt idx="5240">
                        <c:v>1.9951276970000001E-2</c:v>
                      </c:pt>
                      <c:pt idx="5241">
                        <c:v>2.0241622929999998E-2</c:v>
                      </c:pt>
                      <c:pt idx="5242">
                        <c:v>2.0314784239999998E-2</c:v>
                      </c:pt>
                      <c:pt idx="5243">
                        <c:v>2.0350360090000002E-2</c:v>
                      </c:pt>
                      <c:pt idx="5244">
                        <c:v>2.0393576140000001E-2</c:v>
                      </c:pt>
                      <c:pt idx="5245">
                        <c:v>2.0640995719999999E-2</c:v>
                      </c:pt>
                      <c:pt idx="5246">
                        <c:v>2.0936700680000003E-2</c:v>
                      </c:pt>
                      <c:pt idx="5247">
                        <c:v>2.1038087309999998E-2</c:v>
                      </c:pt>
                      <c:pt idx="5248">
                        <c:v>2.1110687370000002E-2</c:v>
                      </c:pt>
                      <c:pt idx="5249">
                        <c:v>2.1182418410000001E-2</c:v>
                      </c:pt>
                      <c:pt idx="5250">
                        <c:v>2.1436609169999999E-2</c:v>
                      </c:pt>
                      <c:pt idx="5251">
                        <c:v>2.1479825219999998E-2</c:v>
                      </c:pt>
                      <c:pt idx="5252">
                        <c:v>2.1689949E-2</c:v>
                      </c:pt>
                      <c:pt idx="5253">
                        <c:v>2.1725542949999999E-2</c:v>
                      </c:pt>
                      <c:pt idx="5254">
                        <c:v>2.1763110320000001E-2</c:v>
                      </c:pt>
                      <c:pt idx="5255">
                        <c:v>2.179870427E-2</c:v>
                      </c:pt>
                      <c:pt idx="5256">
                        <c:v>2.1834841360000003E-2</c:v>
                      </c:pt>
                      <c:pt idx="5257">
                        <c:v>2.1870996550000001E-2</c:v>
                      </c:pt>
                      <c:pt idx="5258">
                        <c:v>2.19065905E-2</c:v>
                      </c:pt>
                      <c:pt idx="5259">
                        <c:v>2.202294976E-2</c:v>
                      </c:pt>
                      <c:pt idx="5260">
                        <c:v>2.219693646E-2</c:v>
                      </c:pt>
                      <c:pt idx="5261">
                        <c:v>2.2377965899999998E-2</c:v>
                      </c:pt>
                      <c:pt idx="5262">
                        <c:v>2.2414121100000003E-2</c:v>
                      </c:pt>
                      <c:pt idx="5263">
                        <c:v>2.2453390309999998E-2</c:v>
                      </c:pt>
                      <c:pt idx="5264">
                        <c:v>2.2559864369999998E-2</c:v>
                      </c:pt>
                      <c:pt idx="5265">
                        <c:v>2.2566074299999999E-2</c:v>
                      </c:pt>
                      <c:pt idx="5266">
                        <c:v>2.259601957E-2</c:v>
                      </c:pt>
                      <c:pt idx="5267">
                        <c:v>2.26688731E-2</c:v>
                      </c:pt>
                      <c:pt idx="5268">
                        <c:v>2.2740332570000001E-2</c:v>
                      </c:pt>
                      <c:pt idx="5269">
                        <c:v>2.2884935249999998E-2</c:v>
                      </c:pt>
                      <c:pt idx="5270">
                        <c:v>2.3102988920000001E-2</c:v>
                      </c:pt>
                      <c:pt idx="5271">
                        <c:v>2.3109198850000002E-2</c:v>
                      </c:pt>
                      <c:pt idx="5272">
                        <c:v>2.3139144109999999E-2</c:v>
                      </c:pt>
                      <c:pt idx="5273">
                        <c:v>2.317471996E-2</c:v>
                      </c:pt>
                      <c:pt idx="5274">
                        <c:v>2.3247881270000003E-2</c:v>
                      </c:pt>
                      <c:pt idx="5275">
                        <c:v>2.3283185540000001E-2</c:v>
                      </c:pt>
                      <c:pt idx="5276">
                        <c:v>2.331932263E-2</c:v>
                      </c:pt>
                      <c:pt idx="5277">
                        <c:v>2.3356889999999998E-2</c:v>
                      </c:pt>
                      <c:pt idx="5278">
                        <c:v>4.3085633779999993E-2</c:v>
                      </c:pt>
                      <c:pt idx="5279">
                        <c:v>6.2804340920000007E-2</c:v>
                      </c:pt>
                      <c:pt idx="5280">
                        <c:v>8.2844167629999993E-2</c:v>
                      </c:pt>
                      <c:pt idx="5281">
                        <c:v>0.1028839943</c:v>
                      </c:pt>
                      <c:pt idx="5282">
                        <c:v>0.16315399999999999</c:v>
                      </c:pt>
                      <c:pt idx="5283">
                        <c:v>0.19208345869999999</c:v>
                      </c:pt>
                      <c:pt idx="5284">
                        <c:v>0.19693806229999999</c:v>
                      </c:pt>
                      <c:pt idx="5285">
                        <c:v>0.33295181360000004</c:v>
                      </c:pt>
                      <c:pt idx="5286">
                        <c:v>0.36120191320000006</c:v>
                      </c:pt>
                      <c:pt idx="5287">
                        <c:v>0.58796698660000002</c:v>
                      </c:pt>
                      <c:pt idx="5288">
                        <c:v>0.61666999119999999</c:v>
                      </c:pt>
                      <c:pt idx="5289">
                        <c:v>0.64493424320000003</c:v>
                      </c:pt>
                      <c:pt idx="5290">
                        <c:v>0.67253328839999993</c:v>
                      </c:pt>
                      <c:pt idx="5291">
                        <c:v>0.78578844570000006</c:v>
                      </c:pt>
                      <c:pt idx="5292">
                        <c:v>0.84298215639999996</c:v>
                      </c:pt>
                      <c:pt idx="5293">
                        <c:v>0.8707935</c:v>
                      </c:pt>
                      <c:pt idx="5294">
                        <c:v>0.86997448039999992</c:v>
                      </c:pt>
                      <c:pt idx="5295">
                        <c:v>0.86986073580000001</c:v>
                      </c:pt>
                      <c:pt idx="5296">
                        <c:v>0.86962414700000001</c:v>
                      </c:pt>
                      <c:pt idx="5297">
                        <c:v>0.86951040239999999</c:v>
                      </c:pt>
                      <c:pt idx="5298">
                        <c:v>0.8693939745999999</c:v>
                      </c:pt>
                      <c:pt idx="5299">
                        <c:v>0.8692729387</c:v>
                      </c:pt>
                      <c:pt idx="5300">
                        <c:v>0.86904364119999999</c:v>
                      </c:pt>
                      <c:pt idx="5301">
                        <c:v>0.86881066890000003</c:v>
                      </c:pt>
                      <c:pt idx="5302">
                        <c:v>0.86834110780000007</c:v>
                      </c:pt>
                      <c:pt idx="5303">
                        <c:v>0.86822462160000002</c:v>
                      </c:pt>
                      <c:pt idx="5304">
                        <c:v>0.86811000199999999</c:v>
                      </c:pt>
                      <c:pt idx="5305">
                        <c:v>0.86799444920000002</c:v>
                      </c:pt>
                      <c:pt idx="5306">
                        <c:v>0.86776054359999999</c:v>
                      </c:pt>
                      <c:pt idx="5307">
                        <c:v>0.86694432389999998</c:v>
                      </c:pt>
                      <c:pt idx="5308">
                        <c:v>0.86682422130000003</c:v>
                      </c:pt>
                      <c:pt idx="5309">
                        <c:v>0.86647476280000002</c:v>
                      </c:pt>
                      <c:pt idx="5310">
                        <c:v>0.86624459040000001</c:v>
                      </c:pt>
                      <c:pt idx="5311">
                        <c:v>0.8661244293999999</c:v>
                      </c:pt>
                      <c:pt idx="5312">
                        <c:v>0.86600980979999997</c:v>
                      </c:pt>
                      <c:pt idx="5313">
                        <c:v>0.86589425689999999</c:v>
                      </c:pt>
                      <c:pt idx="5314">
                        <c:v>0.86577777080000007</c:v>
                      </c:pt>
                      <c:pt idx="5315">
                        <c:v>0.8656576681</c:v>
                      </c:pt>
                      <c:pt idx="5316">
                        <c:v>0.86554299020000003</c:v>
                      </c:pt>
                      <c:pt idx="5317">
                        <c:v>0.86472490400000002</c:v>
                      </c:pt>
                      <c:pt idx="5318">
                        <c:v>0.8646111594</c:v>
                      </c:pt>
                      <c:pt idx="5319">
                        <c:v>0.86425995099999997</c:v>
                      </c:pt>
                      <c:pt idx="5320">
                        <c:v>0.86402791199999995</c:v>
                      </c:pt>
                      <c:pt idx="5321">
                        <c:v>0.86390780930000011</c:v>
                      </c:pt>
                      <c:pt idx="5322">
                        <c:v>0.86379313139999991</c:v>
                      </c:pt>
                      <c:pt idx="5323">
                        <c:v>0.86367664529999999</c:v>
                      </c:pt>
                      <c:pt idx="5324">
                        <c:v>0.8635610923999999</c:v>
                      </c:pt>
                      <c:pt idx="5325">
                        <c:v>0.86321075899999999</c:v>
                      </c:pt>
                      <c:pt idx="5326">
                        <c:v>0.86309153129999994</c:v>
                      </c:pt>
                      <c:pt idx="5327">
                        <c:v>0.8629750451</c:v>
                      </c:pt>
                      <c:pt idx="5328">
                        <c:v>0.86262471169999999</c:v>
                      </c:pt>
                      <c:pt idx="5329">
                        <c:v>0.86239453929999998</c:v>
                      </c:pt>
                      <c:pt idx="5330">
                        <c:v>0.8621588255</c:v>
                      </c:pt>
                      <c:pt idx="5331">
                        <c:v>0.8618112336</c:v>
                      </c:pt>
                      <c:pt idx="5332">
                        <c:v>0.86146090019999999</c:v>
                      </c:pt>
                      <c:pt idx="5333">
                        <c:v>0.86134167250000004</c:v>
                      </c:pt>
                      <c:pt idx="5334">
                        <c:v>0.86132166510000008</c:v>
                      </c:pt>
                      <c:pt idx="5335">
                        <c:v>0.86087485289999999</c:v>
                      </c:pt>
                      <c:pt idx="5336">
                        <c:v>0.86076023329999996</c:v>
                      </c:pt>
                      <c:pt idx="5337">
                        <c:v>0.86064468049999998</c:v>
                      </c:pt>
                      <c:pt idx="5338">
                        <c:v>0.86052364449999996</c:v>
                      </c:pt>
                      <c:pt idx="5339">
                        <c:v>0.86040896659999999</c:v>
                      </c:pt>
                      <c:pt idx="5340">
                        <c:v>0.85959181369999993</c:v>
                      </c:pt>
                      <c:pt idx="5341">
                        <c:v>0.85957180629999996</c:v>
                      </c:pt>
                      <c:pt idx="5342">
                        <c:v>0.85947532749999989</c:v>
                      </c:pt>
                      <c:pt idx="5343">
                        <c:v>0.85936158289999998</c:v>
                      </c:pt>
                      <c:pt idx="5344">
                        <c:v>0.85889482169999998</c:v>
                      </c:pt>
                      <c:pt idx="5345">
                        <c:v>0.85877378570000007</c:v>
                      </c:pt>
                      <c:pt idx="5346">
                        <c:v>0.85865823289999998</c:v>
                      </c:pt>
                      <c:pt idx="5347">
                        <c:v>0.85854448829999996</c:v>
                      </c:pt>
                      <c:pt idx="5348">
                        <c:v>0.85819047999999998</c:v>
                      </c:pt>
                      <c:pt idx="5349">
                        <c:v>0.85807492710000011</c:v>
                      </c:pt>
                      <c:pt idx="5350">
                        <c:v>0.85796118250000009</c:v>
                      </c:pt>
                      <c:pt idx="5351">
                        <c:v>0.85784195479999992</c:v>
                      </c:pt>
                      <c:pt idx="5352">
                        <c:v>0.85782107249999995</c:v>
                      </c:pt>
                      <c:pt idx="5353">
                        <c:v>0.85772546869999999</c:v>
                      </c:pt>
                      <c:pt idx="5354">
                        <c:v>0.85761172409999997</c:v>
                      </c:pt>
                      <c:pt idx="5355">
                        <c:v>0.85749617119999999</c:v>
                      </c:pt>
                      <c:pt idx="5356">
                        <c:v>0.85737513529999998</c:v>
                      </c:pt>
                      <c:pt idx="5357">
                        <c:v>0.85726051569999995</c:v>
                      </c:pt>
                      <c:pt idx="5358">
                        <c:v>0.85714496280000008</c:v>
                      </c:pt>
                      <c:pt idx="5359">
                        <c:v>0.85702392689999995</c:v>
                      </c:pt>
                      <c:pt idx="5360">
                        <c:v>0.85690837400000008</c:v>
                      </c:pt>
                      <c:pt idx="5361">
                        <c:v>0.85679462939999995</c:v>
                      </c:pt>
                      <c:pt idx="5362">
                        <c:v>0.85667720999999997</c:v>
                      </c:pt>
                      <c:pt idx="5363">
                        <c:v>0.85656165709999998</c:v>
                      </c:pt>
                      <c:pt idx="5364">
                        <c:v>0.85644062119999997</c:v>
                      </c:pt>
                      <c:pt idx="5365">
                        <c:v>0.85632506829999999</c:v>
                      </c:pt>
                      <c:pt idx="5366">
                        <c:v>0.85621132369999997</c:v>
                      </c:pt>
                      <c:pt idx="5367">
                        <c:v>0.85609209600000002</c:v>
                      </c:pt>
                      <c:pt idx="5368">
                        <c:v>0.85607208859999995</c:v>
                      </c:pt>
                      <c:pt idx="5369">
                        <c:v>0.85597566819999993</c:v>
                      </c:pt>
                      <c:pt idx="5370">
                        <c:v>0.85586186530000008</c:v>
                      </c:pt>
                      <c:pt idx="5371">
                        <c:v>0.8557408876</c:v>
                      </c:pt>
                      <c:pt idx="5372">
                        <c:v>0.85562527650000009</c:v>
                      </c:pt>
                      <c:pt idx="5373">
                        <c:v>0.85551065690000005</c:v>
                      </c:pt>
                      <c:pt idx="5374">
                        <c:v>0.85539510399999996</c:v>
                      </c:pt>
                      <c:pt idx="5375">
                        <c:v>0.85527406810000006</c:v>
                      </c:pt>
                      <c:pt idx="5376">
                        <c:v>0.85515851519999997</c:v>
                      </c:pt>
                      <c:pt idx="5377">
                        <c:v>0.85504477059999995</c:v>
                      </c:pt>
                      <c:pt idx="5378">
                        <c:v>0.85492735120000007</c:v>
                      </c:pt>
                      <c:pt idx="5379">
                        <c:v>0.85481179829999998</c:v>
                      </c:pt>
                      <c:pt idx="5380">
                        <c:v>0.85469076240000008</c:v>
                      </c:pt>
                      <c:pt idx="5381">
                        <c:v>0.85457520949999999</c:v>
                      </c:pt>
                      <c:pt idx="5382">
                        <c:v>0.85446146490000008</c:v>
                      </c:pt>
                      <c:pt idx="5383">
                        <c:v>0.85434223720000002</c:v>
                      </c:pt>
                      <c:pt idx="5384">
                        <c:v>0.85432135489999994</c:v>
                      </c:pt>
                      <c:pt idx="5385">
                        <c:v>0.85422580940000004</c:v>
                      </c:pt>
                      <c:pt idx="5386">
                        <c:v>0.85398554579999997</c:v>
                      </c:pt>
                      <c:pt idx="5387">
                        <c:v>0.85387541760000008</c:v>
                      </c:pt>
                      <c:pt idx="5388">
                        <c:v>0.85376079809999994</c:v>
                      </c:pt>
                      <c:pt idx="5389">
                        <c:v>0.85364524520000007</c:v>
                      </c:pt>
                      <c:pt idx="5390">
                        <c:v>0.85352420929999995</c:v>
                      </c:pt>
                      <c:pt idx="5391">
                        <c:v>0.85340865640000008</c:v>
                      </c:pt>
                      <c:pt idx="5392">
                        <c:v>0.85329491180000006</c:v>
                      </c:pt>
                      <c:pt idx="5393">
                        <c:v>0.85317749239999996</c:v>
                      </c:pt>
                      <c:pt idx="5394">
                        <c:v>0.85306193949999998</c:v>
                      </c:pt>
                      <c:pt idx="5395">
                        <c:v>0.85294090359999997</c:v>
                      </c:pt>
                      <c:pt idx="5396">
                        <c:v>0.85282535069999998</c:v>
                      </c:pt>
                      <c:pt idx="5397">
                        <c:v>0.85271160609999996</c:v>
                      </c:pt>
                      <c:pt idx="5398">
                        <c:v>0.85259237840000002</c:v>
                      </c:pt>
                      <c:pt idx="5399">
                        <c:v>0.85257149600000004</c:v>
                      </c:pt>
                      <c:pt idx="5400">
                        <c:v>0.85247595059999992</c:v>
                      </c:pt>
                      <c:pt idx="5401">
                        <c:v>0.85236127269999995</c:v>
                      </c:pt>
                      <c:pt idx="5402">
                        <c:v>0.85223475359999989</c:v>
                      </c:pt>
                      <c:pt idx="5403">
                        <c:v>0.85212555879999996</c:v>
                      </c:pt>
                      <c:pt idx="5404">
                        <c:v>0.85201093920000004</c:v>
                      </c:pt>
                      <c:pt idx="5405">
                        <c:v>0.85189538639999995</c:v>
                      </c:pt>
                      <c:pt idx="5406">
                        <c:v>0.85177435040000005</c:v>
                      </c:pt>
                      <c:pt idx="5407">
                        <c:v>0.85165879759999996</c:v>
                      </c:pt>
                      <c:pt idx="5408">
                        <c:v>0.85154505299999994</c:v>
                      </c:pt>
                      <c:pt idx="5409">
                        <c:v>0.85142763349999995</c:v>
                      </c:pt>
                      <c:pt idx="5410">
                        <c:v>0.85131208069999997</c:v>
                      </c:pt>
                      <c:pt idx="5411">
                        <c:v>0.85119104469999995</c:v>
                      </c:pt>
                      <c:pt idx="5412">
                        <c:v>0.85107549189999998</c:v>
                      </c:pt>
                      <c:pt idx="5413">
                        <c:v>0.85096174719999995</c:v>
                      </c:pt>
                      <c:pt idx="5414">
                        <c:v>0.85084251960000001</c:v>
                      </c:pt>
                      <c:pt idx="5415">
                        <c:v>0.85082163719999993</c:v>
                      </c:pt>
                      <c:pt idx="5416">
                        <c:v>0.85072609170000002</c:v>
                      </c:pt>
                      <c:pt idx="5417">
                        <c:v>0.85061141379999994</c:v>
                      </c:pt>
                      <c:pt idx="5418">
                        <c:v>0.8504848948</c:v>
                      </c:pt>
                      <c:pt idx="5419">
                        <c:v>0.85037570000000007</c:v>
                      </c:pt>
                      <c:pt idx="5420">
                        <c:v>0.81999889999999998</c:v>
                      </c:pt>
                      <c:pt idx="5421">
                        <c:v>0.83763039210000001</c:v>
                      </c:pt>
                      <c:pt idx="5422">
                        <c:v>0.85609851329999997</c:v>
                      </c:pt>
                      <c:pt idx="5423">
                        <c:v>0.8735965</c:v>
                      </c:pt>
                      <c:pt idx="5424">
                        <c:v>0.8733932754</c:v>
                      </c:pt>
                      <c:pt idx="5425">
                        <c:v>0.8469742562</c:v>
                      </c:pt>
                      <c:pt idx="5426">
                        <c:v>0.81970169999999998</c:v>
                      </c:pt>
                      <c:pt idx="5427">
                        <c:v>0.85343027550000006</c:v>
                      </c:pt>
                      <c:pt idx="5428">
                        <c:v>0.88875929999999992</c:v>
                      </c:pt>
                      <c:pt idx="5429">
                        <c:v>0.86933426260000002</c:v>
                      </c:pt>
                      <c:pt idx="5430">
                        <c:v>0.8502132</c:v>
                      </c:pt>
                      <c:pt idx="5431">
                        <c:v>0.87063174739999993</c:v>
                      </c:pt>
                      <c:pt idx="5432">
                        <c:v>0.87420799059999998</c:v>
                      </c:pt>
                      <c:pt idx="5433">
                        <c:v>0.8905708</c:v>
                      </c:pt>
                      <c:pt idx="5434">
                        <c:v>0.87756296180000004</c:v>
                      </c:pt>
                      <c:pt idx="5435">
                        <c:v>0.86321861200000005</c:v>
                      </c:pt>
                      <c:pt idx="5436">
                        <c:v>0.85082610000000003</c:v>
                      </c:pt>
                      <c:pt idx="5437">
                        <c:v>0.85091169050000004</c:v>
                      </c:pt>
                      <c:pt idx="5438">
                        <c:v>0.86203838250000009</c:v>
                      </c:pt>
                      <c:pt idx="5439">
                        <c:v>0.87334196239999995</c:v>
                      </c:pt>
                      <c:pt idx="5440">
                        <c:v>0.88527319999999998</c:v>
                      </c:pt>
                      <c:pt idx="5441">
                        <c:v>0.88444732790000002</c:v>
                      </c:pt>
                      <c:pt idx="5442">
                        <c:v>0.86446759240000004</c:v>
                      </c:pt>
                      <c:pt idx="5443">
                        <c:v>0.84365139999999994</c:v>
                      </c:pt>
                      <c:pt idx="5444">
                        <c:v>0.88928700000000005</c:v>
                      </c:pt>
                      <c:pt idx="5445">
                        <c:v>0.87848345900000002</c:v>
                      </c:pt>
                      <c:pt idx="5446">
                        <c:v>0.86716728230000006</c:v>
                      </c:pt>
                      <c:pt idx="5447">
                        <c:v>0.85645099999999996</c:v>
                      </c:pt>
                      <c:pt idx="5448">
                        <c:v>0.85675241270000002</c:v>
                      </c:pt>
                      <c:pt idx="5449">
                        <c:v>0.89348700969999995</c:v>
                      </c:pt>
                      <c:pt idx="5450">
                        <c:v>0.93199240000000005</c:v>
                      </c:pt>
                      <c:pt idx="5451">
                        <c:v>0.90622981520000001</c:v>
                      </c:pt>
                      <c:pt idx="5452">
                        <c:v>0.88085444620000009</c:v>
                      </c:pt>
                      <c:pt idx="5453">
                        <c:v>0.85407219999999995</c:v>
                      </c:pt>
                      <c:pt idx="5454">
                        <c:v>0.85687493000000003</c:v>
                      </c:pt>
                      <c:pt idx="5455">
                        <c:v>0.90459849739999998</c:v>
                      </c:pt>
                      <c:pt idx="5456">
                        <c:v>0.95515050000000001</c:v>
                      </c:pt>
                      <c:pt idx="5457">
                        <c:v>0.91898728390000006</c:v>
                      </c:pt>
                      <c:pt idx="5458">
                        <c:v>0.88110809300000004</c:v>
                      </c:pt>
                      <c:pt idx="5459">
                        <c:v>0.8452187000000001</c:v>
                      </c:pt>
                      <c:pt idx="5460">
                        <c:v>0.84533201680000003</c:v>
                      </c:pt>
                      <c:pt idx="5461">
                        <c:v>0.8600633365</c:v>
                      </c:pt>
                      <c:pt idx="5462">
                        <c:v>0.87527059089999992</c:v>
                      </c:pt>
                      <c:pt idx="5463">
                        <c:v>0.89023610000000009</c:v>
                      </c:pt>
                      <c:pt idx="5464">
                        <c:v>0.87517623979999992</c:v>
                      </c:pt>
                      <c:pt idx="5465">
                        <c:v>0.86079861010000003</c:v>
                      </c:pt>
                      <c:pt idx="5466">
                        <c:v>0.84664597029999999</c:v>
                      </c:pt>
                      <c:pt idx="5467">
                        <c:v>0.83181110000000003</c:v>
                      </c:pt>
                      <c:pt idx="5468">
                        <c:v>0.82110967959999992</c:v>
                      </c:pt>
                      <c:pt idx="5469">
                        <c:v>0.77214617020000009</c:v>
                      </c:pt>
                      <c:pt idx="5470">
                        <c:v>0.71337800000000007</c:v>
                      </c:pt>
                      <c:pt idx="5471">
                        <c:v>0.83803749999999999</c:v>
                      </c:pt>
                      <c:pt idx="5472">
                        <c:v>0.83915244389999999</c:v>
                      </c:pt>
                      <c:pt idx="5473">
                        <c:v>0.86159520000000001</c:v>
                      </c:pt>
                      <c:pt idx="5474">
                        <c:v>0.861346528</c:v>
                      </c:pt>
                      <c:pt idx="5475">
                        <c:v>0.83103968730000011</c:v>
                      </c:pt>
                      <c:pt idx="5476">
                        <c:v>0.80025104709999995</c:v>
                      </c:pt>
                      <c:pt idx="5477">
                        <c:v>0.76800146029999994</c:v>
                      </c:pt>
                      <c:pt idx="5478">
                        <c:v>0.7372128201</c:v>
                      </c:pt>
                      <c:pt idx="5479">
                        <c:v>0.7069059794</c:v>
                      </c:pt>
                      <c:pt idx="5480">
                        <c:v>0.67561999520000005</c:v>
                      </c:pt>
                      <c:pt idx="5481">
                        <c:v>0.64483135499999999</c:v>
                      </c:pt>
                      <c:pt idx="5482">
                        <c:v>0.61258176819999999</c:v>
                      </c:pt>
                      <c:pt idx="5483">
                        <c:v>0.58204180000000005</c:v>
                      </c:pt>
                      <c:pt idx="5484">
                        <c:v>0.58570698079999994</c:v>
                      </c:pt>
                      <c:pt idx="5485">
                        <c:v>1.0324</c:v>
                      </c:pt>
                      <c:pt idx="5486">
                        <c:v>0.99403749770000005</c:v>
                      </c:pt>
                      <c:pt idx="5487">
                        <c:v>0.99141043900000003</c:v>
                      </c:pt>
                      <c:pt idx="5488">
                        <c:v>0.95683015650000003</c:v>
                      </c:pt>
                      <c:pt idx="5489">
                        <c:v>0.92020039350000005</c:v>
                      </c:pt>
                      <c:pt idx="5490">
                        <c:v>0.84492865650000004</c:v>
                      </c:pt>
                      <c:pt idx="5491">
                        <c:v>0.80859700000000001</c:v>
                      </c:pt>
                      <c:pt idx="5492">
                        <c:v>0.86300510000000008</c:v>
                      </c:pt>
                      <c:pt idx="5493">
                        <c:v>0.75522090000000008</c:v>
                      </c:pt>
                      <c:pt idx="5494">
                        <c:v>0.77057346050000008</c:v>
                      </c:pt>
                      <c:pt idx="5495">
                        <c:v>0.78568577480000001</c:v>
                      </c:pt>
                      <c:pt idx="5496">
                        <c:v>0.83223169999999991</c:v>
                      </c:pt>
                      <c:pt idx="5497">
                        <c:v>0.68784339999999999</c:v>
                      </c:pt>
                      <c:pt idx="5498">
                        <c:v>0.70919246020000004</c:v>
                      </c:pt>
                      <c:pt idx="5499">
                        <c:v>0.75155649999999996</c:v>
                      </c:pt>
                      <c:pt idx="5500">
                        <c:v>0.77106355260000004</c:v>
                      </c:pt>
                      <c:pt idx="5501">
                        <c:v>0.84556640049999998</c:v>
                      </c:pt>
                      <c:pt idx="5502">
                        <c:v>0.88354640000000007</c:v>
                      </c:pt>
                      <c:pt idx="5503">
                        <c:v>0.88057738699999999</c:v>
                      </c:pt>
                      <c:pt idx="5504">
                        <c:v>0.51872970000000007</c:v>
                      </c:pt>
                      <c:pt idx="5505">
                        <c:v>0.51607343230000002</c:v>
                      </c:pt>
                      <c:pt idx="5506">
                        <c:v>0.50818461399999992</c:v>
                      </c:pt>
                      <c:pt idx="5507">
                        <c:v>0.50323329999999999</c:v>
                      </c:pt>
                      <c:pt idx="5508">
                        <c:v>0.28752912399999997</c:v>
                      </c:pt>
                      <c:pt idx="5509">
                        <c:v>9.9734539999999997E-2</c:v>
                      </c:pt>
                      <c:pt idx="5510">
                        <c:v>0</c:v>
                      </c:pt>
                      <c:pt idx="5511">
                        <c:v>0</c:v>
                      </c:pt>
                      <c:pt idx="5512">
                        <c:v>0</c:v>
                      </c:pt>
                      <c:pt idx="5513">
                        <c:v>0.40078293590000003</c:v>
                      </c:pt>
                      <c:pt idx="5514">
                        <c:v>0.42543377069999999</c:v>
                      </c:pt>
                      <c:pt idx="5515">
                        <c:v>0.45047330000000002</c:v>
                      </c:pt>
                      <c:pt idx="5516">
                        <c:v>0</c:v>
                      </c:pt>
                      <c:pt idx="5517">
                        <c:v>0</c:v>
                      </c:pt>
                      <c:pt idx="5518">
                        <c:v>0</c:v>
                      </c:pt>
                      <c:pt idx="5519">
                        <c:v>0</c:v>
                      </c:pt>
                      <c:pt idx="5520">
                        <c:v>0</c:v>
                      </c:pt>
                      <c:pt idx="5521">
                        <c:v>0</c:v>
                      </c:pt>
                      <c:pt idx="5522">
                        <c:v>0</c:v>
                      </c:pt>
                      <c:pt idx="5523">
                        <c:v>0</c:v>
                      </c:pt>
                      <c:pt idx="5524">
                        <c:v>0</c:v>
                      </c:pt>
                      <c:pt idx="5525">
                        <c:v>0</c:v>
                      </c:pt>
                      <c:pt idx="5526">
                        <c:v>0</c:v>
                      </c:pt>
                      <c:pt idx="5527">
                        <c:v>0</c:v>
                      </c:pt>
                      <c:pt idx="5528">
                        <c:v>0</c:v>
                      </c:pt>
                      <c:pt idx="5529">
                        <c:v>0</c:v>
                      </c:pt>
                      <c:pt idx="5530">
                        <c:v>0</c:v>
                      </c:pt>
                      <c:pt idx="5531">
                        <c:v>0</c:v>
                      </c:pt>
                      <c:pt idx="5532">
                        <c:v>0</c:v>
                      </c:pt>
                      <c:pt idx="5533">
                        <c:v>0</c:v>
                      </c:pt>
                      <c:pt idx="5534">
                        <c:v>0</c:v>
                      </c:pt>
                      <c:pt idx="5535">
                        <c:v>0</c:v>
                      </c:pt>
                      <c:pt idx="5536">
                        <c:v>0</c:v>
                      </c:pt>
                      <c:pt idx="5537">
                        <c:v>0.1574788</c:v>
                      </c:pt>
                      <c:pt idx="5538">
                        <c:v>0.56469060000000004</c:v>
                      </c:pt>
                      <c:pt idx="5539">
                        <c:v>0.73414249999999992</c:v>
                      </c:pt>
                      <c:pt idx="5540">
                        <c:v>0.36404670000000006</c:v>
                      </c:pt>
                      <c:pt idx="5541">
                        <c:v>9.0415280000000001E-2</c:v>
                      </c:pt>
                      <c:pt idx="5542">
                        <c:v>7.2952080000000002E-2</c:v>
                      </c:pt>
                      <c:pt idx="5543">
                        <c:v>0.19718433499999999</c:v>
                      </c:pt>
                      <c:pt idx="5544">
                        <c:v>0.31904879999999997</c:v>
                      </c:pt>
                      <c:pt idx="5545">
                        <c:v>0.54804299999999995</c:v>
                      </c:pt>
                      <c:pt idx="5546">
                        <c:v>1.0466610000000001</c:v>
                      </c:pt>
                      <c:pt idx="5547">
                        <c:v>1.118735</c:v>
                      </c:pt>
                      <c:pt idx="5548">
                        <c:v>1.295876</c:v>
                      </c:pt>
                      <c:pt idx="5549">
                        <c:v>1.404549</c:v>
                      </c:pt>
                      <c:pt idx="5550">
                        <c:v>1.4361439999999999</c:v>
                      </c:pt>
                      <c:pt idx="5551">
                        <c:v>1.720277351</c:v>
                      </c:pt>
                      <c:pt idx="5552">
                        <c:v>2</c:v>
                      </c:pt>
                      <c:pt idx="5553">
                        <c:v>1.9667769000000002</c:v>
                      </c:pt>
                      <c:pt idx="5554">
                        <c:v>1.9507409999999998</c:v>
                      </c:pt>
                      <c:pt idx="5555">
                        <c:v>1.5053880000000002</c:v>
                      </c:pt>
                      <c:pt idx="5556">
                        <c:v>1.2287360000000001</c:v>
                      </c:pt>
                      <c:pt idx="5557">
                        <c:v>1.2770159999999999</c:v>
                      </c:pt>
                      <c:pt idx="5558">
                        <c:v>1.415953</c:v>
                      </c:pt>
                      <c:pt idx="5559">
                        <c:v>0.73884669999999997</c:v>
                      </c:pt>
                      <c:pt idx="5560">
                        <c:v>0.44997750000000003</c:v>
                      </c:pt>
                      <c:pt idx="5561">
                        <c:v>0.54311390000000004</c:v>
                      </c:pt>
                      <c:pt idx="5562">
                        <c:v>0.78028339999999996</c:v>
                      </c:pt>
                      <c:pt idx="5563">
                        <c:v>0.95080569999999998</c:v>
                      </c:pt>
                      <c:pt idx="5564">
                        <c:v>1.272546</c:v>
                      </c:pt>
                      <c:pt idx="5565">
                        <c:v>1.4231280000000002</c:v>
                      </c:pt>
                      <c:pt idx="5566">
                        <c:v>1.7835799999999999</c:v>
                      </c:pt>
                      <c:pt idx="5567">
                        <c:v>2</c:v>
                      </c:pt>
                      <c:pt idx="5568">
                        <c:v>1.9298238109999999</c:v>
                      </c:pt>
                      <c:pt idx="5569">
                        <c:v>1.8773202680000001</c:v>
                      </c:pt>
                      <c:pt idx="5570">
                        <c:v>1.8253659999999998</c:v>
                      </c:pt>
                      <c:pt idx="5571">
                        <c:v>1.8221257660000001</c:v>
                      </c:pt>
                      <c:pt idx="5572">
                        <c:v>1.4272229999999999</c:v>
                      </c:pt>
                      <c:pt idx="5573">
                        <c:v>0.93749440000000006</c:v>
                      </c:pt>
                      <c:pt idx="5574">
                        <c:v>0.7186691999999999</c:v>
                      </c:pt>
                      <c:pt idx="5575">
                        <c:v>0.33788400000000002</c:v>
                      </c:pt>
                      <c:pt idx="5576">
                        <c:v>0.26226909999999998</c:v>
                      </c:pt>
                      <c:pt idx="5577">
                        <c:v>0.31756889999999999</c:v>
                      </c:pt>
                      <c:pt idx="5578">
                        <c:v>0.46553469999999997</c:v>
                      </c:pt>
                      <c:pt idx="5579">
                        <c:v>0.52914490000000003</c:v>
                      </c:pt>
                      <c:pt idx="5580">
                        <c:v>0.43698819999999999</c:v>
                      </c:pt>
                      <c:pt idx="5581">
                        <c:v>0.47945210000000005</c:v>
                      </c:pt>
                      <c:pt idx="5582">
                        <c:v>0.40688049999999998</c:v>
                      </c:pt>
                      <c:pt idx="5583">
                        <c:v>0.31400060000000002</c:v>
                      </c:pt>
                      <c:pt idx="5584">
                        <c:v>0.39939030000000003</c:v>
                      </c:pt>
                      <c:pt idx="5585">
                        <c:v>0.67432869999999989</c:v>
                      </c:pt>
                      <c:pt idx="5586">
                        <c:v>0.95664930000000004</c:v>
                      </c:pt>
                      <c:pt idx="5587">
                        <c:v>1.401959</c:v>
                      </c:pt>
                      <c:pt idx="5588">
                        <c:v>1.9927000000000001</c:v>
                      </c:pt>
                      <c:pt idx="5589">
                        <c:v>1.9975604240000002</c:v>
                      </c:pt>
                      <c:pt idx="5590">
                        <c:v>1.9978013290000001</c:v>
                      </c:pt>
                      <c:pt idx="5591">
                        <c:v>1.9992696230000002</c:v>
                      </c:pt>
                      <c:pt idx="5592">
                        <c:v>2</c:v>
                      </c:pt>
                      <c:pt idx="5593">
                        <c:v>1.7462360000000001</c:v>
                      </c:pt>
                      <c:pt idx="5594">
                        <c:v>1.4389619999999999</c:v>
                      </c:pt>
                      <c:pt idx="5595">
                        <c:v>0.97795090000000007</c:v>
                      </c:pt>
                      <c:pt idx="5596">
                        <c:v>0.71762449540000006</c:v>
                      </c:pt>
                      <c:pt idx="5597">
                        <c:v>0.47593780000000002</c:v>
                      </c:pt>
                      <c:pt idx="5598">
                        <c:v>0.19387399999999999</c:v>
                      </c:pt>
                      <c:pt idx="5599">
                        <c:v>4.6935520000000001E-2</c:v>
                      </c:pt>
                      <c:pt idx="5600">
                        <c:v>0</c:v>
                      </c:pt>
                      <c:pt idx="5601">
                        <c:v>0</c:v>
                      </c:pt>
                      <c:pt idx="5602">
                        <c:v>0</c:v>
                      </c:pt>
                      <c:pt idx="5603">
                        <c:v>0</c:v>
                      </c:pt>
                      <c:pt idx="5604">
                        <c:v>1.5768698880000001E-2</c:v>
                      </c:pt>
                      <c:pt idx="5605">
                        <c:v>3.128471905E-2</c:v>
                      </c:pt>
                      <c:pt idx="5606">
                        <c:v>0.23712269999999999</c:v>
                      </c:pt>
                      <c:pt idx="5607">
                        <c:v>0.53796040000000001</c:v>
                      </c:pt>
                      <c:pt idx="5608">
                        <c:v>0.68605479999999996</c:v>
                      </c:pt>
                      <c:pt idx="5609">
                        <c:v>1.052438</c:v>
                      </c:pt>
                      <c:pt idx="5610">
                        <c:v>1.1316729999999999</c:v>
                      </c:pt>
                      <c:pt idx="5611">
                        <c:v>1.3331790000000001</c:v>
                      </c:pt>
                      <c:pt idx="5612">
                        <c:v>1.4553780000000001</c:v>
                      </c:pt>
                      <c:pt idx="5613">
                        <c:v>1.8316730000000001</c:v>
                      </c:pt>
                      <c:pt idx="5614">
                        <c:v>1.963716</c:v>
                      </c:pt>
                      <c:pt idx="5615">
                        <c:v>2</c:v>
                      </c:pt>
                      <c:pt idx="5616">
                        <c:v>1.910998</c:v>
                      </c:pt>
                      <c:pt idx="5617">
                        <c:v>1.7145380000000001</c:v>
                      </c:pt>
                      <c:pt idx="5618">
                        <c:v>1.520804</c:v>
                      </c:pt>
                      <c:pt idx="5619">
                        <c:v>1.5835509999999999</c:v>
                      </c:pt>
                      <c:pt idx="5620">
                        <c:v>1.4361259999999998</c:v>
                      </c:pt>
                      <c:pt idx="5621">
                        <c:v>1.3968340000000001</c:v>
                      </c:pt>
                      <c:pt idx="5622">
                        <c:v>1.178331</c:v>
                      </c:pt>
                      <c:pt idx="5623">
                        <c:v>1.0193649999999999</c:v>
                      </c:pt>
                      <c:pt idx="5624">
                        <c:v>0.98589399999999994</c:v>
                      </c:pt>
                      <c:pt idx="5625">
                        <c:v>1.2222029999999999</c:v>
                      </c:pt>
                      <c:pt idx="5626">
                        <c:v>1.332176</c:v>
                      </c:pt>
                      <c:pt idx="5627">
                        <c:v>1.5333019999999999</c:v>
                      </c:pt>
                      <c:pt idx="5628">
                        <c:v>1.622843</c:v>
                      </c:pt>
                      <c:pt idx="5629">
                        <c:v>1.7944182720000001</c:v>
                      </c:pt>
                      <c:pt idx="5630">
                        <c:v>1.970008</c:v>
                      </c:pt>
                      <c:pt idx="5631">
                        <c:v>2</c:v>
                      </c:pt>
                      <c:pt idx="5632">
                        <c:v>1.9911628300000002</c:v>
                      </c:pt>
                      <c:pt idx="5633">
                        <c:v>1.948676437</c:v>
                      </c:pt>
                      <c:pt idx="5634">
                        <c:v>1.9402069470000001</c:v>
                      </c:pt>
                      <c:pt idx="5635">
                        <c:v>1.9359379999999999</c:v>
                      </c:pt>
                      <c:pt idx="5636">
                        <c:v>1.657141</c:v>
                      </c:pt>
                      <c:pt idx="5637">
                        <c:v>1.5833940000000002</c:v>
                      </c:pt>
                      <c:pt idx="5638">
                        <c:v>1.196679</c:v>
                      </c:pt>
                      <c:pt idx="5639">
                        <c:v>0.45664070000000001</c:v>
                      </c:pt>
                      <c:pt idx="5640">
                        <c:v>0</c:v>
                      </c:pt>
                      <c:pt idx="5641">
                        <c:v>3.6484362300000001E-3</c:v>
                      </c:pt>
                      <c:pt idx="5642">
                        <c:v>5.9345670999999996E-3</c:v>
                      </c:pt>
                      <c:pt idx="5643">
                        <c:v>9.1372078599999997E-3</c:v>
                      </c:pt>
                      <c:pt idx="5644">
                        <c:v>1.0499513220000001E-2</c:v>
                      </c:pt>
                      <c:pt idx="5645">
                        <c:v>1.233619079E-2</c:v>
                      </c:pt>
                      <c:pt idx="5646">
                        <c:v>1.8737814429999999E-2</c:v>
                      </c:pt>
                      <c:pt idx="5647">
                        <c:v>1.919801258E-2</c:v>
                      </c:pt>
                      <c:pt idx="5648">
                        <c:v>2.010011984E-2</c:v>
                      </c:pt>
                      <c:pt idx="5649">
                        <c:v>2.0595981609999998E-2</c:v>
                      </c:pt>
                      <c:pt idx="5650">
                        <c:v>2.6056176600000001E-2</c:v>
                      </c:pt>
                      <c:pt idx="5651">
                        <c:v>2.7882109329999998E-2</c:v>
                      </c:pt>
                      <c:pt idx="5652">
                        <c:v>3.1997602139999998E-2</c:v>
                      </c:pt>
                      <c:pt idx="5653">
                        <c:v>3.3370652299999998E-2</c:v>
                      </c:pt>
                      <c:pt idx="5654">
                        <c:v>3.429082E-2</c:v>
                      </c:pt>
                      <c:pt idx="5655">
                        <c:v>0.34139580000000003</c:v>
                      </c:pt>
                      <c:pt idx="5656">
                        <c:v>0.3818435</c:v>
                      </c:pt>
                      <c:pt idx="5657">
                        <c:v>0.57333860000000003</c:v>
                      </c:pt>
                      <c:pt idx="5658">
                        <c:v>0.73024990000000001</c:v>
                      </c:pt>
                      <c:pt idx="5659">
                        <c:v>0.76153800000000005</c:v>
                      </c:pt>
                      <c:pt idx="5660">
                        <c:v>0.86417879999999991</c:v>
                      </c:pt>
                      <c:pt idx="5661">
                        <c:v>1.1341840000000001</c:v>
                      </c:pt>
                      <c:pt idx="5662">
                        <c:v>1.2582230000000001</c:v>
                      </c:pt>
                      <c:pt idx="5663">
                        <c:v>1.4565239999999999</c:v>
                      </c:pt>
                      <c:pt idx="5664">
                        <c:v>1.4252359999999999</c:v>
                      </c:pt>
                      <c:pt idx="5665">
                        <c:v>1.1204019999999999</c:v>
                      </c:pt>
                      <c:pt idx="5666">
                        <c:v>0.92792209999999997</c:v>
                      </c:pt>
                      <c:pt idx="5667">
                        <c:v>0.6463293</c:v>
                      </c:pt>
                      <c:pt idx="5668">
                        <c:v>0.2279418</c:v>
                      </c:pt>
                      <c:pt idx="5669">
                        <c:v>0</c:v>
                      </c:pt>
                      <c:pt idx="5670">
                        <c:v>0.21951001919999999</c:v>
                      </c:pt>
                      <c:pt idx="5671">
                        <c:v>0.35073099999999996</c:v>
                      </c:pt>
                      <c:pt idx="5672">
                        <c:v>0.89645410000000003</c:v>
                      </c:pt>
                      <c:pt idx="5673">
                        <c:v>1.2238880000000001</c:v>
                      </c:pt>
                      <c:pt idx="5674">
                        <c:v>1.718062</c:v>
                      </c:pt>
                      <c:pt idx="5675">
                        <c:v>1.9742470000000001</c:v>
                      </c:pt>
                      <c:pt idx="5676">
                        <c:v>2</c:v>
                      </c:pt>
                      <c:pt idx="5677">
                        <c:v>1.9559139999999999</c:v>
                      </c:pt>
                      <c:pt idx="5678">
                        <c:v>1.8347849999999999</c:v>
                      </c:pt>
                      <c:pt idx="5679">
                        <c:v>1.8100880000000001</c:v>
                      </c:pt>
                      <c:pt idx="5680">
                        <c:v>1.6736359999999999</c:v>
                      </c:pt>
                      <c:pt idx="5681">
                        <c:v>1.3648640000000001</c:v>
                      </c:pt>
                      <c:pt idx="5682">
                        <c:v>1.05536268</c:v>
                      </c:pt>
                      <c:pt idx="5683">
                        <c:v>0.89199070000000003</c:v>
                      </c:pt>
                      <c:pt idx="5684">
                        <c:v>0.77210809999999996</c:v>
                      </c:pt>
                      <c:pt idx="5685">
                        <c:v>0.6032978</c:v>
                      </c:pt>
                      <c:pt idx="5686">
                        <c:v>0.3047552</c:v>
                      </c:pt>
                      <c:pt idx="5687">
                        <c:v>0.15062600000000001</c:v>
                      </c:pt>
                      <c:pt idx="5688">
                        <c:v>0.11497199999999999</c:v>
                      </c:pt>
                      <c:pt idx="5689">
                        <c:v>0</c:v>
                      </c:pt>
                      <c:pt idx="5690">
                        <c:v>0</c:v>
                      </c:pt>
                      <c:pt idx="5691">
                        <c:v>0</c:v>
                      </c:pt>
                      <c:pt idx="5692">
                        <c:v>0</c:v>
                      </c:pt>
                      <c:pt idx="5693">
                        <c:v>0</c:v>
                      </c:pt>
                      <c:pt idx="5694">
                        <c:v>0</c:v>
                      </c:pt>
                      <c:pt idx="5695">
                        <c:v>0</c:v>
                      </c:pt>
                      <c:pt idx="5696">
                        <c:v>0</c:v>
                      </c:pt>
                      <c:pt idx="5697">
                        <c:v>0</c:v>
                      </c:pt>
                      <c:pt idx="5698">
                        <c:v>9.5091511000000009E-4</c:v>
                      </c:pt>
                      <c:pt idx="5699">
                        <c:v>0.22172540120000001</c:v>
                      </c:pt>
                      <c:pt idx="5700">
                        <c:v>0.26260469319999996</c:v>
                      </c:pt>
                      <c:pt idx="5701">
                        <c:v>0.40432160000000006</c:v>
                      </c:pt>
                      <c:pt idx="5702">
                        <c:v>0.8328101</c:v>
                      </c:pt>
                      <c:pt idx="5703">
                        <c:v>1.0913330000000001</c:v>
                      </c:pt>
                      <c:pt idx="5704">
                        <c:v>1.113022</c:v>
                      </c:pt>
                      <c:pt idx="5705">
                        <c:v>1.024251</c:v>
                      </c:pt>
                      <c:pt idx="5706">
                        <c:v>0.86327370000000003</c:v>
                      </c:pt>
                      <c:pt idx="5707">
                        <c:v>0.83532399999999996</c:v>
                      </c:pt>
                      <c:pt idx="5708">
                        <c:v>0.98072170000000003</c:v>
                      </c:pt>
                      <c:pt idx="5709">
                        <c:v>1.2958129999999999</c:v>
                      </c:pt>
                      <c:pt idx="5710">
                        <c:v>1.3522358059999999</c:v>
                      </c:pt>
                      <c:pt idx="5711">
                        <c:v>1.6391999999999998</c:v>
                      </c:pt>
                      <c:pt idx="5712">
                        <c:v>2</c:v>
                      </c:pt>
                      <c:pt idx="5713">
                        <c:v>1.8052269999999999</c:v>
                      </c:pt>
                      <c:pt idx="5714">
                        <c:v>0.86833889999999991</c:v>
                      </c:pt>
                      <c:pt idx="5715">
                        <c:v>0.7259372999999999</c:v>
                      </c:pt>
                      <c:pt idx="5716">
                        <c:v>0.50833309999999998</c:v>
                      </c:pt>
                      <c:pt idx="5717">
                        <c:v>0.35544892150000001</c:v>
                      </c:pt>
                      <c:pt idx="5718">
                        <c:v>0.20493800000000001</c:v>
                      </c:pt>
                      <c:pt idx="5719">
                        <c:v>0.22051790000000002</c:v>
                      </c:pt>
                      <c:pt idx="5720">
                        <c:v>0.46427410000000002</c:v>
                      </c:pt>
                      <c:pt idx="5721">
                        <c:v>0.56177660000000007</c:v>
                      </c:pt>
                      <c:pt idx="5722">
                        <c:v>0.63784580000000002</c:v>
                      </c:pt>
                      <c:pt idx="5723">
                        <c:v>0.51035049999999993</c:v>
                      </c:pt>
                      <c:pt idx="5724">
                        <c:v>0.59032449999999992</c:v>
                      </c:pt>
                      <c:pt idx="5725">
                        <c:v>0.50506053549999996</c:v>
                      </c:pt>
                      <c:pt idx="5726">
                        <c:v>0.46041690000000002</c:v>
                      </c:pt>
                      <c:pt idx="5727">
                        <c:v>0.60602860000000003</c:v>
                      </c:pt>
                      <c:pt idx="5728">
                        <c:v>0.83137969999999994</c:v>
                      </c:pt>
                      <c:pt idx="5729">
                        <c:v>1.0901160000000001</c:v>
                      </c:pt>
                      <c:pt idx="5730">
                        <c:v>1.2408220000000001</c:v>
                      </c:pt>
                      <c:pt idx="5731">
                        <c:v>1.4261109999999999</c:v>
                      </c:pt>
                      <c:pt idx="5732">
                        <c:v>1.6094739999999998</c:v>
                      </c:pt>
                      <c:pt idx="5733">
                        <c:v>1.9646860000000002</c:v>
                      </c:pt>
                      <c:pt idx="5734">
                        <c:v>2</c:v>
                      </c:pt>
                      <c:pt idx="5735">
                        <c:v>1.9780964089999999</c:v>
                      </c:pt>
                      <c:pt idx="5736">
                        <c:v>1.4479160179999999</c:v>
                      </c:pt>
                      <c:pt idx="5737">
                        <c:v>0.88740750000000002</c:v>
                      </c:pt>
                      <c:pt idx="5738">
                        <c:v>0</c:v>
                      </c:pt>
                      <c:pt idx="5739">
                        <c:v>7.0266749999999998E-4</c:v>
                      </c:pt>
                      <c:pt idx="5740">
                        <c:v>4.0673095100000004E-3</c:v>
                      </c:pt>
                      <c:pt idx="5741">
                        <c:v>4.2282566799999996E-3</c:v>
                      </c:pt>
                      <c:pt idx="5742">
                        <c:v>5.65271847E-3</c:v>
                      </c:pt>
                      <c:pt idx="5743">
                        <c:v>7.4045393900000001E-3</c:v>
                      </c:pt>
                      <c:pt idx="5744">
                        <c:v>8.6351770800000005E-3</c:v>
                      </c:pt>
                      <c:pt idx="5745">
                        <c:v>1.0400659999999999E-2</c:v>
                      </c:pt>
                      <c:pt idx="5746">
                        <c:v>0.35381000000000001</c:v>
                      </c:pt>
                      <c:pt idx="5747">
                        <c:v>0.74501839999999997</c:v>
                      </c:pt>
                      <c:pt idx="5748">
                        <c:v>0.89884829999999993</c:v>
                      </c:pt>
                      <c:pt idx="5749">
                        <c:v>1.270753</c:v>
                      </c:pt>
                      <c:pt idx="5750">
                        <c:v>1.4373800000000001</c:v>
                      </c:pt>
                      <c:pt idx="5751">
                        <c:v>1.225946</c:v>
                      </c:pt>
                      <c:pt idx="5752">
                        <c:v>1.4089580000000002</c:v>
                      </c:pt>
                      <c:pt idx="5753">
                        <c:v>1.301183</c:v>
                      </c:pt>
                      <c:pt idx="5754">
                        <c:v>1.2828550000000001</c:v>
                      </c:pt>
                      <c:pt idx="5755">
                        <c:v>1.3683719999999999</c:v>
                      </c:pt>
                      <c:pt idx="5756">
                        <c:v>1.305015</c:v>
                      </c:pt>
                      <c:pt idx="5757">
                        <c:v>1.3491</c:v>
                      </c:pt>
                      <c:pt idx="5758">
                        <c:v>1.269079903</c:v>
                      </c:pt>
                      <c:pt idx="5759">
                        <c:v>1.198909</c:v>
                      </c:pt>
                      <c:pt idx="5760">
                        <c:v>1.243252</c:v>
                      </c:pt>
                      <c:pt idx="5761">
                        <c:v>1.6501679999999999</c:v>
                      </c:pt>
                      <c:pt idx="5762">
                        <c:v>1.7535769999999999</c:v>
                      </c:pt>
                      <c:pt idx="5763">
                        <c:v>1.7295230000000001</c:v>
                      </c:pt>
                      <c:pt idx="5764">
                        <c:v>1.5511680000000001</c:v>
                      </c:pt>
                      <c:pt idx="5765">
                        <c:v>1.4566620000000001</c:v>
                      </c:pt>
                      <c:pt idx="5766">
                        <c:v>1.1518109999999999</c:v>
                      </c:pt>
                      <c:pt idx="5767">
                        <c:v>1.1451047169999999</c:v>
                      </c:pt>
                      <c:pt idx="5768">
                        <c:v>0.86914789999999997</c:v>
                      </c:pt>
                      <c:pt idx="5769">
                        <c:v>1.013336</c:v>
                      </c:pt>
                      <c:pt idx="5770">
                        <c:v>0.7817788</c:v>
                      </c:pt>
                      <c:pt idx="5771">
                        <c:v>0.62607489999999999</c:v>
                      </c:pt>
                      <c:pt idx="5772">
                        <c:v>0.72309749999999995</c:v>
                      </c:pt>
                      <c:pt idx="5773">
                        <c:v>0.58415600000000001</c:v>
                      </c:pt>
                      <c:pt idx="5774">
                        <c:v>0.78220000000000001</c:v>
                      </c:pt>
                      <c:pt idx="5775">
                        <c:v>0.92550929999999998</c:v>
                      </c:pt>
                      <c:pt idx="5776">
                        <c:v>1.156639</c:v>
                      </c:pt>
                      <c:pt idx="5777">
                        <c:v>1.2216230000000001</c:v>
                      </c:pt>
                      <c:pt idx="5778">
                        <c:v>1.191791</c:v>
                      </c:pt>
                      <c:pt idx="5779">
                        <c:v>0.67067899999999991</c:v>
                      </c:pt>
                      <c:pt idx="5780">
                        <c:v>0.51714899999999997</c:v>
                      </c:pt>
                      <c:pt idx="5781">
                        <c:v>0.22720960000000001</c:v>
                      </c:pt>
                      <c:pt idx="5782">
                        <c:v>0</c:v>
                      </c:pt>
                      <c:pt idx="5783">
                        <c:v>0.1600317956</c:v>
                      </c:pt>
                      <c:pt idx="5784">
                        <c:v>0.2163428</c:v>
                      </c:pt>
                      <c:pt idx="5785">
                        <c:v>0.40599739999999995</c:v>
                      </c:pt>
                      <c:pt idx="5786">
                        <c:v>0.28773609999999999</c:v>
                      </c:pt>
                      <c:pt idx="5787">
                        <c:v>7.0816660000000003E-2</c:v>
                      </c:pt>
                      <c:pt idx="5788">
                        <c:v>6.773506E-2</c:v>
                      </c:pt>
                      <c:pt idx="5789">
                        <c:v>0</c:v>
                      </c:pt>
                      <c:pt idx="5790">
                        <c:v>2.1996568699999999E-3</c:v>
                      </c:pt>
                      <c:pt idx="5791">
                        <c:v>3.0234480100000002E-3</c:v>
                      </c:pt>
                      <c:pt idx="5792">
                        <c:v>3.8472391900000002E-3</c:v>
                      </c:pt>
                      <c:pt idx="5793">
                        <c:v>4.11470386E-3</c:v>
                      </c:pt>
                      <c:pt idx="5794">
                        <c:v>8.5247161300000002E-3</c:v>
                      </c:pt>
                      <c:pt idx="5795">
                        <c:v>8.7857342200000008E-3</c:v>
                      </c:pt>
                      <c:pt idx="5796">
                        <c:v>1.07029758E-2</c:v>
                      </c:pt>
                      <c:pt idx="5797">
                        <c:v>1.125066114E-2</c:v>
                      </c:pt>
                      <c:pt idx="5798">
                        <c:v>1.2900438050000001E-2</c:v>
                      </c:pt>
                      <c:pt idx="5799">
                        <c:v>1.3454569999999999E-2</c:v>
                      </c:pt>
                      <c:pt idx="5800">
                        <c:v>0.21393830000000003</c:v>
                      </c:pt>
                      <c:pt idx="5801">
                        <c:v>0.58913890000000002</c:v>
                      </c:pt>
                      <c:pt idx="5802">
                        <c:v>1.1686320000000001</c:v>
                      </c:pt>
                      <c:pt idx="5803">
                        <c:v>1.4433770000000001</c:v>
                      </c:pt>
                      <c:pt idx="5804">
                        <c:v>1.656663</c:v>
                      </c:pt>
                      <c:pt idx="5805">
                        <c:v>2</c:v>
                      </c:pt>
                      <c:pt idx="5806">
                        <c:v>1.99708503</c:v>
                      </c:pt>
                      <c:pt idx="5807">
                        <c:v>1.9675609119999999</c:v>
                      </c:pt>
                      <c:pt idx="5808">
                        <c:v>1.9590909999999999</c:v>
                      </c:pt>
                      <c:pt idx="5809">
                        <c:v>1.753514</c:v>
                      </c:pt>
                      <c:pt idx="5810">
                        <c:v>1.641159</c:v>
                      </c:pt>
                      <c:pt idx="5811">
                        <c:v>1.629389</c:v>
                      </c:pt>
                      <c:pt idx="5812">
                        <c:v>1.8759700000000001</c:v>
                      </c:pt>
                      <c:pt idx="5813">
                        <c:v>1.7566820000000001</c:v>
                      </c:pt>
                      <c:pt idx="5814">
                        <c:v>1.7587177270000001</c:v>
                      </c:pt>
                      <c:pt idx="5815">
                        <c:v>1.9269470000000002</c:v>
                      </c:pt>
                      <c:pt idx="5816">
                        <c:v>1.983959</c:v>
                      </c:pt>
                      <c:pt idx="5817">
                        <c:v>1.946679</c:v>
                      </c:pt>
                      <c:pt idx="5818">
                        <c:v>1.9419999480000001</c:v>
                      </c:pt>
                      <c:pt idx="5819">
                        <c:v>1.828803</c:v>
                      </c:pt>
                      <c:pt idx="5820">
                        <c:v>1.0756189999999999</c:v>
                      </c:pt>
                      <c:pt idx="5821">
                        <c:v>0.71967979999999998</c:v>
                      </c:pt>
                      <c:pt idx="5822">
                        <c:v>0.63396884809999998</c:v>
                      </c:pt>
                      <c:pt idx="5823">
                        <c:v>0.5483015</c:v>
                      </c:pt>
                      <c:pt idx="5824">
                        <c:v>0.53695910000000002</c:v>
                      </c:pt>
                      <c:pt idx="5825">
                        <c:v>5.7450590000000003E-2</c:v>
                      </c:pt>
                      <c:pt idx="5826">
                        <c:v>5.470371919E-2</c:v>
                      </c:pt>
                      <c:pt idx="5827">
                        <c:v>0</c:v>
                      </c:pt>
                      <c:pt idx="5828">
                        <c:v>0</c:v>
                      </c:pt>
                      <c:pt idx="5829">
                        <c:v>0</c:v>
                      </c:pt>
                      <c:pt idx="5830">
                        <c:v>0</c:v>
                      </c:pt>
                      <c:pt idx="5831">
                        <c:v>0</c:v>
                      </c:pt>
                      <c:pt idx="5832">
                        <c:v>0.1479443</c:v>
                      </c:pt>
                      <c:pt idx="5833">
                        <c:v>0.31743929999999998</c:v>
                      </c:pt>
                      <c:pt idx="5834">
                        <c:v>0.37094169999999999</c:v>
                      </c:pt>
                      <c:pt idx="5835">
                        <c:v>0.24005379999999998</c:v>
                      </c:pt>
                      <c:pt idx="5836">
                        <c:v>0.1247209</c:v>
                      </c:pt>
                      <c:pt idx="5837">
                        <c:v>0.36038769999999998</c:v>
                      </c:pt>
                      <c:pt idx="5838">
                        <c:v>0.58640239999999999</c:v>
                      </c:pt>
                      <c:pt idx="5839">
                        <c:v>0.72396739999999993</c:v>
                      </c:pt>
                      <c:pt idx="5840">
                        <c:v>0.80178129999999992</c:v>
                      </c:pt>
                      <c:pt idx="5841">
                        <c:v>0.99165009999999998</c:v>
                      </c:pt>
                      <c:pt idx="5842">
                        <c:v>0.96096119999999996</c:v>
                      </c:pt>
                      <c:pt idx="5843">
                        <c:v>1.0994410000000001</c:v>
                      </c:pt>
                      <c:pt idx="5844">
                        <c:v>1.298298</c:v>
                      </c:pt>
                      <c:pt idx="5845">
                        <c:v>1.426361</c:v>
                      </c:pt>
                      <c:pt idx="5846">
                        <c:v>2</c:v>
                      </c:pt>
                      <c:pt idx="5847">
                        <c:v>1.9838768469999999</c:v>
                      </c:pt>
                      <c:pt idx="5848">
                        <c:v>1.93460915</c:v>
                      </c:pt>
                      <c:pt idx="5849">
                        <c:v>1.9264840000000001</c:v>
                      </c:pt>
                      <c:pt idx="5850">
                        <c:v>1.6418520000000001</c:v>
                      </c:pt>
                      <c:pt idx="5851">
                        <c:v>0.93690640000000003</c:v>
                      </c:pt>
                      <c:pt idx="5852">
                        <c:v>0.73244219999999993</c:v>
                      </c:pt>
                      <c:pt idx="5853">
                        <c:v>0</c:v>
                      </c:pt>
                      <c:pt idx="5854">
                        <c:v>1.7870810000000001E-2</c:v>
                      </c:pt>
                      <c:pt idx="5855">
                        <c:v>7.6552099999999998E-2</c:v>
                      </c:pt>
                      <c:pt idx="5856">
                        <c:v>0.230767</c:v>
                      </c:pt>
                      <c:pt idx="5857">
                        <c:v>0.639096</c:v>
                      </c:pt>
                      <c:pt idx="5858">
                        <c:v>0.6435785758</c:v>
                      </c:pt>
                      <c:pt idx="5859">
                        <c:v>0.98155300000000001</c:v>
                      </c:pt>
                      <c:pt idx="5860">
                        <c:v>1.3356950000000001</c:v>
                      </c:pt>
                      <c:pt idx="5861">
                        <c:v>1.5255639999999999</c:v>
                      </c:pt>
                      <c:pt idx="5862">
                        <c:v>1.841869</c:v>
                      </c:pt>
                      <c:pt idx="5863">
                        <c:v>1.920453</c:v>
                      </c:pt>
                      <c:pt idx="5864">
                        <c:v>1.8847989999999999</c:v>
                      </c:pt>
                      <c:pt idx="5865">
                        <c:v>1.589766</c:v>
                      </c:pt>
                      <c:pt idx="5866">
                        <c:v>1.5866653040000001</c:v>
                      </c:pt>
                      <c:pt idx="5867">
                        <c:v>1.4914940000000001</c:v>
                      </c:pt>
                      <c:pt idx="5868">
                        <c:v>1.4086719999999999</c:v>
                      </c:pt>
                      <c:pt idx="5869">
                        <c:v>1.1883710000000001</c:v>
                      </c:pt>
                      <c:pt idx="5870">
                        <c:v>1.05376</c:v>
                      </c:pt>
                      <c:pt idx="5871">
                        <c:v>0.72833760000000003</c:v>
                      </c:pt>
                      <c:pt idx="5872">
                        <c:v>0.28212900000000002</c:v>
                      </c:pt>
                      <c:pt idx="5873">
                        <c:v>0.1064706</c:v>
                      </c:pt>
                      <c:pt idx="5874">
                        <c:v>2.4482449999999999E-2</c:v>
                      </c:pt>
                      <c:pt idx="5875">
                        <c:v>0.12968940000000001</c:v>
                      </c:pt>
                      <c:pt idx="5876">
                        <c:v>0.1129539</c:v>
                      </c:pt>
                      <c:pt idx="5877">
                        <c:v>0.17668579999999998</c:v>
                      </c:pt>
                      <c:pt idx="5878">
                        <c:v>0.13315630000000001</c:v>
                      </c:pt>
                      <c:pt idx="5879">
                        <c:v>0.25488460000000002</c:v>
                      </c:pt>
                      <c:pt idx="5880">
                        <c:v>0.52239579999999997</c:v>
                      </c:pt>
                      <c:pt idx="5881">
                        <c:v>0.57247805090000004</c:v>
                      </c:pt>
                      <c:pt idx="5882">
                        <c:v>0.6245636</c:v>
                      </c:pt>
                      <c:pt idx="5883">
                        <c:v>0.27435960000000004</c:v>
                      </c:pt>
                      <c:pt idx="5884">
                        <c:v>0.19453430000000002</c:v>
                      </c:pt>
                      <c:pt idx="5885">
                        <c:v>2.9918449999999999E-2</c:v>
                      </c:pt>
                      <c:pt idx="5886">
                        <c:v>0</c:v>
                      </c:pt>
                      <c:pt idx="5887">
                        <c:v>0.2910123932</c:v>
                      </c:pt>
                      <c:pt idx="5888">
                        <c:v>0.32525484050000003</c:v>
                      </c:pt>
                      <c:pt idx="5889">
                        <c:v>0.42015580000000002</c:v>
                      </c:pt>
                      <c:pt idx="5890">
                        <c:v>0.3078439</c:v>
                      </c:pt>
                      <c:pt idx="5891">
                        <c:v>0.34692200000000001</c:v>
                      </c:pt>
                      <c:pt idx="5892">
                        <c:v>0.25177369999999999</c:v>
                      </c:pt>
                      <c:pt idx="5893">
                        <c:v>0.17117789999999999</c:v>
                      </c:pt>
                      <c:pt idx="5894">
                        <c:v>0</c:v>
                      </c:pt>
                      <c:pt idx="5895">
                        <c:v>0</c:v>
                      </c:pt>
                      <c:pt idx="5896">
                        <c:v>0</c:v>
                      </c:pt>
                      <c:pt idx="5897">
                        <c:v>5.5382449520000002E-2</c:v>
                      </c:pt>
                      <c:pt idx="5898">
                        <c:v>9.0601828120000005E-2</c:v>
                      </c:pt>
                      <c:pt idx="5899">
                        <c:v>0.10991832369999999</c:v>
                      </c:pt>
                      <c:pt idx="5900">
                        <c:v>0.1451286</c:v>
                      </c:pt>
                      <c:pt idx="5901">
                        <c:v>0.37844119999999998</c:v>
                      </c:pt>
                      <c:pt idx="5902">
                        <c:v>0.73643469999999989</c:v>
                      </c:pt>
                      <c:pt idx="5903">
                        <c:v>1.308824</c:v>
                      </c:pt>
                      <c:pt idx="5904">
                        <c:v>1.3121103729999999</c:v>
                      </c:pt>
                      <c:pt idx="5905">
                        <c:v>1.583761</c:v>
                      </c:pt>
                      <c:pt idx="5906">
                        <c:v>1.858805</c:v>
                      </c:pt>
                      <c:pt idx="5907">
                        <c:v>2</c:v>
                      </c:pt>
                      <c:pt idx="5908">
                        <c:v>1.9794810430000001</c:v>
                      </c:pt>
                      <c:pt idx="5909">
                        <c:v>1.9771989999999999</c:v>
                      </c:pt>
                      <c:pt idx="5910">
                        <c:v>1.9305017770000001</c:v>
                      </c:pt>
                      <c:pt idx="5911">
                        <c:v>1.922366</c:v>
                      </c:pt>
                      <c:pt idx="5912">
                        <c:v>1.9231674140000001</c:v>
                      </c:pt>
                      <c:pt idx="5913">
                        <c:v>2</c:v>
                      </c:pt>
                      <c:pt idx="5914">
                        <c:v>2</c:v>
                      </c:pt>
                      <c:pt idx="5915">
                        <c:v>1.9190289999999999</c:v>
                      </c:pt>
                      <c:pt idx="5916">
                        <c:v>1.693506</c:v>
                      </c:pt>
                      <c:pt idx="5917">
                        <c:v>1.5540579999999999</c:v>
                      </c:pt>
                      <c:pt idx="5918">
                        <c:v>1.3334569999999999</c:v>
                      </c:pt>
                      <c:pt idx="5919">
                        <c:v>1.2093320000000001</c:v>
                      </c:pt>
                      <c:pt idx="5920">
                        <c:v>0.71270319999999998</c:v>
                      </c:pt>
                      <c:pt idx="5921">
                        <c:v>0.70875860689999992</c:v>
                      </c:pt>
                      <c:pt idx="5922">
                        <c:v>0.54770229999999998</c:v>
                      </c:pt>
                      <c:pt idx="5923">
                        <c:v>0.57025890000000001</c:v>
                      </c:pt>
                      <c:pt idx="5924">
                        <c:v>0.70457110000000001</c:v>
                      </c:pt>
                      <c:pt idx="5925">
                        <c:v>0.70709772009999994</c:v>
                      </c:pt>
                      <c:pt idx="5926">
                        <c:v>1.05409</c:v>
                      </c:pt>
                      <c:pt idx="5927">
                        <c:v>1.072281</c:v>
                      </c:pt>
                      <c:pt idx="5928">
                        <c:v>1.179516</c:v>
                      </c:pt>
                      <c:pt idx="5929">
                        <c:v>1.5184200000000001</c:v>
                      </c:pt>
                      <c:pt idx="5930">
                        <c:v>1.5991869999999999</c:v>
                      </c:pt>
                      <c:pt idx="5931">
                        <c:v>1.999641</c:v>
                      </c:pt>
                      <c:pt idx="5932">
                        <c:v>1.9347300540000001</c:v>
                      </c:pt>
                      <c:pt idx="5933">
                        <c:v>1.9225522290000001</c:v>
                      </c:pt>
                      <c:pt idx="5934">
                        <c:v>1.9169689999999999</c:v>
                      </c:pt>
                      <c:pt idx="5935">
                        <c:v>2</c:v>
                      </c:pt>
                      <c:pt idx="5936">
                        <c:v>2</c:v>
                      </c:pt>
                      <c:pt idx="5937">
                        <c:v>2</c:v>
                      </c:pt>
                      <c:pt idx="5938">
                        <c:v>2</c:v>
                      </c:pt>
                      <c:pt idx="5939">
                        <c:v>2</c:v>
                      </c:pt>
                      <c:pt idx="5940">
                        <c:v>2</c:v>
                      </c:pt>
                      <c:pt idx="5941">
                        <c:v>2</c:v>
                      </c:pt>
                      <c:pt idx="5942">
                        <c:v>2</c:v>
                      </c:pt>
                      <c:pt idx="5943">
                        <c:v>2</c:v>
                      </c:pt>
                      <c:pt idx="5944">
                        <c:v>2</c:v>
                      </c:pt>
                      <c:pt idx="5945">
                        <c:v>2</c:v>
                      </c:pt>
                      <c:pt idx="5946">
                        <c:v>2</c:v>
                      </c:pt>
                      <c:pt idx="5947">
                        <c:v>2</c:v>
                      </c:pt>
                      <c:pt idx="5948">
                        <c:v>1.9968712400000002</c:v>
                      </c:pt>
                      <c:pt idx="5949">
                        <c:v>1.9666716420000001</c:v>
                      </c:pt>
                      <c:pt idx="5950">
                        <c:v>1.957568</c:v>
                      </c:pt>
                      <c:pt idx="5951">
                        <c:v>1.781663</c:v>
                      </c:pt>
                      <c:pt idx="5952">
                        <c:v>1.8007949999999999</c:v>
                      </c:pt>
                      <c:pt idx="5953">
                        <c:v>1.663915</c:v>
                      </c:pt>
                      <c:pt idx="5954">
                        <c:v>1.5119259999999999</c:v>
                      </c:pt>
                      <c:pt idx="5955">
                        <c:v>1.017137</c:v>
                      </c:pt>
                      <c:pt idx="5956">
                        <c:v>0.92853759999999996</c:v>
                      </c:pt>
                      <c:pt idx="5957">
                        <c:v>0.54486220000000007</c:v>
                      </c:pt>
                      <c:pt idx="5958">
                        <c:v>0.2384443</c:v>
                      </c:pt>
                      <c:pt idx="5959">
                        <c:v>8.270885E-2</c:v>
                      </c:pt>
                      <c:pt idx="5960">
                        <c:v>0</c:v>
                      </c:pt>
                      <c:pt idx="5961">
                        <c:v>7.9921400000000004E-2</c:v>
                      </c:pt>
                      <c:pt idx="5962">
                        <c:v>1.9827710000000002E-2</c:v>
                      </c:pt>
                      <c:pt idx="5963">
                        <c:v>1.6736470980000001E-2</c:v>
                      </c:pt>
                      <c:pt idx="5964">
                        <c:v>1.2983265900000001E-2</c:v>
                      </c:pt>
                      <c:pt idx="5965">
                        <c:v>1.0539440769999998E-2</c:v>
                      </c:pt>
                      <c:pt idx="5966">
                        <c:v>8.6507631000000001E-3</c:v>
                      </c:pt>
                      <c:pt idx="5967">
                        <c:v>8.0711557899999994E-3</c:v>
                      </c:pt>
                      <c:pt idx="5968">
                        <c:v>6.8298920200000005E-3</c:v>
                      </c:pt>
                      <c:pt idx="5969">
                        <c:v>0</c:v>
                      </c:pt>
                      <c:pt idx="5970">
                        <c:v>0.16243099159999999</c:v>
                      </c:pt>
                      <c:pt idx="5971">
                        <c:v>0.2262180094</c:v>
                      </c:pt>
                      <c:pt idx="5972">
                        <c:v>0.30706510000000004</c:v>
                      </c:pt>
                      <c:pt idx="5973">
                        <c:v>0.3100308095</c:v>
                      </c:pt>
                      <c:pt idx="5974">
                        <c:v>0.71712750000000003</c:v>
                      </c:pt>
                      <c:pt idx="5975">
                        <c:v>0.94633100000000003</c:v>
                      </c:pt>
                      <c:pt idx="5976">
                        <c:v>1.4317029999999999</c:v>
                      </c:pt>
                      <c:pt idx="5977">
                        <c:v>1.8553980000000001</c:v>
                      </c:pt>
                      <c:pt idx="5978">
                        <c:v>2</c:v>
                      </c:pt>
                      <c:pt idx="5979">
                        <c:v>1.8871331499999999</c:v>
                      </c:pt>
                      <c:pt idx="5980">
                        <c:v>1.8800520000000001</c:v>
                      </c:pt>
                      <c:pt idx="5981">
                        <c:v>1.9332120000000002</c:v>
                      </c:pt>
                      <c:pt idx="5982">
                        <c:v>1.922806</c:v>
                      </c:pt>
                      <c:pt idx="5983">
                        <c:v>1.852911</c:v>
                      </c:pt>
                      <c:pt idx="5984">
                        <c:v>1.504991</c:v>
                      </c:pt>
                      <c:pt idx="5985">
                        <c:v>0.98334429999999995</c:v>
                      </c:pt>
                      <c:pt idx="5986">
                        <c:v>0.75673019999999991</c:v>
                      </c:pt>
                      <c:pt idx="5987">
                        <c:v>0.57413769999999997</c:v>
                      </c:pt>
                      <c:pt idx="5988">
                        <c:v>0.44100290000000003</c:v>
                      </c:pt>
                      <c:pt idx="5989">
                        <c:v>0.43025959999999996</c:v>
                      </c:pt>
                      <c:pt idx="5990">
                        <c:v>0.51761820000000003</c:v>
                      </c:pt>
                      <c:pt idx="5991">
                        <c:v>0.41754980000000003</c:v>
                      </c:pt>
                      <c:pt idx="5992">
                        <c:v>0.3975185</c:v>
                      </c:pt>
                      <c:pt idx="5993">
                        <c:v>0.45859670000000002</c:v>
                      </c:pt>
                      <c:pt idx="5994">
                        <c:v>0.64788219999999996</c:v>
                      </c:pt>
                      <c:pt idx="5995">
                        <c:v>0.73537450000000004</c:v>
                      </c:pt>
                      <c:pt idx="5996">
                        <c:v>0.84340609999999994</c:v>
                      </c:pt>
                      <c:pt idx="5997">
                        <c:v>0.99366578279999995</c:v>
                      </c:pt>
                      <c:pt idx="5998">
                        <c:v>1.1427400000000001</c:v>
                      </c:pt>
                      <c:pt idx="5999">
                        <c:v>1.2147759999999999</c:v>
                      </c:pt>
                      <c:pt idx="6000">
                        <c:v>1.8193190000000001</c:v>
                      </c:pt>
                      <c:pt idx="6001">
                        <c:v>2</c:v>
                      </c:pt>
                      <c:pt idx="6002">
                        <c:v>2</c:v>
                      </c:pt>
                      <c:pt idx="6003">
                        <c:v>2</c:v>
                      </c:pt>
                      <c:pt idx="6004">
                        <c:v>2</c:v>
                      </c:pt>
                      <c:pt idx="6005">
                        <c:v>2</c:v>
                      </c:pt>
                      <c:pt idx="6006">
                        <c:v>2</c:v>
                      </c:pt>
                      <c:pt idx="6007">
                        <c:v>2</c:v>
                      </c:pt>
                      <c:pt idx="6008">
                        <c:v>2</c:v>
                      </c:pt>
                      <c:pt idx="6009">
                        <c:v>1.985643029</c:v>
                      </c:pt>
                      <c:pt idx="6010">
                        <c:v>1.895329</c:v>
                      </c:pt>
                      <c:pt idx="6011">
                        <c:v>1.7825460000000002</c:v>
                      </c:pt>
                      <c:pt idx="6012">
                        <c:v>1.487995</c:v>
                      </c:pt>
                      <c:pt idx="6013">
                        <c:v>1.2829740000000001</c:v>
                      </c:pt>
                      <c:pt idx="6014">
                        <c:v>1.240429</c:v>
                      </c:pt>
                      <c:pt idx="6015">
                        <c:v>1.3893739999999999</c:v>
                      </c:pt>
                      <c:pt idx="6016">
                        <c:v>0.93921109999999997</c:v>
                      </c:pt>
                      <c:pt idx="6017">
                        <c:v>0.53319349999999999</c:v>
                      </c:pt>
                      <c:pt idx="6018">
                        <c:v>0</c:v>
                      </c:pt>
                      <c:pt idx="6019">
                        <c:v>7.0312490000000005E-2</c:v>
                      </c:pt>
                      <c:pt idx="6020">
                        <c:v>0.26095190000000001</c:v>
                      </c:pt>
                      <c:pt idx="6021">
                        <c:v>0.57808110000000001</c:v>
                      </c:pt>
                      <c:pt idx="6022">
                        <c:v>1.0382</c:v>
                      </c:pt>
                      <c:pt idx="6023">
                        <c:v>1.043446342</c:v>
                      </c:pt>
                      <c:pt idx="6024">
                        <c:v>1.26231</c:v>
                      </c:pt>
                      <c:pt idx="6025">
                        <c:v>1.247287</c:v>
                      </c:pt>
                      <c:pt idx="6026">
                        <c:v>1.4643780000000002</c:v>
                      </c:pt>
                      <c:pt idx="6027">
                        <c:v>1.5998019999999999</c:v>
                      </c:pt>
                      <c:pt idx="6028">
                        <c:v>1.4730260079999999</c:v>
                      </c:pt>
                      <c:pt idx="6029">
                        <c:v>1.3462499999999999</c:v>
                      </c:pt>
                      <c:pt idx="6030">
                        <c:v>1.340177671</c:v>
                      </c:pt>
                      <c:pt idx="6031">
                        <c:v>0.50665519999999997</c:v>
                      </c:pt>
                      <c:pt idx="6032">
                        <c:v>0.2855413</c:v>
                      </c:pt>
                      <c:pt idx="6033">
                        <c:v>0</c:v>
                      </c:pt>
                      <c:pt idx="6034">
                        <c:v>0</c:v>
                      </c:pt>
                      <c:pt idx="6035">
                        <c:v>0</c:v>
                      </c:pt>
                      <c:pt idx="6036">
                        <c:v>0</c:v>
                      </c:pt>
                      <c:pt idx="6037">
                        <c:v>0</c:v>
                      </c:pt>
                      <c:pt idx="6038">
                        <c:v>0</c:v>
                      </c:pt>
                      <c:pt idx="6039">
                        <c:v>0</c:v>
                      </c:pt>
                      <c:pt idx="6040">
                        <c:v>0</c:v>
                      </c:pt>
                      <c:pt idx="6041">
                        <c:v>0</c:v>
                      </c:pt>
                      <c:pt idx="6042">
                        <c:v>0</c:v>
                      </c:pt>
                      <c:pt idx="6043">
                        <c:v>0</c:v>
                      </c:pt>
                      <c:pt idx="6044">
                        <c:v>0</c:v>
                      </c:pt>
                      <c:pt idx="6045">
                        <c:v>0</c:v>
                      </c:pt>
                      <c:pt idx="6046">
                        <c:v>0</c:v>
                      </c:pt>
                      <c:pt idx="6047">
                        <c:v>0</c:v>
                      </c:pt>
                      <c:pt idx="6048">
                        <c:v>0</c:v>
                      </c:pt>
                      <c:pt idx="6049">
                        <c:v>0</c:v>
                      </c:pt>
                      <c:pt idx="6050">
                        <c:v>0</c:v>
                      </c:pt>
                      <c:pt idx="6051">
                        <c:v>0</c:v>
                      </c:pt>
                      <c:pt idx="6052">
                        <c:v>0</c:v>
                      </c:pt>
                      <c:pt idx="6053">
                        <c:v>0</c:v>
                      </c:pt>
                      <c:pt idx="6054">
                        <c:v>2.370156E-3</c:v>
                      </c:pt>
                      <c:pt idx="6055">
                        <c:v>0.1022696</c:v>
                      </c:pt>
                      <c:pt idx="6056">
                        <c:v>0.104175697</c:v>
                      </c:pt>
                      <c:pt idx="6057">
                        <c:v>0.21937519999999999</c:v>
                      </c:pt>
                      <c:pt idx="6058">
                        <c:v>0.30428870000000002</c:v>
                      </c:pt>
                      <c:pt idx="6059">
                        <c:v>0.62782709999999997</c:v>
                      </c:pt>
                      <c:pt idx="6060">
                        <c:v>0.92016350000000002</c:v>
                      </c:pt>
                      <c:pt idx="6061">
                        <c:v>1.0043009999999999</c:v>
                      </c:pt>
                      <c:pt idx="6062">
                        <c:v>0.95460820000000002</c:v>
                      </c:pt>
                      <c:pt idx="6063">
                        <c:v>0.80321819999999999</c:v>
                      </c:pt>
                      <c:pt idx="6064">
                        <c:v>0.4001112</c:v>
                      </c:pt>
                      <c:pt idx="6065">
                        <c:v>0.22137080000000001</c:v>
                      </c:pt>
                      <c:pt idx="6066">
                        <c:v>0.1771566</c:v>
                      </c:pt>
                      <c:pt idx="6067">
                        <c:v>0.25325819999999999</c:v>
                      </c:pt>
                      <c:pt idx="6068">
                        <c:v>0.27527970000000002</c:v>
                      </c:pt>
                      <c:pt idx="6069">
                        <c:v>0.21593073230000001</c:v>
                      </c:pt>
                      <c:pt idx="6070">
                        <c:v>0.16108450000000002</c:v>
                      </c:pt>
                      <c:pt idx="6071">
                        <c:v>0.22681209999999999</c:v>
                      </c:pt>
                      <c:pt idx="6072">
                        <c:v>0.35427570000000003</c:v>
                      </c:pt>
                      <c:pt idx="6073">
                        <c:v>0.31596810000000003</c:v>
                      </c:pt>
                      <c:pt idx="6074">
                        <c:v>0</c:v>
                      </c:pt>
                      <c:pt idx="6075">
                        <c:v>2.4757291680000001E-2</c:v>
                      </c:pt>
                      <c:pt idx="6076">
                        <c:v>4.9591330709999999E-2</c:v>
                      </c:pt>
                      <c:pt idx="6077">
                        <c:v>5.445613832E-2</c:v>
                      </c:pt>
                      <c:pt idx="6078">
                        <c:v>7.9522896139999993E-2</c:v>
                      </c:pt>
                      <c:pt idx="6079">
                        <c:v>9.9063826780000003E-2</c:v>
                      </c:pt>
                      <c:pt idx="6080">
                        <c:v>0.1240909729</c:v>
                      </c:pt>
                      <c:pt idx="6081">
                        <c:v>0.1386136</c:v>
                      </c:pt>
                      <c:pt idx="6082">
                        <c:v>0.70860429999999996</c:v>
                      </c:pt>
                      <c:pt idx="6083">
                        <c:v>1.6072280000000001</c:v>
                      </c:pt>
                      <c:pt idx="6084">
                        <c:v>2</c:v>
                      </c:pt>
                      <c:pt idx="6085">
                        <c:v>2</c:v>
                      </c:pt>
                      <c:pt idx="6086">
                        <c:v>2</c:v>
                      </c:pt>
                      <c:pt idx="6087">
                        <c:v>2</c:v>
                      </c:pt>
                      <c:pt idx="6088">
                        <c:v>2</c:v>
                      </c:pt>
                      <c:pt idx="6089">
                        <c:v>1.9994782440000001</c:v>
                      </c:pt>
                      <c:pt idx="6090">
                        <c:v>1.7364809999999999</c:v>
                      </c:pt>
                      <c:pt idx="6091">
                        <c:v>1.5254679999999998</c:v>
                      </c:pt>
                      <c:pt idx="6092">
                        <c:v>1.394784</c:v>
                      </c:pt>
                      <c:pt idx="6093">
                        <c:v>1.007428</c:v>
                      </c:pt>
                      <c:pt idx="6094">
                        <c:v>0.87140420000000007</c:v>
                      </c:pt>
                      <c:pt idx="6095">
                        <c:v>0.86061809999999994</c:v>
                      </c:pt>
                      <c:pt idx="6096">
                        <c:v>0.93782375110000005</c:v>
                      </c:pt>
                      <c:pt idx="6097">
                        <c:v>1.0106440000000001</c:v>
                      </c:pt>
                      <c:pt idx="6098">
                        <c:v>1.158053</c:v>
                      </c:pt>
                      <c:pt idx="6099">
                        <c:v>1.4779960000000001</c:v>
                      </c:pt>
                      <c:pt idx="6100">
                        <c:v>1.599939</c:v>
                      </c:pt>
                      <c:pt idx="6101">
                        <c:v>1.8177570000000001</c:v>
                      </c:pt>
                      <c:pt idx="6102">
                        <c:v>1.8178479999999999</c:v>
                      </c:pt>
                      <c:pt idx="6103">
                        <c:v>1.681481</c:v>
                      </c:pt>
                      <c:pt idx="6104">
                        <c:v>1.789299</c:v>
                      </c:pt>
                      <c:pt idx="6105">
                        <c:v>1.8307740000000001</c:v>
                      </c:pt>
                      <c:pt idx="6106">
                        <c:v>1.679320283</c:v>
                      </c:pt>
                      <c:pt idx="6107">
                        <c:v>1.609075</c:v>
                      </c:pt>
                      <c:pt idx="6108">
                        <c:v>1.4485249999999998</c:v>
                      </c:pt>
                      <c:pt idx="6109">
                        <c:v>0.8776345000000001</c:v>
                      </c:pt>
                      <c:pt idx="6110">
                        <c:v>0.72847030000000002</c:v>
                      </c:pt>
                      <c:pt idx="6111">
                        <c:v>0.48372959999999998</c:v>
                      </c:pt>
                      <c:pt idx="6112">
                        <c:v>0.48247825080000001</c:v>
                      </c:pt>
                      <c:pt idx="6113">
                        <c:v>0.3275459</c:v>
                      </c:pt>
                      <c:pt idx="6114">
                        <c:v>0.22393339999999998</c:v>
                      </c:pt>
                      <c:pt idx="6115">
                        <c:v>0.2495289</c:v>
                      </c:pt>
                      <c:pt idx="6116">
                        <c:v>0.52633567990000008</c:v>
                      </c:pt>
                      <c:pt idx="6117">
                        <c:v>0.59169709999999998</c:v>
                      </c:pt>
                      <c:pt idx="6118">
                        <c:v>0</c:v>
                      </c:pt>
                      <c:pt idx="6119">
                        <c:v>0</c:v>
                      </c:pt>
                      <c:pt idx="6120">
                        <c:v>0</c:v>
                      </c:pt>
                      <c:pt idx="6121">
                        <c:v>0</c:v>
                      </c:pt>
                      <c:pt idx="6122">
                        <c:v>0</c:v>
                      </c:pt>
                      <c:pt idx="6123">
                        <c:v>0</c:v>
                      </c:pt>
                      <c:pt idx="6124">
                        <c:v>4.4568927830000001E-2</c:v>
                      </c:pt>
                      <c:pt idx="6125">
                        <c:v>0.12932188210000001</c:v>
                      </c:pt>
                      <c:pt idx="6126">
                        <c:v>0.17288730000000002</c:v>
                      </c:pt>
                      <c:pt idx="6127">
                        <c:v>0.32322898260000005</c:v>
                      </c:pt>
                      <c:pt idx="6128">
                        <c:v>0.45925240000000001</c:v>
                      </c:pt>
                      <c:pt idx="6129">
                        <c:v>0.42359859999999999</c:v>
                      </c:pt>
                      <c:pt idx="6130">
                        <c:v>0</c:v>
                      </c:pt>
                      <c:pt idx="6131">
                        <c:v>0</c:v>
                      </c:pt>
                      <c:pt idx="6132">
                        <c:v>0</c:v>
                      </c:pt>
                      <c:pt idx="6133">
                        <c:v>0</c:v>
                      </c:pt>
                      <c:pt idx="6134">
                        <c:v>1.8233728000000002E-4</c:v>
                      </c:pt>
                      <c:pt idx="6135">
                        <c:v>0.1160786</c:v>
                      </c:pt>
                      <c:pt idx="6136">
                        <c:v>0.30389280000000002</c:v>
                      </c:pt>
                      <c:pt idx="6137">
                        <c:v>0.3062718545</c:v>
                      </c:pt>
                      <c:pt idx="6138">
                        <c:v>0.70660960000000006</c:v>
                      </c:pt>
                      <c:pt idx="6139">
                        <c:v>0.72454350000000001</c:v>
                      </c:pt>
                      <c:pt idx="6140">
                        <c:v>0.97703100000000009</c:v>
                      </c:pt>
                      <c:pt idx="6141">
                        <c:v>0.97982812780000006</c:v>
                      </c:pt>
                      <c:pt idx="6142">
                        <c:v>1.096517</c:v>
                      </c:pt>
                      <c:pt idx="6143">
                        <c:v>1.0483660000000001</c:v>
                      </c:pt>
                      <c:pt idx="6144">
                        <c:v>0.84522819999999999</c:v>
                      </c:pt>
                      <c:pt idx="6145">
                        <c:v>0.3610544</c:v>
                      </c:pt>
                      <c:pt idx="6146">
                        <c:v>0.2802018</c:v>
                      </c:pt>
                      <c:pt idx="6147">
                        <c:v>0.28196510809999997</c:v>
                      </c:pt>
                      <c:pt idx="6148">
                        <c:v>0.3246463</c:v>
                      </c:pt>
                      <c:pt idx="6149">
                        <c:v>0.98036940000000006</c:v>
                      </c:pt>
                      <c:pt idx="6150">
                        <c:v>1.191109</c:v>
                      </c:pt>
                      <c:pt idx="6151">
                        <c:v>1.497233</c:v>
                      </c:pt>
                      <c:pt idx="6152">
                        <c:v>1.6114709999999999</c:v>
                      </c:pt>
                      <c:pt idx="6153">
                        <c:v>1.547525</c:v>
                      </c:pt>
                      <c:pt idx="6154">
                        <c:v>1.592638</c:v>
                      </c:pt>
                      <c:pt idx="6155">
                        <c:v>1.4843119999999999</c:v>
                      </c:pt>
                      <c:pt idx="6156">
                        <c:v>1.2091240000000001</c:v>
                      </c:pt>
                      <c:pt idx="6157">
                        <c:v>1.0949819999999999</c:v>
                      </c:pt>
                      <c:pt idx="6158">
                        <c:v>1.09390027</c:v>
                      </c:pt>
                      <c:pt idx="6159">
                        <c:v>1.0389539999999999</c:v>
                      </c:pt>
                      <c:pt idx="6160">
                        <c:v>1.560665</c:v>
                      </c:pt>
                      <c:pt idx="6161">
                        <c:v>2</c:v>
                      </c:pt>
                      <c:pt idx="6162">
                        <c:v>2</c:v>
                      </c:pt>
                      <c:pt idx="6163">
                        <c:v>2</c:v>
                      </c:pt>
                      <c:pt idx="6164">
                        <c:v>1.6779523810000001</c:v>
                      </c:pt>
                      <c:pt idx="6165">
                        <c:v>1.3608275889999999</c:v>
                      </c:pt>
                      <c:pt idx="6166">
                        <c:v>1.150258</c:v>
                      </c:pt>
                      <c:pt idx="6167">
                        <c:v>1.1441922549999999</c:v>
                      </c:pt>
                      <c:pt idx="6168">
                        <c:v>0.7657697</c:v>
                      </c:pt>
                      <c:pt idx="6169">
                        <c:v>0.47232059999999998</c:v>
                      </c:pt>
                      <c:pt idx="6170">
                        <c:v>0.55559139999999996</c:v>
                      </c:pt>
                      <c:pt idx="6171">
                        <c:v>0.56126407450000004</c:v>
                      </c:pt>
                      <c:pt idx="6172">
                        <c:v>0.73261430000000005</c:v>
                      </c:pt>
                      <c:pt idx="6173">
                        <c:v>0.73525833719999989</c:v>
                      </c:pt>
                      <c:pt idx="6174">
                        <c:v>0.787914</c:v>
                      </c:pt>
                      <c:pt idx="6175">
                        <c:v>0.99800319999999998</c:v>
                      </c:pt>
                      <c:pt idx="6176">
                        <c:v>1.1378789999999999</c:v>
                      </c:pt>
                      <c:pt idx="6177">
                        <c:v>1.101669</c:v>
                      </c:pt>
                      <c:pt idx="6178">
                        <c:v>1.1447700000000001</c:v>
                      </c:pt>
                      <c:pt idx="6179">
                        <c:v>1.6364779999999999</c:v>
                      </c:pt>
                      <c:pt idx="6180">
                        <c:v>1.760057</c:v>
                      </c:pt>
                      <c:pt idx="6181">
                        <c:v>1.758998976</c:v>
                      </c:pt>
                      <c:pt idx="6182">
                        <c:v>1.7158000000000002</c:v>
                      </c:pt>
                      <c:pt idx="6183">
                        <c:v>1.7851980000000001</c:v>
                      </c:pt>
                      <c:pt idx="6184">
                        <c:v>1.028837</c:v>
                      </c:pt>
                      <c:pt idx="6185">
                        <c:v>0.69667879999999993</c:v>
                      </c:pt>
                      <c:pt idx="6186">
                        <c:v>0.5352306</c:v>
                      </c:pt>
                      <c:pt idx="6187">
                        <c:v>0.18650030000000001</c:v>
                      </c:pt>
                      <c:pt idx="6188">
                        <c:v>9.3979583559999996E-2</c:v>
                      </c:pt>
                      <c:pt idx="6189">
                        <c:v>0</c:v>
                      </c:pt>
                      <c:pt idx="6190">
                        <c:v>0.67857889999999998</c:v>
                      </c:pt>
                      <c:pt idx="6191">
                        <c:v>0.6912028456</c:v>
                      </c:pt>
                      <c:pt idx="6192">
                        <c:v>0.99676680000000006</c:v>
                      </c:pt>
                      <c:pt idx="6193">
                        <c:v>1.714002</c:v>
                      </c:pt>
                      <c:pt idx="6194">
                        <c:v>2</c:v>
                      </c:pt>
                      <c:pt idx="6195">
                        <c:v>1.8052705370000002</c:v>
                      </c:pt>
                      <c:pt idx="6196">
                        <c:v>1.689530363</c:v>
                      </c:pt>
                      <c:pt idx="6197">
                        <c:v>1.6524510000000001</c:v>
                      </c:pt>
                      <c:pt idx="6198">
                        <c:v>1.2317089999999999</c:v>
                      </c:pt>
                      <c:pt idx="6199">
                        <c:v>8.1112480000000001E-2</c:v>
                      </c:pt>
                      <c:pt idx="6200">
                        <c:v>7.7894382970000009E-2</c:v>
                      </c:pt>
                      <c:pt idx="6201">
                        <c:v>0</c:v>
                      </c:pt>
                      <c:pt idx="6202">
                        <c:v>8.7283749680000008E-2</c:v>
                      </c:pt>
                      <c:pt idx="6203">
                        <c:v>0.10240050000000001</c:v>
                      </c:pt>
                      <c:pt idx="6204">
                        <c:v>0.36323439999999996</c:v>
                      </c:pt>
                      <c:pt idx="6205">
                        <c:v>0.52142980000000005</c:v>
                      </c:pt>
                      <c:pt idx="6206">
                        <c:v>1.1223369999999999</c:v>
                      </c:pt>
                      <c:pt idx="6207">
                        <c:v>1.4057599999999999</c:v>
                      </c:pt>
                      <c:pt idx="6208">
                        <c:v>1.5392070000000002</c:v>
                      </c:pt>
                      <c:pt idx="6209">
                        <c:v>0.7343192999999999</c:v>
                      </c:pt>
                      <c:pt idx="6210">
                        <c:v>0.72160367619999999</c:v>
                      </c:pt>
                      <c:pt idx="6211">
                        <c:v>0.41381970000000001</c:v>
                      </c:pt>
                      <c:pt idx="6212">
                        <c:v>0</c:v>
                      </c:pt>
                      <c:pt idx="6213">
                        <c:v>0.21538887679999999</c:v>
                      </c:pt>
                      <c:pt idx="6214">
                        <c:v>0.35453359239999999</c:v>
                      </c:pt>
                      <c:pt idx="6215">
                        <c:v>0.71295609999999998</c:v>
                      </c:pt>
                      <c:pt idx="6216">
                        <c:v>1.479023</c:v>
                      </c:pt>
                      <c:pt idx="6217">
                        <c:v>1.7882660000000001</c:v>
                      </c:pt>
                      <c:pt idx="6218">
                        <c:v>2</c:v>
                      </c:pt>
                      <c:pt idx="6219">
                        <c:v>1.6492019999999998</c:v>
                      </c:pt>
                      <c:pt idx="6220">
                        <c:v>1.279909</c:v>
                      </c:pt>
                      <c:pt idx="6221">
                        <c:v>1.270764971</c:v>
                      </c:pt>
                      <c:pt idx="6222">
                        <c:v>1.04955</c:v>
                      </c:pt>
                      <c:pt idx="6223">
                        <c:v>0.37227179999999999</c:v>
                      </c:pt>
                      <c:pt idx="6224">
                        <c:v>0</c:v>
                      </c:pt>
                      <c:pt idx="6225">
                        <c:v>0</c:v>
                      </c:pt>
                      <c:pt idx="6226">
                        <c:v>0</c:v>
                      </c:pt>
                      <c:pt idx="6227">
                        <c:v>0</c:v>
                      </c:pt>
                      <c:pt idx="6228">
                        <c:v>5.4111823730000001E-2</c:v>
                      </c:pt>
                      <c:pt idx="6229">
                        <c:v>0.1033209925</c:v>
                      </c:pt>
                      <c:pt idx="6230">
                        <c:v>0.25994539999999999</c:v>
                      </c:pt>
                      <c:pt idx="6231">
                        <c:v>0.79188599999999998</c:v>
                      </c:pt>
                      <c:pt idx="6232">
                        <c:v>1.4431149999999999</c:v>
                      </c:pt>
                      <c:pt idx="6233">
                        <c:v>0</c:v>
                      </c:pt>
                      <c:pt idx="6234">
                        <c:v>0</c:v>
                      </c:pt>
                      <c:pt idx="6235">
                        <c:v>0</c:v>
                      </c:pt>
                      <c:pt idx="6236">
                        <c:v>0</c:v>
                      </c:pt>
                      <c:pt idx="6237">
                        <c:v>0</c:v>
                      </c:pt>
                      <c:pt idx="6238">
                        <c:v>0</c:v>
                      </c:pt>
                      <c:pt idx="6239">
                        <c:v>0</c:v>
                      </c:pt>
                      <c:pt idx="6240">
                        <c:v>0</c:v>
                      </c:pt>
                      <c:pt idx="6241">
                        <c:v>0</c:v>
                      </c:pt>
                      <c:pt idx="6242">
                        <c:v>0</c:v>
                      </c:pt>
                      <c:pt idx="6243">
                        <c:v>0</c:v>
                      </c:pt>
                      <c:pt idx="6244">
                        <c:v>0</c:v>
                      </c:pt>
                      <c:pt idx="6245">
                        <c:v>0</c:v>
                      </c:pt>
                      <c:pt idx="6246">
                        <c:v>0</c:v>
                      </c:pt>
                      <c:pt idx="6247">
                        <c:v>0</c:v>
                      </c:pt>
                      <c:pt idx="6248">
                        <c:v>0</c:v>
                      </c:pt>
                      <c:pt idx="6249">
                        <c:v>0</c:v>
                      </c:pt>
                      <c:pt idx="6250">
                        <c:v>0</c:v>
                      </c:pt>
                      <c:pt idx="6251">
                        <c:v>0.20766613799999997</c:v>
                      </c:pt>
                      <c:pt idx="6252">
                        <c:v>0.60578462600000005</c:v>
                      </c:pt>
                      <c:pt idx="6253">
                        <c:v>0.80564453599999997</c:v>
                      </c:pt>
                      <c:pt idx="6254">
                        <c:v>1.5955764719999999</c:v>
                      </c:pt>
                      <c:pt idx="6255">
                        <c:v>2</c:v>
                      </c:pt>
                      <c:pt idx="6256">
                        <c:v>1.9845655869999999</c:v>
                      </c:pt>
                      <c:pt idx="6257">
                        <c:v>0.47000248300000003</c:v>
                      </c:pt>
                      <c:pt idx="6258">
                        <c:v>0</c:v>
                      </c:pt>
                      <c:pt idx="6259">
                        <c:v>0</c:v>
                      </c:pt>
                      <c:pt idx="6260">
                        <c:v>0</c:v>
                      </c:pt>
                      <c:pt idx="6261">
                        <c:v>0</c:v>
                      </c:pt>
                      <c:pt idx="6262">
                        <c:v>0</c:v>
                      </c:pt>
                      <c:pt idx="6263">
                        <c:v>0</c:v>
                      </c:pt>
                      <c:pt idx="6264">
                        <c:v>0</c:v>
                      </c:pt>
                      <c:pt idx="6265">
                        <c:v>0</c:v>
                      </c:pt>
                      <c:pt idx="6266">
                        <c:v>0</c:v>
                      </c:pt>
                      <c:pt idx="6267">
                        <c:v>0</c:v>
                      </c:pt>
                      <c:pt idx="6268">
                        <c:v>0</c:v>
                      </c:pt>
                      <c:pt idx="6269">
                        <c:v>0</c:v>
                      </c:pt>
                      <c:pt idx="6270">
                        <c:v>0</c:v>
                      </c:pt>
                      <c:pt idx="6271">
                        <c:v>0</c:v>
                      </c:pt>
                      <c:pt idx="6272">
                        <c:v>0</c:v>
                      </c:pt>
                      <c:pt idx="6273">
                        <c:v>0</c:v>
                      </c:pt>
                      <c:pt idx="6274">
                        <c:v>0</c:v>
                      </c:pt>
                      <c:pt idx="6275">
                        <c:v>0</c:v>
                      </c:pt>
                      <c:pt idx="6276">
                        <c:v>0</c:v>
                      </c:pt>
                      <c:pt idx="6277">
                        <c:v>0</c:v>
                      </c:pt>
                      <c:pt idx="6278">
                        <c:v>0</c:v>
                      </c:pt>
                      <c:pt idx="6279">
                        <c:v>0</c:v>
                      </c:pt>
                      <c:pt idx="6280">
                        <c:v>0</c:v>
                      </c:pt>
                      <c:pt idx="6281">
                        <c:v>0</c:v>
                      </c:pt>
                      <c:pt idx="6282">
                        <c:v>0</c:v>
                      </c:pt>
                      <c:pt idx="6283">
                        <c:v>0</c:v>
                      </c:pt>
                      <c:pt idx="6284">
                        <c:v>0</c:v>
                      </c:pt>
                      <c:pt idx="6285">
                        <c:v>0</c:v>
                      </c:pt>
                      <c:pt idx="6286">
                        <c:v>0</c:v>
                      </c:pt>
                      <c:pt idx="6287">
                        <c:v>0</c:v>
                      </c:pt>
                      <c:pt idx="6288">
                        <c:v>0</c:v>
                      </c:pt>
                      <c:pt idx="6289">
                        <c:v>0</c:v>
                      </c:pt>
                      <c:pt idx="6290">
                        <c:v>0</c:v>
                      </c:pt>
                      <c:pt idx="6291">
                        <c:v>0</c:v>
                      </c:pt>
                      <c:pt idx="6292">
                        <c:v>0</c:v>
                      </c:pt>
                      <c:pt idx="6293">
                        <c:v>0</c:v>
                      </c:pt>
                      <c:pt idx="6294">
                        <c:v>0</c:v>
                      </c:pt>
                      <c:pt idx="6295">
                        <c:v>0</c:v>
                      </c:pt>
                      <c:pt idx="6296">
                        <c:v>0</c:v>
                      </c:pt>
                      <c:pt idx="6297">
                        <c:v>0</c:v>
                      </c:pt>
                      <c:pt idx="6298">
                        <c:v>0</c:v>
                      </c:pt>
                      <c:pt idx="6299">
                        <c:v>0</c:v>
                      </c:pt>
                      <c:pt idx="6300">
                        <c:v>0</c:v>
                      </c:pt>
                      <c:pt idx="6301">
                        <c:v>0</c:v>
                      </c:pt>
                      <c:pt idx="6302">
                        <c:v>0</c:v>
                      </c:pt>
                      <c:pt idx="6303">
                        <c:v>0</c:v>
                      </c:pt>
                      <c:pt idx="6304">
                        <c:v>0</c:v>
                      </c:pt>
                      <c:pt idx="6305">
                        <c:v>0</c:v>
                      </c:pt>
                      <c:pt idx="6306">
                        <c:v>0</c:v>
                      </c:pt>
                      <c:pt idx="6307">
                        <c:v>0</c:v>
                      </c:pt>
                      <c:pt idx="6308">
                        <c:v>0</c:v>
                      </c:pt>
                      <c:pt idx="6309">
                        <c:v>0</c:v>
                      </c:pt>
                      <c:pt idx="6310">
                        <c:v>0</c:v>
                      </c:pt>
                      <c:pt idx="6311">
                        <c:v>0</c:v>
                      </c:pt>
                      <c:pt idx="6312">
                        <c:v>0</c:v>
                      </c:pt>
                      <c:pt idx="6313">
                        <c:v>0</c:v>
                      </c:pt>
                      <c:pt idx="6314">
                        <c:v>0</c:v>
                      </c:pt>
                      <c:pt idx="6315">
                        <c:v>0</c:v>
                      </c:pt>
                      <c:pt idx="6316">
                        <c:v>0</c:v>
                      </c:pt>
                      <c:pt idx="6317">
                        <c:v>0</c:v>
                      </c:pt>
                      <c:pt idx="6318">
                        <c:v>0</c:v>
                      </c:pt>
                      <c:pt idx="6319">
                        <c:v>0</c:v>
                      </c:pt>
                      <c:pt idx="6320">
                        <c:v>0</c:v>
                      </c:pt>
                      <c:pt idx="6321">
                        <c:v>0</c:v>
                      </c:pt>
                      <c:pt idx="6322">
                        <c:v>0</c:v>
                      </c:pt>
                      <c:pt idx="6323">
                        <c:v>0</c:v>
                      </c:pt>
                      <c:pt idx="6324">
                        <c:v>0</c:v>
                      </c:pt>
                      <c:pt idx="6325">
                        <c:v>0</c:v>
                      </c:pt>
                      <c:pt idx="6326">
                        <c:v>0</c:v>
                      </c:pt>
                      <c:pt idx="6327">
                        <c:v>0</c:v>
                      </c:pt>
                      <c:pt idx="6328">
                        <c:v>0</c:v>
                      </c:pt>
                      <c:pt idx="6329">
                        <c:v>0</c:v>
                      </c:pt>
                      <c:pt idx="6330">
                        <c:v>0</c:v>
                      </c:pt>
                      <c:pt idx="6331">
                        <c:v>0</c:v>
                      </c:pt>
                      <c:pt idx="6332">
                        <c:v>0</c:v>
                      </c:pt>
                      <c:pt idx="6333">
                        <c:v>0</c:v>
                      </c:pt>
                      <c:pt idx="6334">
                        <c:v>0</c:v>
                      </c:pt>
                      <c:pt idx="6335">
                        <c:v>0</c:v>
                      </c:pt>
                      <c:pt idx="6336">
                        <c:v>0</c:v>
                      </c:pt>
                      <c:pt idx="6337">
                        <c:v>0</c:v>
                      </c:pt>
                      <c:pt idx="6338">
                        <c:v>0</c:v>
                      </c:pt>
                      <c:pt idx="6339">
                        <c:v>0</c:v>
                      </c:pt>
                      <c:pt idx="6340">
                        <c:v>0</c:v>
                      </c:pt>
                      <c:pt idx="6341">
                        <c:v>0</c:v>
                      </c:pt>
                      <c:pt idx="6342">
                        <c:v>0</c:v>
                      </c:pt>
                      <c:pt idx="6343">
                        <c:v>0</c:v>
                      </c:pt>
                      <c:pt idx="6344">
                        <c:v>0</c:v>
                      </c:pt>
                      <c:pt idx="6345">
                        <c:v>0</c:v>
                      </c:pt>
                      <c:pt idx="6346">
                        <c:v>0</c:v>
                      </c:pt>
                      <c:pt idx="6347">
                        <c:v>0</c:v>
                      </c:pt>
                      <c:pt idx="6348">
                        <c:v>0</c:v>
                      </c:pt>
                      <c:pt idx="6349">
                        <c:v>0</c:v>
                      </c:pt>
                      <c:pt idx="6350">
                        <c:v>0</c:v>
                      </c:pt>
                      <c:pt idx="6351">
                        <c:v>0</c:v>
                      </c:pt>
                      <c:pt idx="6352">
                        <c:v>0</c:v>
                      </c:pt>
                      <c:pt idx="6353">
                        <c:v>0</c:v>
                      </c:pt>
                      <c:pt idx="6354">
                        <c:v>0</c:v>
                      </c:pt>
                      <c:pt idx="6355">
                        <c:v>0</c:v>
                      </c:pt>
                      <c:pt idx="6356">
                        <c:v>0</c:v>
                      </c:pt>
                      <c:pt idx="6357">
                        <c:v>0</c:v>
                      </c:pt>
                      <c:pt idx="6358">
                        <c:v>0</c:v>
                      </c:pt>
                      <c:pt idx="6359">
                        <c:v>0</c:v>
                      </c:pt>
                      <c:pt idx="6360">
                        <c:v>0</c:v>
                      </c:pt>
                      <c:pt idx="6361">
                        <c:v>0</c:v>
                      </c:pt>
                      <c:pt idx="6362">
                        <c:v>0</c:v>
                      </c:pt>
                      <c:pt idx="6363">
                        <c:v>0</c:v>
                      </c:pt>
                      <c:pt idx="6364">
                        <c:v>0</c:v>
                      </c:pt>
                      <c:pt idx="6365">
                        <c:v>0</c:v>
                      </c:pt>
                      <c:pt idx="6366">
                        <c:v>0</c:v>
                      </c:pt>
                      <c:pt idx="6367">
                        <c:v>0</c:v>
                      </c:pt>
                      <c:pt idx="6368">
                        <c:v>0</c:v>
                      </c:pt>
                      <c:pt idx="6369">
                        <c:v>0</c:v>
                      </c:pt>
                      <c:pt idx="6370">
                        <c:v>0</c:v>
                      </c:pt>
                      <c:pt idx="6371">
                        <c:v>0</c:v>
                      </c:pt>
                      <c:pt idx="6372">
                        <c:v>0</c:v>
                      </c:pt>
                      <c:pt idx="6373">
                        <c:v>0</c:v>
                      </c:pt>
                      <c:pt idx="6374">
                        <c:v>0</c:v>
                      </c:pt>
                      <c:pt idx="6375">
                        <c:v>0</c:v>
                      </c:pt>
                      <c:pt idx="6376">
                        <c:v>0</c:v>
                      </c:pt>
                      <c:pt idx="6377">
                        <c:v>0</c:v>
                      </c:pt>
                      <c:pt idx="6378">
                        <c:v>0</c:v>
                      </c:pt>
                      <c:pt idx="6379">
                        <c:v>0</c:v>
                      </c:pt>
                      <c:pt idx="6380">
                        <c:v>0</c:v>
                      </c:pt>
                      <c:pt idx="6381">
                        <c:v>0</c:v>
                      </c:pt>
                      <c:pt idx="6382">
                        <c:v>0</c:v>
                      </c:pt>
                      <c:pt idx="6383">
                        <c:v>0</c:v>
                      </c:pt>
                      <c:pt idx="6384">
                        <c:v>0</c:v>
                      </c:pt>
                      <c:pt idx="6385">
                        <c:v>0</c:v>
                      </c:pt>
                      <c:pt idx="6386">
                        <c:v>0</c:v>
                      </c:pt>
                      <c:pt idx="6387">
                        <c:v>0</c:v>
                      </c:pt>
                      <c:pt idx="6388">
                        <c:v>6.8974187510000007E-2</c:v>
                      </c:pt>
                      <c:pt idx="6389">
                        <c:v>0.20233738809999999</c:v>
                      </c:pt>
                      <c:pt idx="6390">
                        <c:v>0.78940402600000004</c:v>
                      </c:pt>
                      <c:pt idx="6391">
                        <c:v>0.91660998770000002</c:v>
                      </c:pt>
                      <c:pt idx="6392">
                        <c:v>0.98201428710000005</c:v>
                      </c:pt>
                      <c:pt idx="6393">
                        <c:v>1.5721267990000001</c:v>
                      </c:pt>
                      <c:pt idx="6394">
                        <c:v>1.6411009870000002</c:v>
                      </c:pt>
                      <c:pt idx="6395">
                        <c:v>1.7054900000000002</c:v>
                      </c:pt>
                      <c:pt idx="6396">
                        <c:v>1.710210673</c:v>
                      </c:pt>
                      <c:pt idx="6397">
                        <c:v>2</c:v>
                      </c:pt>
                      <c:pt idx="6398">
                        <c:v>1.9980910629999999</c:v>
                      </c:pt>
                      <c:pt idx="6399">
                        <c:v>1.9937415039999999</c:v>
                      </c:pt>
                      <c:pt idx="6400">
                        <c:v>1.9893622149999999</c:v>
                      </c:pt>
                      <c:pt idx="6401">
                        <c:v>1.9886984679999999</c:v>
                      </c:pt>
                      <c:pt idx="6402">
                        <c:v>1.9874780000000001</c:v>
                      </c:pt>
                      <c:pt idx="6403">
                        <c:v>1.9536715770000002</c:v>
                      </c:pt>
                      <c:pt idx="6404">
                        <c:v>1.135381</c:v>
                      </c:pt>
                      <c:pt idx="6405">
                        <c:v>0</c:v>
                      </c:pt>
                      <c:pt idx="6406">
                        <c:v>0</c:v>
                      </c:pt>
                      <c:pt idx="6407">
                        <c:v>0</c:v>
                      </c:pt>
                      <c:pt idx="6408">
                        <c:v>0</c:v>
                      </c:pt>
                      <c:pt idx="6409">
                        <c:v>0</c:v>
                      </c:pt>
                      <c:pt idx="6410">
                        <c:v>0</c:v>
                      </c:pt>
                      <c:pt idx="6411">
                        <c:v>0</c:v>
                      </c:pt>
                      <c:pt idx="6412">
                        <c:v>0</c:v>
                      </c:pt>
                      <c:pt idx="6413">
                        <c:v>0</c:v>
                      </c:pt>
                      <c:pt idx="6414">
                        <c:v>0</c:v>
                      </c:pt>
                      <c:pt idx="6415">
                        <c:v>0</c:v>
                      </c:pt>
                      <c:pt idx="6416">
                        <c:v>0</c:v>
                      </c:pt>
                      <c:pt idx="6417">
                        <c:v>3.4837227100000001E-3</c:v>
                      </c:pt>
                      <c:pt idx="6418">
                        <c:v>3.3083783480000004E-2</c:v>
                      </c:pt>
                      <c:pt idx="6419">
                        <c:v>3.6567506180000001E-2</c:v>
                      </c:pt>
                      <c:pt idx="6420">
                        <c:v>5.3107743459999995E-2</c:v>
                      </c:pt>
                      <c:pt idx="6421">
                        <c:v>5.6257319719999997E-2</c:v>
                      </c:pt>
                      <c:pt idx="6422">
                        <c:v>5.9714575339999999E-2</c:v>
                      </c:pt>
                      <c:pt idx="6423">
                        <c:v>7.6230000000000006E-2</c:v>
                      </c:pt>
                      <c:pt idx="6424">
                        <c:v>0.58394460000000004</c:v>
                      </c:pt>
                      <c:pt idx="6425">
                        <c:v>1.178274</c:v>
                      </c:pt>
                      <c:pt idx="6426">
                        <c:v>1.3154539999999999</c:v>
                      </c:pt>
                      <c:pt idx="6427">
                        <c:v>1.664809</c:v>
                      </c:pt>
                      <c:pt idx="6428">
                        <c:v>1.0824910000000001</c:v>
                      </c:pt>
                      <c:pt idx="6429">
                        <c:v>0.89257959999999992</c:v>
                      </c:pt>
                      <c:pt idx="6430">
                        <c:v>0.85842380000000007</c:v>
                      </c:pt>
                      <c:pt idx="6431">
                        <c:v>1.0429007889999999</c:v>
                      </c:pt>
                      <c:pt idx="6432">
                        <c:v>1.1627700000000001</c:v>
                      </c:pt>
                      <c:pt idx="6433">
                        <c:v>1.3545640000000001</c:v>
                      </c:pt>
                      <c:pt idx="6434">
                        <c:v>1.4377709999999999</c:v>
                      </c:pt>
                      <c:pt idx="6435">
                        <c:v>1.7886600000000001</c:v>
                      </c:pt>
                      <c:pt idx="6436">
                        <c:v>1.7138849999999999</c:v>
                      </c:pt>
                      <c:pt idx="6437">
                        <c:v>1.010224</c:v>
                      </c:pt>
                      <c:pt idx="6438">
                        <c:v>0.99629880400000004</c:v>
                      </c:pt>
                      <c:pt idx="6439">
                        <c:v>0.28897089999999998</c:v>
                      </c:pt>
                      <c:pt idx="6440">
                        <c:v>0.28840896020000001</c:v>
                      </c:pt>
                      <c:pt idx="6441">
                        <c:v>0.25333319999999998</c:v>
                      </c:pt>
                      <c:pt idx="6442">
                        <c:v>9.6165029999999999E-2</c:v>
                      </c:pt>
                      <c:pt idx="6443">
                        <c:v>0</c:v>
                      </c:pt>
                      <c:pt idx="6444">
                        <c:v>0.51125660000000006</c:v>
                      </c:pt>
                      <c:pt idx="6445">
                        <c:v>0.71653390000000006</c:v>
                      </c:pt>
                      <c:pt idx="6446">
                        <c:v>0.71725811530000005</c:v>
                      </c:pt>
                      <c:pt idx="6447">
                        <c:v>0.8951884</c:v>
                      </c:pt>
                      <c:pt idx="6448">
                        <c:v>1.0073719999999999</c:v>
                      </c:pt>
                      <c:pt idx="6449">
                        <c:v>1.0868980000000001</c:v>
                      </c:pt>
                      <c:pt idx="6450">
                        <c:v>1.184871</c:v>
                      </c:pt>
                      <c:pt idx="6451">
                        <c:v>1.1640699999999999</c:v>
                      </c:pt>
                      <c:pt idx="6452">
                        <c:v>1.0521070000000001</c:v>
                      </c:pt>
                      <c:pt idx="6453">
                        <c:v>1.0054959999999999</c:v>
                      </c:pt>
                      <c:pt idx="6454">
                        <c:v>1.0219689999999999</c:v>
                      </c:pt>
                      <c:pt idx="6455">
                        <c:v>1.1978420000000001</c:v>
                      </c:pt>
                      <c:pt idx="6456">
                        <c:v>1.200940967</c:v>
                      </c:pt>
                      <c:pt idx="6457">
                        <c:v>1.5846309999999999</c:v>
                      </c:pt>
                      <c:pt idx="6458">
                        <c:v>1.8418700000000001</c:v>
                      </c:pt>
                      <c:pt idx="6459">
                        <c:v>2</c:v>
                      </c:pt>
                      <c:pt idx="6460">
                        <c:v>1.978036516</c:v>
                      </c:pt>
                      <c:pt idx="6461">
                        <c:v>1.9135701729999999</c:v>
                      </c:pt>
                      <c:pt idx="6462">
                        <c:v>1.903343475</c:v>
                      </c:pt>
                      <c:pt idx="6463">
                        <c:v>1.8920258599999999</c:v>
                      </c:pt>
                      <c:pt idx="6464">
                        <c:v>1.8596637110000001</c:v>
                      </c:pt>
                      <c:pt idx="6465">
                        <c:v>1.8281399060000001</c:v>
                      </c:pt>
                      <c:pt idx="6466">
                        <c:v>1.8064290000000001</c:v>
                      </c:pt>
                      <c:pt idx="6467">
                        <c:v>1.74854245</c:v>
                      </c:pt>
                      <c:pt idx="6468">
                        <c:v>0</c:v>
                      </c:pt>
                      <c:pt idx="6469">
                        <c:v>0</c:v>
                      </c:pt>
                      <c:pt idx="6470">
                        <c:v>0</c:v>
                      </c:pt>
                      <c:pt idx="6471">
                        <c:v>0</c:v>
                      </c:pt>
                      <c:pt idx="6472">
                        <c:v>0</c:v>
                      </c:pt>
                      <c:pt idx="6473">
                        <c:v>0</c:v>
                      </c:pt>
                      <c:pt idx="6474">
                        <c:v>0</c:v>
                      </c:pt>
                      <c:pt idx="6475">
                        <c:v>0</c:v>
                      </c:pt>
                      <c:pt idx="6476">
                        <c:v>0</c:v>
                      </c:pt>
                      <c:pt idx="6477">
                        <c:v>0</c:v>
                      </c:pt>
                      <c:pt idx="6478">
                        <c:v>0</c:v>
                      </c:pt>
                      <c:pt idx="6479">
                        <c:v>0</c:v>
                      </c:pt>
                      <c:pt idx="6480">
                        <c:v>0</c:v>
                      </c:pt>
                      <c:pt idx="6481">
                        <c:v>0</c:v>
                      </c:pt>
                      <c:pt idx="6482">
                        <c:v>1.6562862300000001</c:v>
                      </c:pt>
                      <c:pt idx="6483">
                        <c:v>2</c:v>
                      </c:pt>
                      <c:pt idx="6484">
                        <c:v>1.9419579909999998</c:v>
                      </c:pt>
                      <c:pt idx="6485">
                        <c:v>1.6566419999999999</c:v>
                      </c:pt>
                      <c:pt idx="6486">
                        <c:v>1.076333</c:v>
                      </c:pt>
                      <c:pt idx="6487">
                        <c:v>1.0657430080000001</c:v>
                      </c:pt>
                      <c:pt idx="6488">
                        <c:v>0.74585780000000002</c:v>
                      </c:pt>
                      <c:pt idx="6489">
                        <c:v>0</c:v>
                      </c:pt>
                      <c:pt idx="6490">
                        <c:v>4.6351134719999992E-2</c:v>
                      </c:pt>
                      <c:pt idx="6491">
                        <c:v>2</c:v>
                      </c:pt>
                      <c:pt idx="6492">
                        <c:v>1.9242693990000002</c:v>
                      </c:pt>
                      <c:pt idx="6493">
                        <c:v>1.4774289999999999</c:v>
                      </c:pt>
                      <c:pt idx="6494">
                        <c:v>0.86476410000000004</c:v>
                      </c:pt>
                      <c:pt idx="6495">
                        <c:v>0.85648908509999999</c:v>
                      </c:pt>
                      <c:pt idx="6496">
                        <c:v>0.64133889999999993</c:v>
                      </c:pt>
                      <c:pt idx="6497">
                        <c:v>0.64354800359999997</c:v>
                      </c:pt>
                      <c:pt idx="6498">
                        <c:v>0.90201260000000005</c:v>
                      </c:pt>
                      <c:pt idx="6499">
                        <c:v>1.09385</c:v>
                      </c:pt>
                      <c:pt idx="6500">
                        <c:v>0</c:v>
                      </c:pt>
                      <c:pt idx="6501">
                        <c:v>0</c:v>
                      </c:pt>
                      <c:pt idx="6502">
                        <c:v>0</c:v>
                      </c:pt>
                      <c:pt idx="6503">
                        <c:v>0</c:v>
                      </c:pt>
                      <c:pt idx="6504">
                        <c:v>0</c:v>
                      </c:pt>
                      <c:pt idx="6505">
                        <c:v>0</c:v>
                      </c:pt>
                      <c:pt idx="6506">
                        <c:v>0</c:v>
                      </c:pt>
                      <c:pt idx="6507">
                        <c:v>0</c:v>
                      </c:pt>
                      <c:pt idx="6508">
                        <c:v>0</c:v>
                      </c:pt>
                      <c:pt idx="6509">
                        <c:v>0</c:v>
                      </c:pt>
                      <c:pt idx="6510">
                        <c:v>0</c:v>
                      </c:pt>
                      <c:pt idx="6511">
                        <c:v>0</c:v>
                      </c:pt>
                      <c:pt idx="6512">
                        <c:v>0</c:v>
                      </c:pt>
                      <c:pt idx="6513">
                        <c:v>0</c:v>
                      </c:pt>
                      <c:pt idx="6514">
                        <c:v>0</c:v>
                      </c:pt>
                      <c:pt idx="6515">
                        <c:v>0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</c:v>
                      </c:pt>
                      <c:pt idx="6519">
                        <c:v>0</c:v>
                      </c:pt>
                      <c:pt idx="6520">
                        <c:v>0</c:v>
                      </c:pt>
                      <c:pt idx="6521">
                        <c:v>0</c:v>
                      </c:pt>
                      <c:pt idx="6522">
                        <c:v>0</c:v>
                      </c:pt>
                      <c:pt idx="6523">
                        <c:v>0</c:v>
                      </c:pt>
                      <c:pt idx="6524">
                        <c:v>0</c:v>
                      </c:pt>
                      <c:pt idx="6525">
                        <c:v>0</c:v>
                      </c:pt>
                      <c:pt idx="6526">
                        <c:v>0</c:v>
                      </c:pt>
                      <c:pt idx="6527">
                        <c:v>0</c:v>
                      </c:pt>
                      <c:pt idx="6528">
                        <c:v>0</c:v>
                      </c:pt>
                      <c:pt idx="6529">
                        <c:v>0</c:v>
                      </c:pt>
                      <c:pt idx="6530">
                        <c:v>0</c:v>
                      </c:pt>
                      <c:pt idx="6531">
                        <c:v>0</c:v>
                      </c:pt>
                      <c:pt idx="6532">
                        <c:v>0</c:v>
                      </c:pt>
                      <c:pt idx="6533">
                        <c:v>0</c:v>
                      </c:pt>
                      <c:pt idx="6534">
                        <c:v>0</c:v>
                      </c:pt>
                      <c:pt idx="6535">
                        <c:v>0</c:v>
                      </c:pt>
                      <c:pt idx="6536">
                        <c:v>0</c:v>
                      </c:pt>
                      <c:pt idx="6537">
                        <c:v>0</c:v>
                      </c:pt>
                      <c:pt idx="6538">
                        <c:v>0</c:v>
                      </c:pt>
                      <c:pt idx="6539">
                        <c:v>1.3013619829999998</c:v>
                      </c:pt>
                      <c:pt idx="6540">
                        <c:v>2</c:v>
                      </c:pt>
                      <c:pt idx="6541">
                        <c:v>1.967640598</c:v>
                      </c:pt>
                      <c:pt idx="6542">
                        <c:v>1.946455281</c:v>
                      </c:pt>
                      <c:pt idx="6543">
                        <c:v>1.9197230200000002</c:v>
                      </c:pt>
                      <c:pt idx="6544">
                        <c:v>1.8876550000000001</c:v>
                      </c:pt>
                      <c:pt idx="6545">
                        <c:v>1.6310579999999999</c:v>
                      </c:pt>
                      <c:pt idx="6546">
                        <c:v>1.201414</c:v>
                      </c:pt>
                      <c:pt idx="6547">
                        <c:v>1.143958</c:v>
                      </c:pt>
                      <c:pt idx="6548">
                        <c:v>1.172892</c:v>
                      </c:pt>
                      <c:pt idx="6549">
                        <c:v>1.6732499999999999</c:v>
                      </c:pt>
                      <c:pt idx="6550">
                        <c:v>1.8538300000000001</c:v>
                      </c:pt>
                      <c:pt idx="6551">
                        <c:v>1.855019585</c:v>
                      </c:pt>
                      <c:pt idx="6552">
                        <c:v>2</c:v>
                      </c:pt>
                      <c:pt idx="6553">
                        <c:v>1.999479974</c:v>
                      </c:pt>
                      <c:pt idx="6554">
                        <c:v>1.9989832599999999</c:v>
                      </c:pt>
                      <c:pt idx="6555">
                        <c:v>1.9984964489999999</c:v>
                      </c:pt>
                      <c:pt idx="6556">
                        <c:v>1.9967405919999999</c:v>
                      </c:pt>
                      <c:pt idx="6557">
                        <c:v>1.9957258580000001</c:v>
                      </c:pt>
                      <c:pt idx="6558">
                        <c:v>1.994222181</c:v>
                      </c:pt>
                      <c:pt idx="6559">
                        <c:v>1.9939836629999999</c:v>
                      </c:pt>
                      <c:pt idx="6560">
                        <c:v>1.9937197019999999</c:v>
                      </c:pt>
                      <c:pt idx="6561">
                        <c:v>1.989959695</c:v>
                      </c:pt>
                      <c:pt idx="6562">
                        <c:v>1.9897093960000001</c:v>
                      </c:pt>
                      <c:pt idx="6563">
                        <c:v>1.987717027</c:v>
                      </c:pt>
                      <c:pt idx="6564">
                        <c:v>1.987202766</c:v>
                      </c:pt>
                      <c:pt idx="6565">
                        <c:v>1.9849463109999999</c:v>
                      </c:pt>
                      <c:pt idx="6566">
                        <c:v>1.9846960119999999</c:v>
                      </c:pt>
                      <c:pt idx="6567">
                        <c:v>1.9814366039999998</c:v>
                      </c:pt>
                      <c:pt idx="6568">
                        <c:v>1.98068182</c:v>
                      </c:pt>
                      <c:pt idx="6569">
                        <c:v>1.9789436359999999</c:v>
                      </c:pt>
                      <c:pt idx="6570">
                        <c:v>1.9781908580000001</c:v>
                      </c:pt>
                      <c:pt idx="6571">
                        <c:v>1.9779268959999998</c:v>
                      </c:pt>
                      <c:pt idx="6572">
                        <c:v>1.9774262980000001</c:v>
                      </c:pt>
                      <c:pt idx="6573">
                        <c:v>1.9769258239999998</c:v>
                      </c:pt>
                      <c:pt idx="6574">
                        <c:v>1.97642322</c:v>
                      </c:pt>
                      <c:pt idx="6575">
                        <c:v>1.972677</c:v>
                      </c:pt>
                      <c:pt idx="6576">
                        <c:v>1.8342876279999998</c:v>
                      </c:pt>
                      <c:pt idx="6577">
                        <c:v>1.7071350000000001</c:v>
                      </c:pt>
                      <c:pt idx="6578">
                        <c:v>1.6686129999999999</c:v>
                      </c:pt>
                      <c:pt idx="6579">
                        <c:v>1.4137710000000001</c:v>
                      </c:pt>
                      <c:pt idx="6580">
                        <c:v>0.58482860000000003</c:v>
                      </c:pt>
                      <c:pt idx="6581">
                        <c:v>0.57581785009999997</c:v>
                      </c:pt>
                      <c:pt idx="6582">
                        <c:v>0</c:v>
                      </c:pt>
                      <c:pt idx="6583">
                        <c:v>0.1042179904</c:v>
                      </c:pt>
                      <c:pt idx="6584">
                        <c:v>0.29935189919999999</c:v>
                      </c:pt>
                      <c:pt idx="6585">
                        <c:v>0.3117303052</c:v>
                      </c:pt>
                      <c:pt idx="6586">
                        <c:v>0.37718040000000003</c:v>
                      </c:pt>
                      <c:pt idx="6587">
                        <c:v>1.4147810000000001</c:v>
                      </c:pt>
                      <c:pt idx="6588">
                        <c:v>1.9154820000000001</c:v>
                      </c:pt>
                      <c:pt idx="6589">
                        <c:v>2</c:v>
                      </c:pt>
                      <c:pt idx="6590">
                        <c:v>2</c:v>
                      </c:pt>
                      <c:pt idx="6591">
                        <c:v>2</c:v>
                      </c:pt>
                      <c:pt idx="6592">
                        <c:v>2</c:v>
                      </c:pt>
                      <c:pt idx="6593">
                        <c:v>2</c:v>
                      </c:pt>
                      <c:pt idx="6594">
                        <c:v>2</c:v>
                      </c:pt>
                      <c:pt idx="6595">
                        <c:v>2</c:v>
                      </c:pt>
                      <c:pt idx="6596">
                        <c:v>2</c:v>
                      </c:pt>
                      <c:pt idx="6597">
                        <c:v>2</c:v>
                      </c:pt>
                      <c:pt idx="6598">
                        <c:v>1.425067503</c:v>
                      </c:pt>
                      <c:pt idx="6599">
                        <c:v>1.21974144</c:v>
                      </c:pt>
                      <c:pt idx="6600">
                        <c:v>1.0342069999999999</c:v>
                      </c:pt>
                      <c:pt idx="6601">
                        <c:v>0</c:v>
                      </c:pt>
                      <c:pt idx="6602">
                        <c:v>0</c:v>
                      </c:pt>
                      <c:pt idx="6603">
                        <c:v>0</c:v>
                      </c:pt>
                      <c:pt idx="6604">
                        <c:v>0</c:v>
                      </c:pt>
                      <c:pt idx="6605">
                        <c:v>0</c:v>
                      </c:pt>
                      <c:pt idx="6606">
                        <c:v>0</c:v>
                      </c:pt>
                      <c:pt idx="6607">
                        <c:v>0</c:v>
                      </c:pt>
                      <c:pt idx="6608">
                        <c:v>0</c:v>
                      </c:pt>
                      <c:pt idx="6609">
                        <c:v>0</c:v>
                      </c:pt>
                      <c:pt idx="6610">
                        <c:v>0</c:v>
                      </c:pt>
                      <c:pt idx="6611">
                        <c:v>0</c:v>
                      </c:pt>
                      <c:pt idx="6612">
                        <c:v>0</c:v>
                      </c:pt>
                      <c:pt idx="6613">
                        <c:v>0</c:v>
                      </c:pt>
                      <c:pt idx="6614">
                        <c:v>0</c:v>
                      </c:pt>
                      <c:pt idx="6615">
                        <c:v>0</c:v>
                      </c:pt>
                      <c:pt idx="6616">
                        <c:v>3.8736575850000003E-2</c:v>
                      </c:pt>
                      <c:pt idx="6617">
                        <c:v>0.122487518</c:v>
                      </c:pt>
                      <c:pt idx="6618">
                        <c:v>0.36370800000000003</c:v>
                      </c:pt>
                      <c:pt idx="6619">
                        <c:v>0.95308769999999998</c:v>
                      </c:pt>
                      <c:pt idx="6620">
                        <c:v>1.3344100000000001</c:v>
                      </c:pt>
                      <c:pt idx="6621">
                        <c:v>1.4448660000000002</c:v>
                      </c:pt>
                      <c:pt idx="6622">
                        <c:v>1.8811439999999999</c:v>
                      </c:pt>
                      <c:pt idx="6623">
                        <c:v>1.8820630629999999</c:v>
                      </c:pt>
                      <c:pt idx="6624">
                        <c:v>2</c:v>
                      </c:pt>
                      <c:pt idx="6625">
                        <c:v>2</c:v>
                      </c:pt>
                      <c:pt idx="6626">
                        <c:v>2</c:v>
                      </c:pt>
                      <c:pt idx="6627">
                        <c:v>2</c:v>
                      </c:pt>
                      <c:pt idx="6628">
                        <c:v>2</c:v>
                      </c:pt>
                      <c:pt idx="6629">
                        <c:v>2</c:v>
                      </c:pt>
                      <c:pt idx="6630">
                        <c:v>2</c:v>
                      </c:pt>
                      <c:pt idx="6631">
                        <c:v>1.9507376510000001</c:v>
                      </c:pt>
                      <c:pt idx="6632">
                        <c:v>1.937872687</c:v>
                      </c:pt>
                      <c:pt idx="6633">
                        <c:v>1.8886103380000001</c:v>
                      </c:pt>
                      <c:pt idx="6634">
                        <c:v>1.8270554849999998</c:v>
                      </c:pt>
                      <c:pt idx="6635">
                        <c:v>1.7897040000000002</c:v>
                      </c:pt>
                      <c:pt idx="6636">
                        <c:v>0.99328950000000005</c:v>
                      </c:pt>
                      <c:pt idx="6637">
                        <c:v>7.2537190000000001E-2</c:v>
                      </c:pt>
                      <c:pt idx="6638">
                        <c:v>0</c:v>
                      </c:pt>
                      <c:pt idx="6639">
                        <c:v>1.1197361910000002E-2</c:v>
                      </c:pt>
                      <c:pt idx="6640">
                        <c:v>0.30076570000000002</c:v>
                      </c:pt>
                      <c:pt idx="6641">
                        <c:v>0.84246730000000003</c:v>
                      </c:pt>
                      <c:pt idx="6642">
                        <c:v>1.537228</c:v>
                      </c:pt>
                      <c:pt idx="6643">
                        <c:v>2</c:v>
                      </c:pt>
                      <c:pt idx="6644">
                        <c:v>1.9654735109999999</c:v>
                      </c:pt>
                      <c:pt idx="6645">
                        <c:v>1.934266877</c:v>
                      </c:pt>
                      <c:pt idx="6646">
                        <c:v>1.9180282800000001</c:v>
                      </c:pt>
                      <c:pt idx="6647">
                        <c:v>1.803194097</c:v>
                      </c:pt>
                      <c:pt idx="6648">
                        <c:v>1.770462789</c:v>
                      </c:pt>
                      <c:pt idx="6649">
                        <c:v>1.7540930370000001</c:v>
                      </c:pt>
                      <c:pt idx="6650">
                        <c:v>1.721230574</c:v>
                      </c:pt>
                      <c:pt idx="6651">
                        <c:v>1.590026639</c:v>
                      </c:pt>
                      <c:pt idx="6652">
                        <c:v>1.5739109999999998</c:v>
                      </c:pt>
                      <c:pt idx="6653">
                        <c:v>1.5505658070000001</c:v>
                      </c:pt>
                      <c:pt idx="6654">
                        <c:v>0</c:v>
                      </c:pt>
                      <c:pt idx="6655">
                        <c:v>0</c:v>
                      </c:pt>
                      <c:pt idx="6656">
                        <c:v>0</c:v>
                      </c:pt>
                      <c:pt idx="6657">
                        <c:v>0</c:v>
                      </c:pt>
                      <c:pt idx="6658">
                        <c:v>0</c:v>
                      </c:pt>
                      <c:pt idx="6659">
                        <c:v>0</c:v>
                      </c:pt>
                      <c:pt idx="6660">
                        <c:v>0</c:v>
                      </c:pt>
                      <c:pt idx="6661">
                        <c:v>0</c:v>
                      </c:pt>
                      <c:pt idx="6662">
                        <c:v>0</c:v>
                      </c:pt>
                      <c:pt idx="6663">
                        <c:v>0.43749728570000002</c:v>
                      </c:pt>
                      <c:pt idx="6664">
                        <c:v>0.84863936109999993</c:v>
                      </c:pt>
                      <c:pt idx="6665">
                        <c:v>1.2696909999999999</c:v>
                      </c:pt>
                      <c:pt idx="6666">
                        <c:v>2</c:v>
                      </c:pt>
                      <c:pt idx="6667">
                        <c:v>1.797010942</c:v>
                      </c:pt>
                      <c:pt idx="6668">
                        <c:v>1.661875915</c:v>
                      </c:pt>
                      <c:pt idx="6669">
                        <c:v>1.5945612120000001</c:v>
                      </c:pt>
                      <c:pt idx="6670">
                        <c:v>1.459931807</c:v>
                      </c:pt>
                      <c:pt idx="6671">
                        <c:v>1.3921114829999999</c:v>
                      </c:pt>
                      <c:pt idx="6672">
                        <c:v>1.1233919999999999</c:v>
                      </c:pt>
                      <c:pt idx="6673">
                        <c:v>1.1042585390000001</c:v>
                      </c:pt>
                      <c:pt idx="6674">
                        <c:v>0.29316619999999999</c:v>
                      </c:pt>
                      <c:pt idx="6675">
                        <c:v>0</c:v>
                      </c:pt>
                      <c:pt idx="6676">
                        <c:v>0</c:v>
                      </c:pt>
                      <c:pt idx="6677">
                        <c:v>0</c:v>
                      </c:pt>
                      <c:pt idx="6678">
                        <c:v>0</c:v>
                      </c:pt>
                      <c:pt idx="6679">
                        <c:v>0</c:v>
                      </c:pt>
                      <c:pt idx="6680">
                        <c:v>0</c:v>
                      </c:pt>
                      <c:pt idx="6681">
                        <c:v>0</c:v>
                      </c:pt>
                      <c:pt idx="6682">
                        <c:v>0</c:v>
                      </c:pt>
                      <c:pt idx="6683">
                        <c:v>0</c:v>
                      </c:pt>
                      <c:pt idx="6684">
                        <c:v>0</c:v>
                      </c:pt>
                      <c:pt idx="6685">
                        <c:v>0</c:v>
                      </c:pt>
                      <c:pt idx="6686">
                        <c:v>0</c:v>
                      </c:pt>
                      <c:pt idx="6687">
                        <c:v>0</c:v>
                      </c:pt>
                      <c:pt idx="6688">
                        <c:v>0</c:v>
                      </c:pt>
                      <c:pt idx="6689">
                        <c:v>0</c:v>
                      </c:pt>
                      <c:pt idx="6690">
                        <c:v>0</c:v>
                      </c:pt>
                      <c:pt idx="6691">
                        <c:v>0</c:v>
                      </c:pt>
                      <c:pt idx="6692">
                        <c:v>0</c:v>
                      </c:pt>
                      <c:pt idx="6693">
                        <c:v>0</c:v>
                      </c:pt>
                      <c:pt idx="6694">
                        <c:v>0</c:v>
                      </c:pt>
                      <c:pt idx="6695">
                        <c:v>0.1402284</c:v>
                      </c:pt>
                      <c:pt idx="6696">
                        <c:v>0.193356</c:v>
                      </c:pt>
                      <c:pt idx="6697">
                        <c:v>0.49098590000000003</c:v>
                      </c:pt>
                      <c:pt idx="6698">
                        <c:v>0.72202949999999999</c:v>
                      </c:pt>
                      <c:pt idx="6699">
                        <c:v>1.125993</c:v>
                      </c:pt>
                      <c:pt idx="6700">
                        <c:v>1.404504</c:v>
                      </c:pt>
                      <c:pt idx="6701">
                        <c:v>1.8991640000000001</c:v>
                      </c:pt>
                      <c:pt idx="6702">
                        <c:v>2</c:v>
                      </c:pt>
                      <c:pt idx="6703">
                        <c:v>0.70820731120000002</c:v>
                      </c:pt>
                      <c:pt idx="6704">
                        <c:v>0.47182499739999995</c:v>
                      </c:pt>
                      <c:pt idx="6705">
                        <c:v>0</c:v>
                      </c:pt>
                      <c:pt idx="6706">
                        <c:v>0</c:v>
                      </c:pt>
                      <c:pt idx="6707">
                        <c:v>0</c:v>
                      </c:pt>
                      <c:pt idx="6708">
                        <c:v>0</c:v>
                      </c:pt>
                      <c:pt idx="6709">
                        <c:v>0</c:v>
                      </c:pt>
                      <c:pt idx="6710">
                        <c:v>0</c:v>
                      </c:pt>
                      <c:pt idx="6711">
                        <c:v>0</c:v>
                      </c:pt>
                      <c:pt idx="6712">
                        <c:v>0</c:v>
                      </c:pt>
                      <c:pt idx="6713">
                        <c:v>0</c:v>
                      </c:pt>
                      <c:pt idx="6714">
                        <c:v>0</c:v>
                      </c:pt>
                      <c:pt idx="6715">
                        <c:v>0</c:v>
                      </c:pt>
                      <c:pt idx="6716">
                        <c:v>0</c:v>
                      </c:pt>
                      <c:pt idx="6717">
                        <c:v>0</c:v>
                      </c:pt>
                      <c:pt idx="6718">
                        <c:v>0</c:v>
                      </c:pt>
                      <c:pt idx="6719">
                        <c:v>0</c:v>
                      </c:pt>
                      <c:pt idx="6720">
                        <c:v>0</c:v>
                      </c:pt>
                      <c:pt idx="6721">
                        <c:v>2</c:v>
                      </c:pt>
                      <c:pt idx="6722">
                        <c:v>1.829393182</c:v>
                      </c:pt>
                      <c:pt idx="6723">
                        <c:v>1.742368452</c:v>
                      </c:pt>
                      <c:pt idx="6724">
                        <c:v>1.2195664050000001</c:v>
                      </c:pt>
                      <c:pt idx="6725">
                        <c:v>0.34805534339999999</c:v>
                      </c:pt>
                      <c:pt idx="6726">
                        <c:v>8.6327494750000011E-2</c:v>
                      </c:pt>
                      <c:pt idx="6727">
                        <c:v>0</c:v>
                      </c:pt>
                      <c:pt idx="6728">
                        <c:v>0</c:v>
                      </c:pt>
                      <c:pt idx="6729">
                        <c:v>0</c:v>
                      </c:pt>
                      <c:pt idx="6730">
                        <c:v>0</c:v>
                      </c:pt>
                      <c:pt idx="6731">
                        <c:v>0</c:v>
                      </c:pt>
                      <c:pt idx="6732">
                        <c:v>0</c:v>
                      </c:pt>
                      <c:pt idx="6733">
                        <c:v>0</c:v>
                      </c:pt>
                      <c:pt idx="6734">
                        <c:v>0</c:v>
                      </c:pt>
                      <c:pt idx="6735">
                        <c:v>0</c:v>
                      </c:pt>
                      <c:pt idx="6736">
                        <c:v>0</c:v>
                      </c:pt>
                      <c:pt idx="6737">
                        <c:v>0</c:v>
                      </c:pt>
                      <c:pt idx="6738">
                        <c:v>0</c:v>
                      </c:pt>
                      <c:pt idx="6739">
                        <c:v>0</c:v>
                      </c:pt>
                      <c:pt idx="6740">
                        <c:v>0</c:v>
                      </c:pt>
                      <c:pt idx="6741">
                        <c:v>0</c:v>
                      </c:pt>
                      <c:pt idx="6742">
                        <c:v>0</c:v>
                      </c:pt>
                      <c:pt idx="6743">
                        <c:v>0</c:v>
                      </c:pt>
                      <c:pt idx="6744">
                        <c:v>0</c:v>
                      </c:pt>
                      <c:pt idx="6745">
                        <c:v>0</c:v>
                      </c:pt>
                      <c:pt idx="6746">
                        <c:v>0</c:v>
                      </c:pt>
                      <c:pt idx="6747">
                        <c:v>0</c:v>
                      </c:pt>
                      <c:pt idx="6748">
                        <c:v>0</c:v>
                      </c:pt>
                      <c:pt idx="6749">
                        <c:v>0</c:v>
                      </c:pt>
                      <c:pt idx="6750">
                        <c:v>0</c:v>
                      </c:pt>
                      <c:pt idx="6751">
                        <c:v>0</c:v>
                      </c:pt>
                      <c:pt idx="6752">
                        <c:v>0.20284237860000001</c:v>
                      </c:pt>
                      <c:pt idx="6753">
                        <c:v>0.29984888730000003</c:v>
                      </c:pt>
                      <c:pt idx="6754">
                        <c:v>0.36704177770000002</c:v>
                      </c:pt>
                      <c:pt idx="6755">
                        <c:v>0.46561130000000001</c:v>
                      </c:pt>
                      <c:pt idx="6756">
                        <c:v>0.70106390000000007</c:v>
                      </c:pt>
                      <c:pt idx="6757">
                        <c:v>0.76864779999999999</c:v>
                      </c:pt>
                      <c:pt idx="6758">
                        <c:v>0.82424739999999996</c:v>
                      </c:pt>
                      <c:pt idx="6759">
                        <c:v>0.87881969999999998</c:v>
                      </c:pt>
                      <c:pt idx="6760">
                        <c:v>1.3351</c:v>
                      </c:pt>
                      <c:pt idx="6761">
                        <c:v>1.4990729999999999</c:v>
                      </c:pt>
                      <c:pt idx="6762">
                        <c:v>1.714296</c:v>
                      </c:pt>
                      <c:pt idx="6763">
                        <c:v>1.65951</c:v>
                      </c:pt>
                      <c:pt idx="6764">
                        <c:v>2</c:v>
                      </c:pt>
                      <c:pt idx="6765">
                        <c:v>1.9263480000000002</c:v>
                      </c:pt>
                      <c:pt idx="6766">
                        <c:v>1.9255461270000001</c:v>
                      </c:pt>
                      <c:pt idx="6767">
                        <c:v>1.8278179999999999</c:v>
                      </c:pt>
                      <c:pt idx="6768">
                        <c:v>2</c:v>
                      </c:pt>
                      <c:pt idx="6769">
                        <c:v>1.9999479059999998</c:v>
                      </c:pt>
                      <c:pt idx="6770">
                        <c:v>1.9864993259999999</c:v>
                      </c:pt>
                      <c:pt idx="6771">
                        <c:v>1.949536317</c:v>
                      </c:pt>
                      <c:pt idx="6772">
                        <c:v>1.9461283800000002</c:v>
                      </c:pt>
                      <c:pt idx="6773">
                        <c:v>1.9293760499999999</c:v>
                      </c:pt>
                      <c:pt idx="6774">
                        <c:v>1.9259950000000001</c:v>
                      </c:pt>
                      <c:pt idx="6775">
                        <c:v>0</c:v>
                      </c:pt>
                      <c:pt idx="6776">
                        <c:v>0</c:v>
                      </c:pt>
                      <c:pt idx="6777">
                        <c:v>0</c:v>
                      </c:pt>
                      <c:pt idx="6778">
                        <c:v>0</c:v>
                      </c:pt>
                      <c:pt idx="6779">
                        <c:v>0</c:v>
                      </c:pt>
                      <c:pt idx="6780">
                        <c:v>0</c:v>
                      </c:pt>
                      <c:pt idx="6781">
                        <c:v>0</c:v>
                      </c:pt>
                      <c:pt idx="6782">
                        <c:v>0</c:v>
                      </c:pt>
                      <c:pt idx="6783">
                        <c:v>0</c:v>
                      </c:pt>
                      <c:pt idx="6784">
                        <c:v>0</c:v>
                      </c:pt>
                      <c:pt idx="6785">
                        <c:v>1.6672332849999999E-2</c:v>
                      </c:pt>
                      <c:pt idx="6786">
                        <c:v>3.2340306399999998E-2</c:v>
                      </c:pt>
                      <c:pt idx="6787">
                        <c:v>4.8377885410000002E-2</c:v>
                      </c:pt>
                      <c:pt idx="6788">
                        <c:v>6.455205671E-2</c:v>
                      </c:pt>
                      <c:pt idx="6789">
                        <c:v>8.059767000000001E-2</c:v>
                      </c:pt>
                      <c:pt idx="6790">
                        <c:v>0.22524120280000001</c:v>
                      </c:pt>
                      <c:pt idx="6791">
                        <c:v>0.24128681610000002</c:v>
                      </c:pt>
                      <c:pt idx="6792">
                        <c:v>0.25733242940000001</c:v>
                      </c:pt>
                      <c:pt idx="6793">
                        <c:v>0.33705429999999997</c:v>
                      </c:pt>
                      <c:pt idx="6794">
                        <c:v>1.8827950000000002</c:v>
                      </c:pt>
                      <c:pt idx="6795">
                        <c:v>2</c:v>
                      </c:pt>
                      <c:pt idx="6796">
                        <c:v>1.99452772</c:v>
                      </c:pt>
                      <c:pt idx="6797">
                        <c:v>1.9925398329999999</c:v>
                      </c:pt>
                      <c:pt idx="6798">
                        <c:v>1.9910515259999999</c:v>
                      </c:pt>
                      <c:pt idx="6799">
                        <c:v>1.9885675359999999</c:v>
                      </c:pt>
                      <c:pt idx="6800">
                        <c:v>1.988067459</c:v>
                      </c:pt>
                      <c:pt idx="6801">
                        <c:v>1.9835913590000001</c:v>
                      </c:pt>
                      <c:pt idx="6802">
                        <c:v>1.98111507</c:v>
                      </c:pt>
                      <c:pt idx="6803">
                        <c:v>1.9746468590000001</c:v>
                      </c:pt>
                      <c:pt idx="6804">
                        <c:v>1.968202</c:v>
                      </c:pt>
                      <c:pt idx="6805">
                        <c:v>1.904957</c:v>
                      </c:pt>
                      <c:pt idx="6806">
                        <c:v>1.7207380000000001</c:v>
                      </c:pt>
                      <c:pt idx="6807">
                        <c:v>1.375499</c:v>
                      </c:pt>
                      <c:pt idx="6808">
                        <c:v>1.137991</c:v>
                      </c:pt>
                      <c:pt idx="6809">
                        <c:v>0.84895089999999995</c:v>
                      </c:pt>
                      <c:pt idx="6810">
                        <c:v>3.1222409999999999E-2</c:v>
                      </c:pt>
                      <c:pt idx="6811">
                        <c:v>0</c:v>
                      </c:pt>
                      <c:pt idx="6812">
                        <c:v>0.1244064498</c:v>
                      </c:pt>
                      <c:pt idx="6813">
                        <c:v>0.15479321339999999</c:v>
                      </c:pt>
                      <c:pt idx="6814">
                        <c:v>0.30983372920000002</c:v>
                      </c:pt>
                      <c:pt idx="6815">
                        <c:v>0.37083910000000003</c:v>
                      </c:pt>
                      <c:pt idx="6816">
                        <c:v>0.64233119999999999</c:v>
                      </c:pt>
                      <c:pt idx="6817">
                        <c:v>0.83659856739999994</c:v>
                      </c:pt>
                      <c:pt idx="6818">
                        <c:v>1.2035480000000001</c:v>
                      </c:pt>
                      <c:pt idx="6819">
                        <c:v>1.3293039999999998</c:v>
                      </c:pt>
                      <c:pt idx="6820">
                        <c:v>2</c:v>
                      </c:pt>
                      <c:pt idx="6821">
                        <c:v>1.8714562620000001</c:v>
                      </c:pt>
                      <c:pt idx="6822">
                        <c:v>1.4852455920000001</c:v>
                      </c:pt>
                      <c:pt idx="6823">
                        <c:v>1.2924138909999998</c:v>
                      </c:pt>
                      <c:pt idx="6824">
                        <c:v>1.22761085</c:v>
                      </c:pt>
                      <c:pt idx="6825">
                        <c:v>1.163322886</c:v>
                      </c:pt>
                      <c:pt idx="6826">
                        <c:v>1.0970390000000001</c:v>
                      </c:pt>
                      <c:pt idx="6827">
                        <c:v>0.41387030000000002</c:v>
                      </c:pt>
                      <c:pt idx="6828">
                        <c:v>0.25937987360000003</c:v>
                      </c:pt>
                      <c:pt idx="6829">
                        <c:v>9.997745999999999E-2</c:v>
                      </c:pt>
                      <c:pt idx="6830">
                        <c:v>0</c:v>
                      </c:pt>
                      <c:pt idx="6831">
                        <c:v>0</c:v>
                      </c:pt>
                      <c:pt idx="6832">
                        <c:v>0</c:v>
                      </c:pt>
                      <c:pt idx="6833">
                        <c:v>0</c:v>
                      </c:pt>
                      <c:pt idx="6834">
                        <c:v>0</c:v>
                      </c:pt>
                      <c:pt idx="6835">
                        <c:v>0</c:v>
                      </c:pt>
                      <c:pt idx="6836">
                        <c:v>0</c:v>
                      </c:pt>
                      <c:pt idx="6837">
                        <c:v>0</c:v>
                      </c:pt>
                      <c:pt idx="6838">
                        <c:v>0</c:v>
                      </c:pt>
                      <c:pt idx="6839">
                        <c:v>0</c:v>
                      </c:pt>
                      <c:pt idx="6840">
                        <c:v>0</c:v>
                      </c:pt>
                      <c:pt idx="6841">
                        <c:v>0</c:v>
                      </c:pt>
                      <c:pt idx="6842">
                        <c:v>0</c:v>
                      </c:pt>
                      <c:pt idx="6843">
                        <c:v>0</c:v>
                      </c:pt>
                      <c:pt idx="6844">
                        <c:v>0</c:v>
                      </c:pt>
                      <c:pt idx="6845">
                        <c:v>3.9694444000000002E-4</c:v>
                      </c:pt>
                      <c:pt idx="6846">
                        <c:v>5.2140341909999999E-2</c:v>
                      </c:pt>
                      <c:pt idx="6847">
                        <c:v>7.7301387870000002E-2</c:v>
                      </c:pt>
                      <c:pt idx="6848">
                        <c:v>0.2053474133</c:v>
                      </c:pt>
                      <c:pt idx="6849">
                        <c:v>0.3080147151</c:v>
                      </c:pt>
                      <c:pt idx="6850">
                        <c:v>0.61483860000000001</c:v>
                      </c:pt>
                      <c:pt idx="6851">
                        <c:v>1.3429390000000001</c:v>
                      </c:pt>
                      <c:pt idx="6852">
                        <c:v>1.770786</c:v>
                      </c:pt>
                      <c:pt idx="6853">
                        <c:v>2</c:v>
                      </c:pt>
                      <c:pt idx="6854">
                        <c:v>1.7177298619999999</c:v>
                      </c:pt>
                      <c:pt idx="6855">
                        <c:v>1.4900790000000002</c:v>
                      </c:pt>
                      <c:pt idx="6856">
                        <c:v>1.177198</c:v>
                      </c:pt>
                      <c:pt idx="6857">
                        <c:v>0.93154690000000007</c:v>
                      </c:pt>
                      <c:pt idx="6858">
                        <c:v>0.82437129999999992</c:v>
                      </c:pt>
                      <c:pt idx="6859">
                        <c:v>0.76498699999999997</c:v>
                      </c:pt>
                      <c:pt idx="6860">
                        <c:v>1.228947</c:v>
                      </c:pt>
                      <c:pt idx="6861">
                        <c:v>1.33501</c:v>
                      </c:pt>
                      <c:pt idx="6862">
                        <c:v>1.2902389999999999</c:v>
                      </c:pt>
                      <c:pt idx="6863">
                        <c:v>1.4112739999999999</c:v>
                      </c:pt>
                      <c:pt idx="6864">
                        <c:v>1.5024420000000001</c:v>
                      </c:pt>
                      <c:pt idx="6865">
                        <c:v>2</c:v>
                      </c:pt>
                      <c:pt idx="6866">
                        <c:v>1.9975282619999999</c:v>
                      </c:pt>
                      <c:pt idx="6867">
                        <c:v>1.9926000640000001</c:v>
                      </c:pt>
                      <c:pt idx="6868">
                        <c:v>1.987679752</c:v>
                      </c:pt>
                      <c:pt idx="6869">
                        <c:v>1.9866958370000001</c:v>
                      </c:pt>
                      <c:pt idx="6870">
                        <c:v>1.9861961180000001</c:v>
                      </c:pt>
                      <c:pt idx="6871">
                        <c:v>1.9857077330000001</c:v>
                      </c:pt>
                      <c:pt idx="6872">
                        <c:v>1.982255777</c:v>
                      </c:pt>
                      <c:pt idx="6873">
                        <c:v>1.980287701</c:v>
                      </c:pt>
                      <c:pt idx="6874">
                        <c:v>1.979299844</c:v>
                      </c:pt>
                      <c:pt idx="6875">
                        <c:v>1.972895651</c:v>
                      </c:pt>
                      <c:pt idx="6876">
                        <c:v>1.9689518609999999</c:v>
                      </c:pt>
                      <c:pt idx="6877">
                        <c:v>1.9684790000000001</c:v>
                      </c:pt>
                      <c:pt idx="6878">
                        <c:v>1.4598660000000001</c:v>
                      </c:pt>
                      <c:pt idx="6879">
                        <c:v>1.28532</c:v>
                      </c:pt>
                      <c:pt idx="6880">
                        <c:v>1.6454121960000001</c:v>
                      </c:pt>
                      <c:pt idx="6881">
                        <c:v>2</c:v>
                      </c:pt>
                      <c:pt idx="6882">
                        <c:v>1.99334202</c:v>
                      </c:pt>
                      <c:pt idx="6883">
                        <c:v>1.9737259330000001</c:v>
                      </c:pt>
                      <c:pt idx="6884">
                        <c:v>1.8814859999999998</c:v>
                      </c:pt>
                      <c:pt idx="6885">
                        <c:v>1.827642</c:v>
                      </c:pt>
                      <c:pt idx="6886">
                        <c:v>2</c:v>
                      </c:pt>
                      <c:pt idx="6887">
                        <c:v>1.984985606</c:v>
                      </c:pt>
                      <c:pt idx="6888">
                        <c:v>1.9085959109999999</c:v>
                      </c:pt>
                      <c:pt idx="6889">
                        <c:v>1.893402</c:v>
                      </c:pt>
                      <c:pt idx="6890">
                        <c:v>1.5670120000000001</c:v>
                      </c:pt>
                      <c:pt idx="6891">
                        <c:v>1.5823390000000002</c:v>
                      </c:pt>
                      <c:pt idx="6892">
                        <c:v>1.595896</c:v>
                      </c:pt>
                      <c:pt idx="6893">
                        <c:v>1.923581</c:v>
                      </c:pt>
                      <c:pt idx="6894">
                        <c:v>1.8443499999999999</c:v>
                      </c:pt>
                      <c:pt idx="6895">
                        <c:v>1.943308</c:v>
                      </c:pt>
                      <c:pt idx="6896">
                        <c:v>1.9637970000000002</c:v>
                      </c:pt>
                      <c:pt idx="6897">
                        <c:v>1.9613383630000001</c:v>
                      </c:pt>
                      <c:pt idx="6898">
                        <c:v>1.8359479999999999</c:v>
                      </c:pt>
                      <c:pt idx="6899">
                        <c:v>1.693846</c:v>
                      </c:pt>
                      <c:pt idx="6900">
                        <c:v>1.444116</c:v>
                      </c:pt>
                      <c:pt idx="6901">
                        <c:v>0.91907520000000009</c:v>
                      </c:pt>
                      <c:pt idx="6902">
                        <c:v>0.239928</c:v>
                      </c:pt>
                      <c:pt idx="6903">
                        <c:v>0.23809210539999998</c:v>
                      </c:pt>
                      <c:pt idx="6904">
                        <c:v>0</c:v>
                      </c:pt>
                      <c:pt idx="6905">
                        <c:v>0</c:v>
                      </c:pt>
                      <c:pt idx="6906">
                        <c:v>0</c:v>
                      </c:pt>
                      <c:pt idx="6907">
                        <c:v>0</c:v>
                      </c:pt>
                      <c:pt idx="6908">
                        <c:v>0</c:v>
                      </c:pt>
                      <c:pt idx="6909">
                        <c:v>0</c:v>
                      </c:pt>
                      <c:pt idx="6910">
                        <c:v>0</c:v>
                      </c:pt>
                      <c:pt idx="6911">
                        <c:v>0</c:v>
                      </c:pt>
                      <c:pt idx="6912">
                        <c:v>0</c:v>
                      </c:pt>
                      <c:pt idx="6913">
                        <c:v>0</c:v>
                      </c:pt>
                      <c:pt idx="6914">
                        <c:v>0</c:v>
                      </c:pt>
                      <c:pt idx="6915">
                        <c:v>0</c:v>
                      </c:pt>
                      <c:pt idx="6916">
                        <c:v>0</c:v>
                      </c:pt>
                      <c:pt idx="6917">
                        <c:v>0</c:v>
                      </c:pt>
                      <c:pt idx="6918">
                        <c:v>0.33604529999999999</c:v>
                      </c:pt>
                      <c:pt idx="6919">
                        <c:v>1.8643260000000001</c:v>
                      </c:pt>
                      <c:pt idx="6920">
                        <c:v>2</c:v>
                      </c:pt>
                      <c:pt idx="6921">
                        <c:v>1.993240178</c:v>
                      </c:pt>
                      <c:pt idx="6922">
                        <c:v>1.904901902</c:v>
                      </c:pt>
                      <c:pt idx="6923">
                        <c:v>1.8577219999999999</c:v>
                      </c:pt>
                      <c:pt idx="6924">
                        <c:v>1.851776198</c:v>
                      </c:pt>
                      <c:pt idx="6925">
                        <c:v>1.0788150000000001</c:v>
                      </c:pt>
                      <c:pt idx="6926">
                        <c:v>0.4499282</c:v>
                      </c:pt>
                      <c:pt idx="6927">
                        <c:v>0</c:v>
                      </c:pt>
                      <c:pt idx="6928">
                        <c:v>0</c:v>
                      </c:pt>
                      <c:pt idx="6929">
                        <c:v>0</c:v>
                      </c:pt>
                      <c:pt idx="6930">
                        <c:v>0</c:v>
                      </c:pt>
                      <c:pt idx="6931">
                        <c:v>0</c:v>
                      </c:pt>
                      <c:pt idx="6932">
                        <c:v>0</c:v>
                      </c:pt>
                      <c:pt idx="6933">
                        <c:v>0</c:v>
                      </c:pt>
                      <c:pt idx="6934">
                        <c:v>0</c:v>
                      </c:pt>
                      <c:pt idx="6935">
                        <c:v>0</c:v>
                      </c:pt>
                      <c:pt idx="6936">
                        <c:v>0</c:v>
                      </c:pt>
                      <c:pt idx="6937">
                        <c:v>0</c:v>
                      </c:pt>
                      <c:pt idx="6938">
                        <c:v>0</c:v>
                      </c:pt>
                      <c:pt idx="6939">
                        <c:v>0</c:v>
                      </c:pt>
                      <c:pt idx="6940">
                        <c:v>0</c:v>
                      </c:pt>
                      <c:pt idx="6941">
                        <c:v>0</c:v>
                      </c:pt>
                      <c:pt idx="6942">
                        <c:v>0</c:v>
                      </c:pt>
                      <c:pt idx="6943">
                        <c:v>0</c:v>
                      </c:pt>
                      <c:pt idx="6944">
                        <c:v>0</c:v>
                      </c:pt>
                      <c:pt idx="6945">
                        <c:v>0</c:v>
                      </c:pt>
                      <c:pt idx="6946">
                        <c:v>0</c:v>
                      </c:pt>
                      <c:pt idx="6947">
                        <c:v>0</c:v>
                      </c:pt>
                      <c:pt idx="6948">
                        <c:v>4.8240295169999996E-2</c:v>
                      </c:pt>
                      <c:pt idx="6949">
                        <c:v>0.1916538374</c:v>
                      </c:pt>
                      <c:pt idx="6950">
                        <c:v>0.2154963983</c:v>
                      </c:pt>
                      <c:pt idx="6951">
                        <c:v>0.25097370000000002</c:v>
                      </c:pt>
                      <c:pt idx="6952">
                        <c:v>1.2376399999999999</c:v>
                      </c:pt>
                      <c:pt idx="6953">
                        <c:v>1.2006600299999999</c:v>
                      </c:pt>
                      <c:pt idx="6954">
                        <c:v>0</c:v>
                      </c:pt>
                      <c:pt idx="6955">
                        <c:v>3.4670089999999998E-5</c:v>
                      </c:pt>
                      <c:pt idx="6956">
                        <c:v>4.6157129299999999E-3</c:v>
                      </c:pt>
                      <c:pt idx="6957">
                        <c:v>1.3844827630000001E-2</c:v>
                      </c:pt>
                      <c:pt idx="6958">
                        <c:v>9.2413646520000003E-2</c:v>
                      </c:pt>
                      <c:pt idx="6959">
                        <c:v>0.1017167237</c:v>
                      </c:pt>
                      <c:pt idx="6960">
                        <c:v>0.11548989999999999</c:v>
                      </c:pt>
                      <c:pt idx="6961">
                        <c:v>1.9375829999999998</c:v>
                      </c:pt>
                      <c:pt idx="6962">
                        <c:v>2</c:v>
                      </c:pt>
                      <c:pt idx="6963">
                        <c:v>2</c:v>
                      </c:pt>
                      <c:pt idx="6964">
                        <c:v>2</c:v>
                      </c:pt>
                      <c:pt idx="6965">
                        <c:v>2</c:v>
                      </c:pt>
                      <c:pt idx="6966">
                        <c:v>2</c:v>
                      </c:pt>
                      <c:pt idx="6967">
                        <c:v>2</c:v>
                      </c:pt>
                      <c:pt idx="6968">
                        <c:v>2</c:v>
                      </c:pt>
                      <c:pt idx="6969">
                        <c:v>2</c:v>
                      </c:pt>
                      <c:pt idx="6970">
                        <c:v>2</c:v>
                      </c:pt>
                      <c:pt idx="6971">
                        <c:v>2</c:v>
                      </c:pt>
                      <c:pt idx="6972">
                        <c:v>1.9991602239999999</c:v>
                      </c:pt>
                      <c:pt idx="6973">
                        <c:v>1.8895146349999998</c:v>
                      </c:pt>
                      <c:pt idx="6974">
                        <c:v>1.81630804</c:v>
                      </c:pt>
                      <c:pt idx="6975">
                        <c:v>1.6699313599999999</c:v>
                      </c:pt>
                      <c:pt idx="6976">
                        <c:v>1.415899</c:v>
                      </c:pt>
                      <c:pt idx="6977">
                        <c:v>1.4178336619999998</c:v>
                      </c:pt>
                      <c:pt idx="6978">
                        <c:v>1.4801113860000001</c:v>
                      </c:pt>
                      <c:pt idx="6979">
                        <c:v>1.6612020000000001</c:v>
                      </c:pt>
                      <c:pt idx="6980">
                        <c:v>1.5383179999999999</c:v>
                      </c:pt>
                      <c:pt idx="6981">
                        <c:v>0.85973910000000009</c:v>
                      </c:pt>
                      <c:pt idx="6982">
                        <c:v>0.87317211750000001</c:v>
                      </c:pt>
                      <c:pt idx="6983">
                        <c:v>1.302176</c:v>
                      </c:pt>
                      <c:pt idx="6984">
                        <c:v>1.307646627</c:v>
                      </c:pt>
                      <c:pt idx="6985">
                        <c:v>1.9743780000000002</c:v>
                      </c:pt>
                      <c:pt idx="6986">
                        <c:v>1.974384511</c:v>
                      </c:pt>
                      <c:pt idx="6987">
                        <c:v>1.978162293</c:v>
                      </c:pt>
                      <c:pt idx="6988">
                        <c:v>1.9785848699999999</c:v>
                      </c:pt>
                      <c:pt idx="6989">
                        <c:v>1.9848888740000001</c:v>
                      </c:pt>
                      <c:pt idx="6990">
                        <c:v>1.986985797</c:v>
                      </c:pt>
                      <c:pt idx="6991">
                        <c:v>1.990344152</c:v>
                      </c:pt>
                      <c:pt idx="6992">
                        <c:v>1.9920250100000001</c:v>
                      </c:pt>
                      <c:pt idx="6993">
                        <c:v>1.992867014</c:v>
                      </c:pt>
                      <c:pt idx="6994">
                        <c:v>1.993286441</c:v>
                      </c:pt>
                      <c:pt idx="6995">
                        <c:v>1.9937058680000002</c:v>
                      </c:pt>
                      <c:pt idx="6996">
                        <c:v>1.9949672979999999</c:v>
                      </c:pt>
                      <c:pt idx="6997">
                        <c:v>1.99622536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62CA-43D1-9B5E-DB9227CD45FB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8"/>
          <c:order val="8"/>
          <c:tx>
            <c:strRef>
              <c:f>'Q6&amp;Q7'!$I$3</c:f>
              <c:strCache>
                <c:ptCount val="1"/>
                <c:pt idx="0">
                  <c:v>PUMP FAILURE (1 or 0)</c:v>
                </c:pt>
              </c:strCache>
            </c:strRef>
          </c:tx>
          <c:spPr>
            <a:ln w="444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Q6&amp;Q7'!$I$4:$I$7001</c:f>
              <c:numCache>
                <c:formatCode>#,##0.00</c:formatCode>
                <c:ptCount val="69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1</c:v>
                </c:pt>
                <c:pt idx="5414">
                  <c:v>1</c:v>
                </c:pt>
                <c:pt idx="5415">
                  <c:v>1</c:v>
                </c:pt>
                <c:pt idx="5416">
                  <c:v>1</c:v>
                </c:pt>
                <c:pt idx="5417">
                  <c:v>1</c:v>
                </c:pt>
                <c:pt idx="5418">
                  <c:v>1</c:v>
                </c:pt>
                <c:pt idx="5419">
                  <c:v>1</c:v>
                </c:pt>
                <c:pt idx="5420">
                  <c:v>1</c:v>
                </c:pt>
                <c:pt idx="5421">
                  <c:v>1</c:v>
                </c:pt>
                <c:pt idx="5422">
                  <c:v>1</c:v>
                </c:pt>
                <c:pt idx="5423">
                  <c:v>1</c:v>
                </c:pt>
                <c:pt idx="5424">
                  <c:v>1</c:v>
                </c:pt>
                <c:pt idx="5425">
                  <c:v>1</c:v>
                </c:pt>
                <c:pt idx="5426">
                  <c:v>1</c:v>
                </c:pt>
                <c:pt idx="5427">
                  <c:v>1</c:v>
                </c:pt>
                <c:pt idx="5428">
                  <c:v>1</c:v>
                </c:pt>
                <c:pt idx="5429">
                  <c:v>1</c:v>
                </c:pt>
                <c:pt idx="5430">
                  <c:v>1</c:v>
                </c:pt>
                <c:pt idx="5431">
                  <c:v>1</c:v>
                </c:pt>
                <c:pt idx="5432">
                  <c:v>1</c:v>
                </c:pt>
                <c:pt idx="5433">
                  <c:v>1</c:v>
                </c:pt>
                <c:pt idx="5434">
                  <c:v>1</c:v>
                </c:pt>
                <c:pt idx="5435">
                  <c:v>1</c:v>
                </c:pt>
                <c:pt idx="5436">
                  <c:v>1</c:v>
                </c:pt>
                <c:pt idx="5437">
                  <c:v>1</c:v>
                </c:pt>
                <c:pt idx="5438">
                  <c:v>1</c:v>
                </c:pt>
                <c:pt idx="5439">
                  <c:v>1</c:v>
                </c:pt>
                <c:pt idx="5440">
                  <c:v>1</c:v>
                </c:pt>
                <c:pt idx="5441">
                  <c:v>1</c:v>
                </c:pt>
                <c:pt idx="5442">
                  <c:v>1</c:v>
                </c:pt>
                <c:pt idx="5443">
                  <c:v>1</c:v>
                </c:pt>
                <c:pt idx="5444">
                  <c:v>1</c:v>
                </c:pt>
                <c:pt idx="5445">
                  <c:v>1</c:v>
                </c:pt>
                <c:pt idx="5446">
                  <c:v>1</c:v>
                </c:pt>
                <c:pt idx="5447">
                  <c:v>1</c:v>
                </c:pt>
                <c:pt idx="5448">
                  <c:v>1</c:v>
                </c:pt>
                <c:pt idx="5449">
                  <c:v>1</c:v>
                </c:pt>
                <c:pt idx="5450">
                  <c:v>1</c:v>
                </c:pt>
                <c:pt idx="5451">
                  <c:v>1</c:v>
                </c:pt>
                <c:pt idx="5452">
                  <c:v>1</c:v>
                </c:pt>
                <c:pt idx="5453">
                  <c:v>1</c:v>
                </c:pt>
                <c:pt idx="5454">
                  <c:v>1</c:v>
                </c:pt>
                <c:pt idx="5455">
                  <c:v>1</c:v>
                </c:pt>
                <c:pt idx="5456">
                  <c:v>1</c:v>
                </c:pt>
                <c:pt idx="5457">
                  <c:v>1</c:v>
                </c:pt>
                <c:pt idx="5458">
                  <c:v>1</c:v>
                </c:pt>
                <c:pt idx="5459">
                  <c:v>1</c:v>
                </c:pt>
                <c:pt idx="5460">
                  <c:v>1</c:v>
                </c:pt>
                <c:pt idx="5461">
                  <c:v>1</c:v>
                </c:pt>
                <c:pt idx="5462">
                  <c:v>1</c:v>
                </c:pt>
                <c:pt idx="5463">
                  <c:v>1</c:v>
                </c:pt>
                <c:pt idx="5464">
                  <c:v>1</c:v>
                </c:pt>
                <c:pt idx="5465">
                  <c:v>1</c:v>
                </c:pt>
                <c:pt idx="5466">
                  <c:v>1</c:v>
                </c:pt>
                <c:pt idx="5467">
                  <c:v>1</c:v>
                </c:pt>
                <c:pt idx="5468">
                  <c:v>1</c:v>
                </c:pt>
                <c:pt idx="5469">
                  <c:v>1</c:v>
                </c:pt>
                <c:pt idx="5470">
                  <c:v>1</c:v>
                </c:pt>
                <c:pt idx="5471">
                  <c:v>1</c:v>
                </c:pt>
                <c:pt idx="5472">
                  <c:v>1</c:v>
                </c:pt>
                <c:pt idx="5473">
                  <c:v>1</c:v>
                </c:pt>
                <c:pt idx="5474">
                  <c:v>1</c:v>
                </c:pt>
                <c:pt idx="5475">
                  <c:v>1</c:v>
                </c:pt>
                <c:pt idx="5476">
                  <c:v>1</c:v>
                </c:pt>
                <c:pt idx="5477">
                  <c:v>1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  <c:pt idx="6968">
                  <c:v>0</c:v>
                </c:pt>
                <c:pt idx="6969">
                  <c:v>0</c:v>
                </c:pt>
                <c:pt idx="6970">
                  <c:v>0</c:v>
                </c:pt>
                <c:pt idx="6971">
                  <c:v>0</c:v>
                </c:pt>
                <c:pt idx="6972">
                  <c:v>0</c:v>
                </c:pt>
                <c:pt idx="6973">
                  <c:v>0</c:v>
                </c:pt>
                <c:pt idx="6974">
                  <c:v>0</c:v>
                </c:pt>
                <c:pt idx="6975">
                  <c:v>0</c:v>
                </c:pt>
                <c:pt idx="6976">
                  <c:v>0</c:v>
                </c:pt>
                <c:pt idx="6977">
                  <c:v>0</c:v>
                </c:pt>
                <c:pt idx="6978">
                  <c:v>0</c:v>
                </c:pt>
                <c:pt idx="6979">
                  <c:v>0</c:v>
                </c:pt>
                <c:pt idx="6980">
                  <c:v>0</c:v>
                </c:pt>
                <c:pt idx="6981">
                  <c:v>0</c:v>
                </c:pt>
                <c:pt idx="6982">
                  <c:v>0</c:v>
                </c:pt>
                <c:pt idx="6983">
                  <c:v>0</c:v>
                </c:pt>
                <c:pt idx="6984">
                  <c:v>0</c:v>
                </c:pt>
                <c:pt idx="6985">
                  <c:v>0</c:v>
                </c:pt>
                <c:pt idx="6986">
                  <c:v>0</c:v>
                </c:pt>
                <c:pt idx="6987">
                  <c:v>0</c:v>
                </c:pt>
                <c:pt idx="6988">
                  <c:v>0</c:v>
                </c:pt>
                <c:pt idx="6989">
                  <c:v>0</c:v>
                </c:pt>
                <c:pt idx="6990">
                  <c:v>0</c:v>
                </c:pt>
                <c:pt idx="6991">
                  <c:v>0</c:v>
                </c:pt>
                <c:pt idx="6992">
                  <c:v>0</c:v>
                </c:pt>
                <c:pt idx="6993">
                  <c:v>0</c:v>
                </c:pt>
                <c:pt idx="6994">
                  <c:v>0</c:v>
                </c:pt>
                <c:pt idx="6995">
                  <c:v>0</c:v>
                </c:pt>
                <c:pt idx="6996">
                  <c:v>0</c:v>
                </c:pt>
                <c:pt idx="699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2CA-43D1-9B5E-DB9227CD4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1239344"/>
        <c:axId val="791233360"/>
      </c:lineChart>
      <c:catAx>
        <c:axId val="79122846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1226832"/>
        <c:crosses val="autoZero"/>
        <c:auto val="1"/>
        <c:lblAlgn val="ctr"/>
        <c:lblOffset val="100"/>
        <c:noMultiLvlLbl val="0"/>
      </c:catAx>
      <c:valAx>
        <c:axId val="791226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/>
                  <a:t>Unitless Measure (Unit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1228464"/>
        <c:crosses val="autoZero"/>
        <c:crossBetween val="between"/>
      </c:valAx>
      <c:valAx>
        <c:axId val="791233360"/>
        <c:scaling>
          <c:orientation val="minMax"/>
          <c:max val="1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/>
                  <a:t>Probability</a:t>
                </a:r>
                <a:r>
                  <a:rPr lang="en-AU" baseline="0" dirty="0"/>
                  <a:t> of Failure</a:t>
                </a:r>
                <a:endParaRPr lang="en-AU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1239344"/>
        <c:crosses val="max"/>
        <c:crossBetween val="between"/>
      </c:valAx>
      <c:catAx>
        <c:axId val="791239344"/>
        <c:scaling>
          <c:orientation val="minMax"/>
        </c:scaling>
        <c:delete val="1"/>
        <c:axPos val="b"/>
        <c:majorTickMark val="out"/>
        <c:minorTickMark val="none"/>
        <c:tickLblPos val="nextTo"/>
        <c:crossAx val="7912333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062265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2773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70323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7605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7901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54499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7464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/>
              <a:t>Southern Water Corp – Technical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18th November 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Shichy Seanan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546711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Southern Water Corp Problem Analysis?</a:t>
            </a:r>
            <a:endParaRPr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  <a:endParaRPr dirty="0"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ncreased demand leading to increased pump wear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8327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hrough the increased demand for desalinated water, the machines are made to work overtime without any halt hours for the machine to cool down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4177584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4543641"/>
            <a:ext cx="3457947" cy="454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2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ncreased maintenance period</a:t>
            </a: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408078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4177584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4504202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Due to increased maintenance period which decreases the output &amp; supply in turn increases the cost to produce &amp; demand 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Pump Analysis</a:t>
            </a:r>
            <a:endParaRPr dirty="0"/>
          </a:p>
        </p:txBody>
      </p:sp>
      <p:sp>
        <p:nvSpPr>
          <p:cNvPr id="71" name="Google Shape;71;p2"/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Statistical Records</a:t>
            </a:r>
            <a:endParaRPr/>
          </a:p>
        </p:txBody>
      </p:sp>
      <p:sp>
        <p:nvSpPr>
          <p:cNvPr id="72" name="Google Shape;72;p2"/>
          <p:cNvSpPr txBox="1"/>
          <p:nvPr/>
        </p:nvSpPr>
        <p:spPr>
          <a:xfrm>
            <a:off x="5007166" y="1040227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73" name="Google Shape;73;p2"/>
          <p:cNvSpPr txBox="1"/>
          <p:nvPr/>
        </p:nvSpPr>
        <p:spPr>
          <a:xfrm>
            <a:off x="5464366" y="1403666"/>
            <a:ext cx="2963538" cy="2446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arching Insight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babality</a:t>
            </a: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of failure has increased due to overuse of the pumps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1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me of them have shown wear &amp; tear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2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umps have been used to support with demand for increased water supply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089793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2"/>
          <p:cNvSpPr/>
          <p:nvPr/>
        </p:nvSpPr>
        <p:spPr>
          <a:xfrm rot="5400000">
            <a:off x="6295214" y="4391476"/>
            <a:ext cx="1301841" cy="1852665"/>
          </a:xfrm>
          <a:custGeom>
            <a:avLst/>
            <a:gdLst/>
            <a:ahLst/>
            <a:cxnLst/>
            <a:rect l="l" t="t" r="r" b="b"/>
            <a:pathLst>
              <a:path w="1294" h="1240" extrusionOk="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0" y="6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6650" tIns="86650" rIns="86650" bIns="8665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7" b="0" u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76;p2"/>
          <p:cNvSpPr/>
          <p:nvPr/>
        </p:nvSpPr>
        <p:spPr>
          <a:xfrm>
            <a:off x="6664893" y="4961246"/>
            <a:ext cx="554842" cy="239221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op </a:t>
            </a:r>
            <a:b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ynthesis</a:t>
            </a:r>
            <a:endParaRPr/>
          </a:p>
        </p:txBody>
      </p:sp>
      <p:sp>
        <p:nvSpPr>
          <p:cNvPr id="77" name="Google Shape;77;p2"/>
          <p:cNvSpPr/>
          <p:nvPr/>
        </p:nvSpPr>
        <p:spPr>
          <a:xfrm>
            <a:off x="6059383" y="5311790"/>
            <a:ext cx="566490" cy="200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ynthesis A</a:t>
            </a:r>
            <a:endParaRPr/>
          </a:p>
        </p:txBody>
      </p:sp>
      <p:sp>
        <p:nvSpPr>
          <p:cNvPr id="78" name="Google Shape;78;p2"/>
          <p:cNvSpPr/>
          <p:nvPr/>
        </p:nvSpPr>
        <p:spPr>
          <a:xfrm>
            <a:off x="6658259" y="5311790"/>
            <a:ext cx="566490" cy="200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ynthesis B</a:t>
            </a:r>
            <a:endParaRPr/>
          </a:p>
        </p:txBody>
      </p:sp>
      <p:sp>
        <p:nvSpPr>
          <p:cNvPr id="79" name="Google Shape;79;p2"/>
          <p:cNvSpPr/>
          <p:nvPr/>
        </p:nvSpPr>
        <p:spPr>
          <a:xfrm>
            <a:off x="7257134" y="5311790"/>
            <a:ext cx="566490" cy="2006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u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ynthesis C</a:t>
            </a:r>
            <a:endParaRPr/>
          </a:p>
        </p:txBody>
      </p:sp>
      <p:cxnSp>
        <p:nvCxnSpPr>
          <p:cNvPr id="80" name="Google Shape;80;p2"/>
          <p:cNvCxnSpPr>
            <a:stCxn id="76" idx="2"/>
            <a:endCxn id="77" idx="0"/>
          </p:cNvCxnSpPr>
          <p:nvPr/>
        </p:nvCxnSpPr>
        <p:spPr>
          <a:xfrm rot="5400000">
            <a:off x="6586814" y="4956267"/>
            <a:ext cx="111300" cy="599700"/>
          </a:xfrm>
          <a:prstGeom prst="bentConnector3">
            <a:avLst>
              <a:gd name="adj1" fmla="val 50010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1" name="Google Shape;81;p2"/>
          <p:cNvCxnSpPr>
            <a:stCxn id="76" idx="2"/>
            <a:endCxn id="79" idx="0"/>
          </p:cNvCxnSpPr>
          <p:nvPr/>
        </p:nvCxnSpPr>
        <p:spPr>
          <a:xfrm rot="-5400000" flipH="1">
            <a:off x="7185764" y="4957017"/>
            <a:ext cx="111300" cy="598200"/>
          </a:xfrm>
          <a:prstGeom prst="bentConnector3">
            <a:avLst>
              <a:gd name="adj1" fmla="val 50009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2" name="Google Shape;82;p2"/>
          <p:cNvCxnSpPr>
            <a:stCxn id="76" idx="2"/>
            <a:endCxn id="78" idx="0"/>
          </p:cNvCxnSpPr>
          <p:nvPr/>
        </p:nvCxnSpPr>
        <p:spPr>
          <a:xfrm flipH="1">
            <a:off x="6941414" y="5200467"/>
            <a:ext cx="900" cy="1113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83" name="Google Shape;83;p2"/>
          <p:cNvGraphicFramePr/>
          <p:nvPr/>
        </p:nvGraphicFramePr>
        <p:xfrm>
          <a:off x="171452" y="1086512"/>
          <a:ext cx="4590606" cy="5005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Introduce the approaches were undertaken i.e. What are the two types of statistical approaches we had covered?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MART PROBLEM STATEMENT</a:t>
            </a:r>
            <a:endParaRPr dirty="0"/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826264" y="4861005"/>
            <a:ext cx="308472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irst one was to buy more pumps &amp; decrease the pump usage for others</a:t>
            </a:r>
            <a:endParaRPr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Second one was to meet the demand of water supply was to provide cuts on water supply rates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Descriptive Statistics Analysis</a:t>
            </a:r>
            <a:endParaRPr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5" name="Google Shape;105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1450" y="1624059"/>
            <a:ext cx="4951393" cy="40936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08" name="Google Shape;108;p5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5464366" y="1403666"/>
            <a:ext cx="2963538" cy="2893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m the insights we can conclude that some of the pumps have more wear &amp; tear than others we have to improve these locations first &amp; invest more on these areas rather than investing more on others as they still will function the same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dirty="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se will work on the same amount of execution time as the other pumps will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/>
              <a:t>&lt;What have we concluded from our Inferential statistics analysis?&gt;</a:t>
            </a:r>
            <a:endParaRPr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18" name="Google Shape;118;p6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9" name="Google Shape;119;p6"/>
          <p:cNvSpPr txBox="1"/>
          <p:nvPr/>
        </p:nvSpPr>
        <p:spPr>
          <a:xfrm>
            <a:off x="5464366" y="1403666"/>
            <a:ext cx="2963538" cy="2462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me of the correlation data are different from the original data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dirty="0">
                <a:solidFill>
                  <a:schemeClr val="dk1"/>
                </a:solidFill>
              </a:rPr>
              <a:t>As the pumps have enough wear &amp; tear instead of making them work overtime we can make them switch off for a while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ying newer pumps will save us the enough hassle we have right now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0" name="Google Shape;120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059" y="982250"/>
            <a:ext cx="4803346" cy="24416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" name="Google Shape;121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059" y="3433367"/>
            <a:ext cx="4803346" cy="24416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13856B4-1997-4A4F-8BB3-95905E181137}"/>
</file>

<file path=customXml/itemProps2.xml><?xml version="1.0" encoding="utf-8"?>
<ds:datastoreItem xmlns:ds="http://schemas.openxmlformats.org/officeDocument/2006/customXml" ds:itemID="{8B0284C0-2F0E-4F1E-9FA2-BA171DBF9C55}"/>
</file>

<file path=customXml/itemProps3.xml><?xml version="1.0" encoding="utf-8"?>
<ds:datastoreItem xmlns:ds="http://schemas.openxmlformats.org/officeDocument/2006/customXml" ds:itemID="{2E6880ED-F962-43C4-BC94-95C856232E0A}"/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344</Words>
  <Application>Microsoft Macintosh PowerPoint</Application>
  <PresentationFormat>Custom</PresentationFormat>
  <Paragraphs>4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Southern Water Corp – Technical Presentation</vt:lpstr>
      <vt:lpstr>Southern Water Corp Problem Analysis?</vt:lpstr>
      <vt:lpstr>Pump Analysis</vt:lpstr>
      <vt:lpstr>Introduce the approaches were undertaken i.e. What are the two types of statistical approaches we had covered?</vt:lpstr>
      <vt:lpstr>Descriptive Statistics Analysis</vt:lpstr>
      <vt:lpstr>&lt;What have we concluded from our Inferential statistics analysis?&gt;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hris Hui</dc:creator>
  <cp:lastModifiedBy>Shichy Seanan</cp:lastModifiedBy>
  <cp:revision>6</cp:revision>
  <dcterms:created xsi:type="dcterms:W3CDTF">2015-09-14T11:37:31Z</dcterms:created>
  <dcterms:modified xsi:type="dcterms:W3CDTF">2020-12-22T04:2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ContentTypeId">
    <vt:lpwstr>0x0101003815E10B5A166A49824985A8634E1AFE</vt:lpwstr>
  </property>
</Properties>
</file>